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 id="2147483737" r:id="rId3"/>
    <p:sldMasterId id="2147483757" r:id="rId4"/>
  </p:sldMasterIdLst>
  <p:notesMasterIdLst>
    <p:notesMasterId r:id="rId12"/>
  </p:notesMasterIdLst>
  <p:sldIdLst>
    <p:sldId id="2147483642" r:id="rId5"/>
    <p:sldId id="2147483635" r:id="rId6"/>
    <p:sldId id="2147483641" r:id="rId7"/>
    <p:sldId id="277" r:id="rId8"/>
    <p:sldId id="384" r:id="rId9"/>
    <p:sldId id="2147482398" r:id="rId10"/>
    <p:sldId id="2147482411"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58"/>
  </p:normalViewPr>
  <p:slideViewPr>
    <p:cSldViewPr snapToGrid="0">
      <p:cViewPr varScale="1">
        <p:scale>
          <a:sx n="128" d="100"/>
          <a:sy n="128" d="100"/>
        </p:scale>
        <p:origin x="48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4FD4F4-7F57-7945-8ABB-59196BB09E79}" type="datetimeFigureOut">
              <a:rPr lang="en-US" smtClean="0"/>
              <a:t>4/15/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549C8B-DA6F-7749-BB9D-FD4D08BC729E}" type="slidenum">
              <a:rPr lang="en-US" smtClean="0"/>
              <a:t>‹#›</a:t>
            </a:fld>
            <a:endParaRPr lang="en-US"/>
          </a:p>
        </p:txBody>
      </p:sp>
    </p:spTree>
    <p:extLst>
      <p:ext uri="{BB962C8B-B14F-4D97-AF65-F5344CB8AC3E}">
        <p14:creationId xmlns:p14="http://schemas.microsoft.com/office/powerpoint/2010/main" val="377685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A3EC5-CA35-45B3-BCEA-249AC1AA8F9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82692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A3EC5-CA35-45B3-BCEA-249AC1AA8F9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898026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5.svg"/><Relationship Id="rId7" Type="http://schemas.openxmlformats.org/officeDocument/2006/relationships/image" Target="../media/image49.svg"/><Relationship Id="rId2" Type="http://schemas.openxmlformats.org/officeDocument/2006/relationships/image" Target="../media/image44.png"/><Relationship Id="rId1" Type="http://schemas.openxmlformats.org/officeDocument/2006/relationships/slideMaster" Target="../slideMasters/slideMaster4.xml"/><Relationship Id="rId6" Type="http://schemas.openxmlformats.org/officeDocument/2006/relationships/image" Target="../media/image48.png"/><Relationship Id="rId5" Type="http://schemas.openxmlformats.org/officeDocument/2006/relationships/image" Target="../media/image47.svg"/><Relationship Id="rId4" Type="http://schemas.openxmlformats.org/officeDocument/2006/relationships/image" Target="../media/image46.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56.tiff"/><Relationship Id="rId3" Type="http://schemas.openxmlformats.org/officeDocument/2006/relationships/image" Target="../media/image53.svg"/><Relationship Id="rId7" Type="http://schemas.openxmlformats.org/officeDocument/2006/relationships/image" Target="../media/image55.svg"/><Relationship Id="rId12" Type="http://schemas.openxmlformats.org/officeDocument/2006/relationships/image" Target="../media/image60.tiff"/><Relationship Id="rId2" Type="http://schemas.openxmlformats.org/officeDocument/2006/relationships/image" Target="../media/image52.png"/><Relationship Id="rId1" Type="http://schemas.openxmlformats.org/officeDocument/2006/relationships/slideMaster" Target="../slideMasters/slideMaster4.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47.svg"/><Relationship Id="rId10" Type="http://schemas.openxmlformats.org/officeDocument/2006/relationships/image" Target="../media/image58.svg"/><Relationship Id="rId4" Type="http://schemas.openxmlformats.org/officeDocument/2006/relationships/image" Target="../media/image46.png"/><Relationship Id="rId9" Type="http://schemas.openxmlformats.org/officeDocument/2006/relationships/image" Target="../media/image57.png"/></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4.xml"/><Relationship Id="rId5" Type="http://schemas.openxmlformats.org/officeDocument/2006/relationships/image" Target="../media/image65.png"/><Relationship Id="rId4" Type="http://schemas.openxmlformats.org/officeDocument/2006/relationships/image" Target="../media/image64.png"/></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2.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2.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2.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3.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9.jpeg"/><Relationship Id="rId7" Type="http://schemas.openxmlformats.org/officeDocument/2006/relationships/image" Target="../media/image43.png"/><Relationship Id="rId2" Type="http://schemas.openxmlformats.org/officeDocument/2006/relationships/image" Target="../media/image38.jpeg"/><Relationship Id="rId1" Type="http://schemas.openxmlformats.org/officeDocument/2006/relationships/slideMaster" Target="../slideMasters/slideMaster4.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entered Title">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C7DD90F-8E34-4645-11FC-D18559ABA8CB}"/>
              </a:ext>
            </a:extLst>
          </p:cNvPr>
          <p:cNvSpPr>
            <a:spLocks noGrp="1"/>
          </p:cNvSpPr>
          <p:nvPr>
            <p:ph type="title"/>
          </p:nvPr>
        </p:nvSpPr>
        <p:spPr>
          <a:xfrm>
            <a:off x="586740" y="511755"/>
            <a:ext cx="11018520" cy="615553"/>
          </a:xfrm>
        </p:spPr>
        <p:txBody>
          <a:bodyPr/>
          <a:lstStyle>
            <a:lvl1pPr algn="ct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27253576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5B8EF10-4115-7EE6-1249-D6DC0A94D9B0}"/>
              </a:ext>
            </a:extLst>
          </p:cNvPr>
          <p:cNvPicPr>
            <a:picLocks noChangeAspect="1"/>
          </p:cNvPicPr>
          <p:nvPr userDrawn="1"/>
        </p:nvPicPr>
        <p:blipFill>
          <a:blip r:embed="rId2"/>
          <a:srcRect/>
          <a:stretch/>
        </p:blipFill>
        <p:spPr>
          <a:xfrm>
            <a:off x="1" y="2"/>
            <a:ext cx="12191998" cy="6857999"/>
          </a:xfrm>
          <a:prstGeom prst="rect">
            <a:avLst/>
          </a:prstGeom>
        </p:spPr>
      </p:pic>
      <p:sp>
        <p:nvSpPr>
          <p:cNvPr id="9" name="Title 1"/>
          <p:cNvSpPr>
            <a:spLocks noGrp="1"/>
          </p:cNvSpPr>
          <p:nvPr>
            <p:ph type="title" hasCustomPrompt="1"/>
          </p:nvPr>
        </p:nvSpPr>
        <p:spPr bwMode="white">
          <a:xfrm>
            <a:off x="584200" y="2918225"/>
            <a:ext cx="9144000" cy="615553"/>
          </a:xfrm>
          <a:noFill/>
        </p:spPr>
        <p:txBody>
          <a:bodyPr vert="horz" wrap="square" lIns="0" tIns="0" rIns="0" bIns="0" rtlCol="0" anchor="b" anchorCtr="0">
            <a:spAutoFit/>
          </a:bodyPr>
          <a:lstStyle>
            <a:lvl1pPr>
              <a:defRPr lang="en-US" sz="4000" dirty="0">
                <a:solidFill>
                  <a:srgbClr val="D4EC8E"/>
                </a:solidFill>
              </a:defRPr>
            </a:lvl1pPr>
          </a:lstStyle>
          <a:p>
            <a:pPr lvl="0"/>
            <a:r>
              <a:rPr lang="en-US"/>
              <a:t>Event name or presentation title </a:t>
            </a:r>
          </a:p>
        </p:txBody>
      </p:sp>
      <p:sp>
        <p:nvSpPr>
          <p:cNvPr id="5" name="Text Placeholder 4"/>
          <p:cNvSpPr>
            <a:spLocks noGrp="1"/>
          </p:cNvSpPr>
          <p:nvPr>
            <p:ph type="body" sz="quarter" idx="12" hasCustomPrompt="1"/>
          </p:nvPr>
        </p:nvSpPr>
        <p:spPr bwMode="white">
          <a:xfrm>
            <a:off x="584200" y="3962402"/>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white">
          <a:xfrm>
            <a:off x="584202" y="585790"/>
            <a:ext cx="1366245" cy="292608"/>
          </a:xfrm>
          <a:prstGeom prst="rect">
            <a:avLst/>
          </a:prstGeom>
        </p:spPr>
      </p:pic>
    </p:spTree>
    <p:extLst>
      <p:ext uri="{BB962C8B-B14F-4D97-AF65-F5344CB8AC3E}">
        <p14:creationId xmlns:p14="http://schemas.microsoft.com/office/powerpoint/2010/main" val="877560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ED573360-5367-C61C-39FC-5A6625DFDFE3}"/>
              </a:ext>
            </a:extLst>
          </p:cNvPr>
          <p:cNvSpPr>
            <a:spLocks noGrp="1"/>
          </p:cNvSpPr>
          <p:nvPr>
            <p:ph type="body" sz="quarter" idx="10"/>
          </p:nvPr>
        </p:nvSpPr>
        <p:spPr>
          <a:xfrm>
            <a:off x="592708" y="1018108"/>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379460"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588263"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8170658"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774373" y="2309068"/>
            <a:ext cx="3076259" cy="307777"/>
          </a:xfrm>
        </p:spPr>
        <p:txBody>
          <a:bodyPr/>
          <a:lstStyle>
            <a:lvl1pPr algn="ctr">
              <a:defRPr kumimoji="0" lang="en-US" sz="20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774373" y="2813446"/>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7" name="Text Placeholder 16">
            <a:extLst>
              <a:ext uri="{FF2B5EF4-FFF2-40B4-BE49-F238E27FC236}">
                <a16:creationId xmlns:a16="http://schemas.microsoft.com/office/drawing/2014/main" id="{8A9BB07C-8F49-D57D-7CDE-3FB9DBDEEAEB}"/>
              </a:ext>
            </a:extLst>
          </p:cNvPr>
          <p:cNvSpPr>
            <a:spLocks noGrp="1"/>
          </p:cNvSpPr>
          <p:nvPr>
            <p:ph type="body" sz="quarter" idx="24"/>
          </p:nvPr>
        </p:nvSpPr>
        <p:spPr>
          <a:xfrm>
            <a:off x="774373" y="5232268"/>
            <a:ext cx="3076259" cy="603242"/>
          </a:xfrm>
        </p:spPr>
        <p:txBody>
          <a:bodyPr/>
          <a:lstStyle>
            <a:lvl1pPr algn="ctr">
              <a:defRPr lang="en-US" sz="2000" b="0" kern="1200" spc="0" baseline="0" dirty="0">
                <a:solidFill>
                  <a:schemeClr val="accent2">
                    <a:lumMod val="60000"/>
                    <a:lumOff val="40000"/>
                  </a:schemeClr>
                </a:solidFill>
                <a:latin typeface="+mn-lt"/>
                <a:ea typeface="+mn-ea"/>
                <a:cs typeface="Segoe UI" panose="020B0502040204020203" pitchFamily="34" charset="0"/>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48" name="Text Placeholder 16">
            <a:extLst>
              <a:ext uri="{FF2B5EF4-FFF2-40B4-BE49-F238E27FC236}">
                <a16:creationId xmlns:a16="http://schemas.microsoft.com/office/drawing/2014/main" id="{E5CE76E3-AE45-0945-17E1-766B24B2D30D}"/>
              </a:ext>
            </a:extLst>
          </p:cNvPr>
          <p:cNvSpPr>
            <a:spLocks noGrp="1"/>
          </p:cNvSpPr>
          <p:nvPr>
            <p:ph type="body" sz="quarter" idx="25"/>
          </p:nvPr>
        </p:nvSpPr>
        <p:spPr>
          <a:xfrm>
            <a:off x="4565570" y="2309068"/>
            <a:ext cx="3076259" cy="307777"/>
          </a:xfrm>
        </p:spPr>
        <p:txBody>
          <a:bodyPr/>
          <a:lstStyle>
            <a:lvl1pPr algn="ctr">
              <a:defRPr kumimoji="0" lang="en-US" sz="20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9" name="Text Placeholder 16">
            <a:extLst>
              <a:ext uri="{FF2B5EF4-FFF2-40B4-BE49-F238E27FC236}">
                <a16:creationId xmlns:a16="http://schemas.microsoft.com/office/drawing/2014/main" id="{E48E66DB-1533-D6EF-4A3E-EA1A5D095324}"/>
              </a:ext>
            </a:extLst>
          </p:cNvPr>
          <p:cNvSpPr>
            <a:spLocks noGrp="1"/>
          </p:cNvSpPr>
          <p:nvPr>
            <p:ph type="body" sz="quarter" idx="26"/>
          </p:nvPr>
        </p:nvSpPr>
        <p:spPr>
          <a:xfrm>
            <a:off x="4565570" y="2813446"/>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0" name="Text Placeholder 16">
            <a:extLst>
              <a:ext uri="{FF2B5EF4-FFF2-40B4-BE49-F238E27FC236}">
                <a16:creationId xmlns:a16="http://schemas.microsoft.com/office/drawing/2014/main" id="{05059835-E9BC-A32A-3E81-AB2AFDA26CD9}"/>
              </a:ext>
            </a:extLst>
          </p:cNvPr>
          <p:cNvSpPr>
            <a:spLocks noGrp="1"/>
          </p:cNvSpPr>
          <p:nvPr>
            <p:ph type="body" sz="quarter" idx="27"/>
          </p:nvPr>
        </p:nvSpPr>
        <p:spPr>
          <a:xfrm>
            <a:off x="4565570" y="5232268"/>
            <a:ext cx="3076259" cy="603242"/>
          </a:xfrm>
        </p:spPr>
        <p:txBody>
          <a:bodyPr/>
          <a:lstStyle>
            <a:lvl1pPr algn="ctr">
              <a:defRPr lang="en-US" sz="2000" b="0" kern="1200" spc="0" baseline="0" dirty="0">
                <a:solidFill>
                  <a:schemeClr val="accent2">
                    <a:lumMod val="60000"/>
                    <a:lumOff val="40000"/>
                  </a:schemeClr>
                </a:solidFill>
                <a:latin typeface="+mn-lt"/>
                <a:ea typeface="+mn-ea"/>
                <a:cs typeface="Segoe UI" panose="020B0502040204020203" pitchFamily="34" charset="0"/>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51" name="Text Placeholder 16">
            <a:extLst>
              <a:ext uri="{FF2B5EF4-FFF2-40B4-BE49-F238E27FC236}">
                <a16:creationId xmlns:a16="http://schemas.microsoft.com/office/drawing/2014/main" id="{DD683300-8AE2-B6F6-8521-1723B2FF71C9}"/>
              </a:ext>
            </a:extLst>
          </p:cNvPr>
          <p:cNvSpPr>
            <a:spLocks noGrp="1"/>
          </p:cNvSpPr>
          <p:nvPr>
            <p:ph type="body" sz="quarter" idx="28"/>
          </p:nvPr>
        </p:nvSpPr>
        <p:spPr>
          <a:xfrm>
            <a:off x="8356768" y="2309068"/>
            <a:ext cx="3076259" cy="307777"/>
          </a:xfrm>
        </p:spPr>
        <p:txBody>
          <a:bodyPr/>
          <a:lstStyle>
            <a:lvl1pPr algn="ctr">
              <a:defRPr kumimoji="0" lang="en-US" sz="20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2" name="Text Placeholder 16">
            <a:extLst>
              <a:ext uri="{FF2B5EF4-FFF2-40B4-BE49-F238E27FC236}">
                <a16:creationId xmlns:a16="http://schemas.microsoft.com/office/drawing/2014/main" id="{1ED97302-8FE4-F59C-0E27-F086728BDAA1}"/>
              </a:ext>
            </a:extLst>
          </p:cNvPr>
          <p:cNvSpPr>
            <a:spLocks noGrp="1"/>
          </p:cNvSpPr>
          <p:nvPr>
            <p:ph type="body" sz="quarter" idx="29"/>
          </p:nvPr>
        </p:nvSpPr>
        <p:spPr>
          <a:xfrm>
            <a:off x="8356768" y="2813446"/>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3" name="Text Placeholder 16">
            <a:extLst>
              <a:ext uri="{FF2B5EF4-FFF2-40B4-BE49-F238E27FC236}">
                <a16:creationId xmlns:a16="http://schemas.microsoft.com/office/drawing/2014/main" id="{FEAB4685-EFA3-9A65-0D02-B6BE3AAA70AF}"/>
              </a:ext>
            </a:extLst>
          </p:cNvPr>
          <p:cNvSpPr>
            <a:spLocks noGrp="1"/>
          </p:cNvSpPr>
          <p:nvPr>
            <p:ph type="body" sz="quarter" idx="30"/>
          </p:nvPr>
        </p:nvSpPr>
        <p:spPr>
          <a:xfrm>
            <a:off x="8356768" y="5232268"/>
            <a:ext cx="3076259" cy="603242"/>
          </a:xfrm>
        </p:spPr>
        <p:txBody>
          <a:bodyPr/>
          <a:lstStyle>
            <a:lvl1pPr algn="ctr">
              <a:defRPr lang="en-US" sz="2000" b="0" kern="1200" spc="0" baseline="0" dirty="0">
                <a:solidFill>
                  <a:schemeClr val="accent2">
                    <a:lumMod val="60000"/>
                    <a:lumOff val="40000"/>
                  </a:schemeClr>
                </a:solidFill>
                <a:latin typeface="+mn-lt"/>
                <a:ea typeface="+mn-ea"/>
                <a:cs typeface="Segoe UI" panose="020B0502040204020203" pitchFamily="34" charset="0"/>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Tree>
    <p:extLst>
      <p:ext uri="{BB962C8B-B14F-4D97-AF65-F5344CB8AC3E}">
        <p14:creationId xmlns:p14="http://schemas.microsoft.com/office/powerpoint/2010/main" val="152059942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88263" y="2017714"/>
            <a:ext cx="5602035" cy="588028"/>
          </a:xfrm>
        </p:spPr>
        <p:txBody>
          <a:bodyPr/>
          <a:lstStyle>
            <a:lvl1pPr algn="l">
              <a:defRPr lang="en-US" sz="3200" b="1" kern="1200" cap="none" spc="-50" baseline="0">
                <a:ln w="3175">
                  <a:noFill/>
                </a:ln>
                <a:gradFill>
                  <a:gsLst>
                    <a:gs pos="0">
                      <a:srgbClr val="50E6FF"/>
                    </a:gs>
                    <a:gs pos="100000">
                      <a:srgbClr val="0078D4"/>
                    </a:gs>
                  </a:gsLst>
                  <a:lin ang="2700000" scaled="1"/>
                </a:gradFill>
                <a:effectLst/>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2" name="Text Placeholder 16">
            <a:extLst>
              <a:ext uri="{FF2B5EF4-FFF2-40B4-BE49-F238E27FC236}">
                <a16:creationId xmlns:a16="http://schemas.microsoft.com/office/drawing/2014/main" id="{AFB395A3-F329-7F43-8109-3016CAA1A145}"/>
              </a:ext>
            </a:extLst>
          </p:cNvPr>
          <p:cNvSpPr>
            <a:spLocks noGrp="1"/>
          </p:cNvSpPr>
          <p:nvPr>
            <p:ph type="body" sz="quarter" idx="21"/>
          </p:nvPr>
        </p:nvSpPr>
        <p:spPr>
          <a:xfrm>
            <a:off x="584200" y="2756658"/>
            <a:ext cx="5657850" cy="1505027"/>
          </a:xfrm>
        </p:spPr>
        <p:txBody>
          <a:bodyPr/>
          <a:lstStyle>
            <a:lvl1pPr algn="l">
              <a:spcBef>
                <a:spcPts val="0"/>
              </a:spcBef>
              <a:spcAft>
                <a:spcPts val="1200"/>
              </a:spcAft>
              <a:defRPr lang="en-US" sz="2400" b="0" i="0" kern="1200" spc="0" baseline="0" dirty="0">
                <a:solidFill>
                  <a:schemeClr val="tx1"/>
                </a:solidFill>
                <a:latin typeface="+mn-lt"/>
                <a:ea typeface="+mn-ea"/>
                <a:cs typeface="Segoe UI" panose="020B0502040204020203"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a:p>
            <a:pPr lvl="2"/>
            <a:r>
              <a:rPr lang="en-US"/>
              <a:t>Third</a:t>
            </a:r>
          </a:p>
          <a:p>
            <a:pPr lvl="0"/>
            <a:endParaRPr lang="en-US"/>
          </a:p>
        </p:txBody>
      </p:sp>
    </p:spTree>
    <p:extLst>
      <p:ext uri="{BB962C8B-B14F-4D97-AF65-F5344CB8AC3E}">
        <p14:creationId xmlns:p14="http://schemas.microsoft.com/office/powerpoint/2010/main" val="31900834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76" name="Text Placeholder 16">
            <a:extLst>
              <a:ext uri="{FF2B5EF4-FFF2-40B4-BE49-F238E27FC236}">
                <a16:creationId xmlns:a16="http://schemas.microsoft.com/office/drawing/2014/main" id="{E2CF6C05-2E7D-499A-BAED-23D2946A5651}"/>
              </a:ext>
            </a:extLst>
          </p:cNvPr>
          <p:cNvSpPr>
            <a:spLocks noGrp="1"/>
          </p:cNvSpPr>
          <p:nvPr>
            <p:ph type="body" sz="quarter" idx="21"/>
          </p:nvPr>
        </p:nvSpPr>
        <p:spPr>
          <a:xfrm>
            <a:off x="1781090" y="1884588"/>
            <a:ext cx="2366810" cy="276999"/>
          </a:xfrm>
        </p:spPr>
        <p:txBody>
          <a:bodyPr/>
          <a:lstStyle>
            <a:lvl1pPr algn="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77" name="Text Placeholder 16">
            <a:extLst>
              <a:ext uri="{FF2B5EF4-FFF2-40B4-BE49-F238E27FC236}">
                <a16:creationId xmlns:a16="http://schemas.microsoft.com/office/drawing/2014/main" id="{DB8B4142-37BE-D011-8FED-EFE097C2D7BF}"/>
              </a:ext>
            </a:extLst>
          </p:cNvPr>
          <p:cNvSpPr>
            <a:spLocks noGrp="1"/>
          </p:cNvSpPr>
          <p:nvPr>
            <p:ph type="body" sz="quarter" idx="22"/>
          </p:nvPr>
        </p:nvSpPr>
        <p:spPr>
          <a:xfrm>
            <a:off x="7766575" y="1884588"/>
            <a:ext cx="2366810" cy="276999"/>
          </a:xfrm>
        </p:spPr>
        <p:txBody>
          <a:bodyPr/>
          <a:lstStyle>
            <a:lvl1pPr algn="l">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81" name="Text Placeholder 16">
            <a:extLst>
              <a:ext uri="{FF2B5EF4-FFF2-40B4-BE49-F238E27FC236}">
                <a16:creationId xmlns:a16="http://schemas.microsoft.com/office/drawing/2014/main" id="{9F4DC19F-5B57-379A-E8D0-4ED60AF07845}"/>
              </a:ext>
            </a:extLst>
          </p:cNvPr>
          <p:cNvSpPr>
            <a:spLocks noGrp="1"/>
          </p:cNvSpPr>
          <p:nvPr>
            <p:ph type="body" sz="quarter" idx="26"/>
          </p:nvPr>
        </p:nvSpPr>
        <p:spPr>
          <a:xfrm>
            <a:off x="1026508" y="3615128"/>
            <a:ext cx="2366810" cy="276999"/>
          </a:xfrm>
        </p:spPr>
        <p:txBody>
          <a:bodyPr/>
          <a:lstStyle>
            <a:lvl1pPr algn="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82" name="Text Placeholder 16">
            <a:extLst>
              <a:ext uri="{FF2B5EF4-FFF2-40B4-BE49-F238E27FC236}">
                <a16:creationId xmlns:a16="http://schemas.microsoft.com/office/drawing/2014/main" id="{A3454486-598D-960B-CEEB-995920E6DC60}"/>
              </a:ext>
            </a:extLst>
          </p:cNvPr>
          <p:cNvSpPr>
            <a:spLocks noGrp="1"/>
          </p:cNvSpPr>
          <p:nvPr>
            <p:ph type="body" sz="quarter" idx="27"/>
          </p:nvPr>
        </p:nvSpPr>
        <p:spPr>
          <a:xfrm>
            <a:off x="4766969" y="3209562"/>
            <a:ext cx="2366810" cy="1004634"/>
          </a:xfrm>
        </p:spPr>
        <p:txBody>
          <a:bodyPr/>
          <a:lstStyle>
            <a:lvl1pPr algn="ctr">
              <a:defRPr kumimoji="0" lang="en-US" sz="3264" b="0" i="0" u="none" strike="noStrike" kern="1200" cap="none" spc="-122" normalizeH="0" baseline="0" dirty="0">
                <a:ln w="3175">
                  <a:noFill/>
                </a:ln>
                <a:solidFill>
                  <a:schemeClr val="accent2">
                    <a:lumMod val="60000"/>
                    <a:lumOff val="40000"/>
                  </a:schemeClr>
                </a:solidFill>
                <a:effectLst/>
                <a:uLnTx/>
                <a:uFillTx/>
                <a:latin typeface="Segoe UI Semibold"/>
                <a:ea typeface="+mn-ea"/>
                <a:cs typeface="Segoe UI"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32742" rtl="0" eaLnBrk="1" fontAlgn="auto" latinLnBrk="0" hangingPunct="1">
              <a:lnSpc>
                <a:spcPct val="100000"/>
              </a:lnSpc>
              <a:spcBef>
                <a:spcPct val="0"/>
              </a:spcBef>
              <a:spcAft>
                <a:spcPts val="0"/>
              </a:spcAft>
              <a:buClrTx/>
              <a:buSzTx/>
              <a:buFontTx/>
              <a:buNone/>
              <a:tabLst/>
              <a:defRPr/>
            </a:pPr>
            <a:r>
              <a:rPr lang="en-US"/>
              <a:t>Click to edit Master</a:t>
            </a:r>
          </a:p>
        </p:txBody>
      </p:sp>
      <p:sp>
        <p:nvSpPr>
          <p:cNvPr id="78" name="Text Placeholder 16">
            <a:extLst>
              <a:ext uri="{FF2B5EF4-FFF2-40B4-BE49-F238E27FC236}">
                <a16:creationId xmlns:a16="http://schemas.microsoft.com/office/drawing/2014/main" id="{32475FE9-D1FC-06A5-6698-8CDB84CD7793}"/>
              </a:ext>
            </a:extLst>
          </p:cNvPr>
          <p:cNvSpPr>
            <a:spLocks noGrp="1"/>
          </p:cNvSpPr>
          <p:nvPr>
            <p:ph type="body" sz="quarter" idx="23"/>
          </p:nvPr>
        </p:nvSpPr>
        <p:spPr>
          <a:xfrm>
            <a:off x="8683960" y="3584761"/>
            <a:ext cx="2366810" cy="276999"/>
          </a:xfrm>
        </p:spPr>
        <p:txBody>
          <a:bodyPr/>
          <a:lstStyle>
            <a:lvl1pPr algn="l">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80" name="Text Placeholder 16">
            <a:extLst>
              <a:ext uri="{FF2B5EF4-FFF2-40B4-BE49-F238E27FC236}">
                <a16:creationId xmlns:a16="http://schemas.microsoft.com/office/drawing/2014/main" id="{535AFB1C-6A52-95FE-E27B-56AC69CCCC83}"/>
              </a:ext>
            </a:extLst>
          </p:cNvPr>
          <p:cNvSpPr>
            <a:spLocks noGrp="1"/>
          </p:cNvSpPr>
          <p:nvPr>
            <p:ph type="body" sz="quarter" idx="25"/>
          </p:nvPr>
        </p:nvSpPr>
        <p:spPr>
          <a:xfrm>
            <a:off x="1935869" y="5286666"/>
            <a:ext cx="2366810" cy="276999"/>
          </a:xfrm>
        </p:spPr>
        <p:txBody>
          <a:bodyPr/>
          <a:lstStyle>
            <a:lvl1pPr algn="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79" name="Text Placeholder 16">
            <a:extLst>
              <a:ext uri="{FF2B5EF4-FFF2-40B4-BE49-F238E27FC236}">
                <a16:creationId xmlns:a16="http://schemas.microsoft.com/office/drawing/2014/main" id="{9A6FE9BB-A2EF-7CB2-6B55-27EAF3A1689C}"/>
              </a:ext>
            </a:extLst>
          </p:cNvPr>
          <p:cNvSpPr>
            <a:spLocks noGrp="1"/>
          </p:cNvSpPr>
          <p:nvPr>
            <p:ph type="body" sz="quarter" idx="24"/>
          </p:nvPr>
        </p:nvSpPr>
        <p:spPr>
          <a:xfrm>
            <a:off x="7729059" y="5286666"/>
            <a:ext cx="2366810" cy="276999"/>
          </a:xfrm>
        </p:spPr>
        <p:txBody>
          <a:bodyPr/>
          <a:lstStyle>
            <a:lvl1pPr algn="l">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42114805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88264" y="2886726"/>
            <a:ext cx="3720772" cy="872474"/>
          </a:xfrm>
        </p:spPr>
        <p:txBody>
          <a:bodyPr/>
          <a:lstStyle>
            <a:lvl1pPr algn="l">
              <a:defRPr lang="en-US" sz="3200" b="1" kern="1200" cap="none" spc="-50" baseline="0">
                <a:ln w="3175">
                  <a:noFill/>
                </a:ln>
                <a:gradFill>
                  <a:gsLst>
                    <a:gs pos="0">
                      <a:srgbClr val="50E6FF"/>
                    </a:gs>
                    <a:gs pos="100000">
                      <a:srgbClr val="0078D4"/>
                    </a:gs>
                  </a:gsLst>
                  <a:lin ang="2700000" scaled="1"/>
                </a:gradFill>
                <a:effectLst/>
                <a:latin typeface="Segoe UI Semibold" panose="020B0502040204020203" pitchFamily="34" charset="0"/>
                <a:ea typeface="+mn-ea"/>
                <a:cs typeface="Segoe UI Semibold" panose="020B0502040204020203" pitchFamily="34" charset="0"/>
              </a:defRPr>
            </a:lvl1pPr>
          </a:lstStyle>
          <a:p>
            <a:r>
              <a:rPr lang="en-US"/>
              <a:t>Click to edit Master title style</a:t>
            </a:r>
          </a:p>
        </p:txBody>
      </p:sp>
      <p:sp>
        <p:nvSpPr>
          <p:cNvPr id="2" name="Text Placeholder 16">
            <a:extLst>
              <a:ext uri="{FF2B5EF4-FFF2-40B4-BE49-F238E27FC236}">
                <a16:creationId xmlns:a16="http://schemas.microsoft.com/office/drawing/2014/main" id="{AFB395A3-F329-7F43-8109-3016CAA1A145}"/>
              </a:ext>
            </a:extLst>
          </p:cNvPr>
          <p:cNvSpPr>
            <a:spLocks noGrp="1"/>
          </p:cNvSpPr>
          <p:nvPr>
            <p:ph type="body" sz="quarter" idx="21"/>
          </p:nvPr>
        </p:nvSpPr>
        <p:spPr>
          <a:xfrm>
            <a:off x="7425644" y="940440"/>
            <a:ext cx="3762310" cy="430887"/>
          </a:xfrm>
        </p:spPr>
        <p:txBody>
          <a:bodyPr/>
          <a:lstStyle>
            <a:lvl1pPr algn="l">
              <a:spcBef>
                <a:spcPts val="0"/>
              </a:spcBef>
              <a:spcAft>
                <a:spcPts val="1200"/>
              </a:spcAft>
              <a:defRPr kumimoji="0" lang="en-US" sz="2800" b="0" i="0" u="none" strike="noStrike" kern="0" cap="none" spc="0" normalizeH="0" baseline="0" dirty="0">
                <a:ln>
                  <a:noFill/>
                </a:ln>
                <a:solidFill>
                  <a:srgbClr val="FFFFFF"/>
                </a:solidFill>
                <a:effectLst/>
                <a:uLnTx/>
                <a:uFillTx/>
                <a:latin typeface="Segoe UI"/>
                <a:ea typeface="+mj-ea"/>
                <a:cs typeface="Segoe UI"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3" name="Text Placeholder 16">
            <a:extLst>
              <a:ext uri="{FF2B5EF4-FFF2-40B4-BE49-F238E27FC236}">
                <a16:creationId xmlns:a16="http://schemas.microsoft.com/office/drawing/2014/main" id="{1DDAB25F-31CA-A664-667A-6E4EDE149B3A}"/>
              </a:ext>
            </a:extLst>
          </p:cNvPr>
          <p:cNvSpPr>
            <a:spLocks noGrp="1"/>
          </p:cNvSpPr>
          <p:nvPr>
            <p:ph type="body" sz="quarter" idx="22"/>
          </p:nvPr>
        </p:nvSpPr>
        <p:spPr>
          <a:xfrm>
            <a:off x="7425644" y="2428765"/>
            <a:ext cx="3762310" cy="430887"/>
          </a:xfrm>
        </p:spPr>
        <p:txBody>
          <a:bodyPr/>
          <a:lstStyle>
            <a:lvl1pPr algn="l">
              <a:spcBef>
                <a:spcPts val="0"/>
              </a:spcBef>
              <a:spcAft>
                <a:spcPts val="1200"/>
              </a:spcAft>
              <a:defRPr kumimoji="0" lang="en-US" sz="2800" b="0" i="0" u="none" strike="noStrike" kern="0" cap="none" spc="0" normalizeH="0" baseline="0" dirty="0">
                <a:ln>
                  <a:noFill/>
                </a:ln>
                <a:solidFill>
                  <a:srgbClr val="FFFFFF"/>
                </a:solidFill>
                <a:effectLst/>
                <a:uLnTx/>
                <a:uFillTx/>
                <a:latin typeface="Segoe UI"/>
                <a:ea typeface="+mj-ea"/>
                <a:cs typeface="Segoe UI"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4" name="Text Placeholder 16">
            <a:extLst>
              <a:ext uri="{FF2B5EF4-FFF2-40B4-BE49-F238E27FC236}">
                <a16:creationId xmlns:a16="http://schemas.microsoft.com/office/drawing/2014/main" id="{A2F95923-9084-939A-C2FB-70DBC7908BFB}"/>
              </a:ext>
            </a:extLst>
          </p:cNvPr>
          <p:cNvSpPr>
            <a:spLocks noGrp="1"/>
          </p:cNvSpPr>
          <p:nvPr>
            <p:ph type="body" sz="quarter" idx="23"/>
          </p:nvPr>
        </p:nvSpPr>
        <p:spPr>
          <a:xfrm>
            <a:off x="7425644" y="3898441"/>
            <a:ext cx="3762310" cy="430887"/>
          </a:xfrm>
        </p:spPr>
        <p:txBody>
          <a:bodyPr/>
          <a:lstStyle>
            <a:lvl1pPr algn="l">
              <a:spcBef>
                <a:spcPts val="0"/>
              </a:spcBef>
              <a:spcAft>
                <a:spcPts val="1200"/>
              </a:spcAft>
              <a:defRPr kumimoji="0" lang="en-US" sz="2800" b="0" i="0" u="none" strike="noStrike" kern="0" cap="none" spc="0" normalizeH="0" baseline="0" dirty="0">
                <a:ln>
                  <a:noFill/>
                </a:ln>
                <a:solidFill>
                  <a:srgbClr val="FFFFFF"/>
                </a:solidFill>
                <a:effectLst/>
                <a:uLnTx/>
                <a:uFillTx/>
                <a:latin typeface="Segoe UI"/>
                <a:ea typeface="+mj-ea"/>
                <a:cs typeface="Segoe UI"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5" name="Text Placeholder 16">
            <a:extLst>
              <a:ext uri="{FF2B5EF4-FFF2-40B4-BE49-F238E27FC236}">
                <a16:creationId xmlns:a16="http://schemas.microsoft.com/office/drawing/2014/main" id="{9FCA6A62-292B-33D3-2473-67D03C349715}"/>
              </a:ext>
            </a:extLst>
          </p:cNvPr>
          <p:cNvSpPr>
            <a:spLocks noGrp="1"/>
          </p:cNvSpPr>
          <p:nvPr>
            <p:ph type="body" sz="quarter" idx="24"/>
          </p:nvPr>
        </p:nvSpPr>
        <p:spPr>
          <a:xfrm>
            <a:off x="7425644" y="5345874"/>
            <a:ext cx="3762310" cy="430887"/>
          </a:xfrm>
        </p:spPr>
        <p:txBody>
          <a:bodyPr/>
          <a:lstStyle>
            <a:lvl1pPr algn="l">
              <a:spcBef>
                <a:spcPts val="0"/>
              </a:spcBef>
              <a:spcAft>
                <a:spcPts val="1200"/>
              </a:spcAft>
              <a:defRPr kumimoji="0" lang="en-US" sz="2800" b="0" i="0" u="none" strike="noStrike" kern="0" cap="none" spc="0" normalizeH="0" baseline="0" dirty="0">
                <a:ln>
                  <a:noFill/>
                </a:ln>
                <a:solidFill>
                  <a:srgbClr val="FFFFFF"/>
                </a:solidFill>
                <a:effectLst/>
                <a:uLnTx/>
                <a:uFillTx/>
                <a:latin typeface="Segoe UI"/>
                <a:ea typeface="+mj-ea"/>
                <a:cs typeface="Segoe UI" pitchFamily="34" charset="0"/>
              </a:defRPr>
            </a:lvl1pPr>
            <a:lvl2pPr marL="0" indent="0" algn="l">
              <a:spcBef>
                <a:spcPts val="0"/>
              </a:spcBef>
              <a:spcAft>
                <a:spcPts val="0"/>
              </a:spcAft>
              <a:defRPr sz="1800" b="1">
                <a:solidFill>
                  <a:schemeClr val="tx1"/>
                </a:solidFill>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32962215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AND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67953" y="956922"/>
            <a:ext cx="11056094" cy="307777"/>
          </a:xfrm>
        </p:spPr>
        <p:txBody>
          <a:bodyPr/>
          <a:lstStyle>
            <a:lvl1pPr algn="ctr">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8" name="Text Placeholder 16">
            <a:extLst>
              <a:ext uri="{FF2B5EF4-FFF2-40B4-BE49-F238E27FC236}">
                <a16:creationId xmlns:a16="http://schemas.microsoft.com/office/drawing/2014/main" id="{FA485A46-18C2-4374-C10B-F934F59C44DE}"/>
              </a:ext>
            </a:extLst>
          </p:cNvPr>
          <p:cNvSpPr>
            <a:spLocks noGrp="1"/>
          </p:cNvSpPr>
          <p:nvPr>
            <p:ph type="body" sz="quarter" idx="21"/>
          </p:nvPr>
        </p:nvSpPr>
        <p:spPr>
          <a:xfrm>
            <a:off x="5360123" y="2011291"/>
            <a:ext cx="6246659" cy="492443"/>
          </a:xfrm>
        </p:spPr>
        <p:txBody>
          <a:bodyPr/>
          <a:lstStyle>
            <a:lvl1pPr algn="ctr">
              <a:spcBef>
                <a:spcPts val="0"/>
              </a:spcBef>
              <a:spcAft>
                <a:spcPts val="0"/>
              </a:spcAft>
              <a:defRPr kumimoji="0" lang="en-US" sz="1600" b="1" i="0" u="none" strike="noStrike" kern="0" cap="none" spc="0" normalizeH="0" baseline="0" dirty="0" smtClean="0">
                <a:ln>
                  <a:noFill/>
                </a:ln>
                <a:solidFill>
                  <a:srgbClr val="50E6FF"/>
                </a:solidFill>
                <a:effectLst/>
                <a:uLnTx/>
                <a:uFillTx/>
                <a:latin typeface="Segoe UI"/>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rgbClr val="FFFFFF"/>
                </a:solidFill>
                <a:effectLst/>
                <a:uLnTx/>
                <a:uFillTx/>
                <a:latin typeface="Segoe UI"/>
                <a:ea typeface="+mn-ea"/>
                <a:cs typeface="+mn-cs"/>
              </a:defRPr>
            </a:lvl2pPr>
            <a:lvl3pPr marL="0" indent="0" algn="l">
              <a:spcBef>
                <a:spcPts val="0"/>
              </a:spcBef>
              <a:spcAft>
                <a:spcPts val="0"/>
              </a:spcAft>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39" name="Text Placeholder 16">
            <a:extLst>
              <a:ext uri="{FF2B5EF4-FFF2-40B4-BE49-F238E27FC236}">
                <a16:creationId xmlns:a16="http://schemas.microsoft.com/office/drawing/2014/main" id="{8C1D92B5-B33F-37F4-98EC-68C3388B5C4C}"/>
              </a:ext>
            </a:extLst>
          </p:cNvPr>
          <p:cNvSpPr>
            <a:spLocks noGrp="1"/>
          </p:cNvSpPr>
          <p:nvPr>
            <p:ph type="body" sz="quarter" idx="22"/>
          </p:nvPr>
        </p:nvSpPr>
        <p:spPr>
          <a:xfrm>
            <a:off x="5246455" y="4151843"/>
            <a:ext cx="1956093" cy="523220"/>
          </a:xfrm>
        </p:spPr>
        <p:txBody>
          <a:bodyPr/>
          <a:lstStyle>
            <a:lvl1pPr algn="ctr">
              <a:spcBef>
                <a:spcPts val="0"/>
              </a:spcBef>
              <a:spcAft>
                <a:spcPts val="0"/>
              </a:spcAft>
              <a:defRPr kumimoji="0" lang="en-US" sz="1800" b="0" i="0" u="none" strike="noStrike" kern="0" cap="none" spc="-49" normalizeH="0" baseline="0" dirty="0" smtClean="0">
                <a:ln w="3175">
                  <a:noFill/>
                </a:ln>
                <a:solidFill>
                  <a:schemeClr val="accent2">
                    <a:lumMod val="60000"/>
                    <a:lumOff val="40000"/>
                  </a:schemeClr>
                </a:solidFill>
                <a:effectLst/>
                <a:uLnTx/>
                <a:uFillTx/>
                <a:latin typeface="Segoe UI Semibold"/>
                <a:ea typeface="+mn-ea"/>
                <a:cs typeface="Segoe UI"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p:txBody>
      </p:sp>
      <p:sp>
        <p:nvSpPr>
          <p:cNvPr id="42" name="Text Placeholder 16">
            <a:extLst>
              <a:ext uri="{FF2B5EF4-FFF2-40B4-BE49-F238E27FC236}">
                <a16:creationId xmlns:a16="http://schemas.microsoft.com/office/drawing/2014/main" id="{BEC83822-9D24-8DAF-0EAF-F47CA912574E}"/>
              </a:ext>
            </a:extLst>
          </p:cNvPr>
          <p:cNvSpPr>
            <a:spLocks noGrp="1"/>
          </p:cNvSpPr>
          <p:nvPr>
            <p:ph type="body" sz="quarter" idx="25"/>
          </p:nvPr>
        </p:nvSpPr>
        <p:spPr>
          <a:xfrm>
            <a:off x="5246455" y="4839521"/>
            <a:ext cx="1956093" cy="646331"/>
          </a:xfrm>
        </p:spPr>
        <p:txBody>
          <a:bodyPr/>
          <a:lstStyle>
            <a:lvl1pPr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a:p>
            <a:pPr lvl="0"/>
            <a:endParaRPr lang="en-US"/>
          </a:p>
        </p:txBody>
      </p:sp>
      <p:sp>
        <p:nvSpPr>
          <p:cNvPr id="40" name="Text Placeholder 16">
            <a:extLst>
              <a:ext uri="{FF2B5EF4-FFF2-40B4-BE49-F238E27FC236}">
                <a16:creationId xmlns:a16="http://schemas.microsoft.com/office/drawing/2014/main" id="{E742F878-57ED-255E-779F-38B8E82894DB}"/>
              </a:ext>
            </a:extLst>
          </p:cNvPr>
          <p:cNvSpPr>
            <a:spLocks noGrp="1"/>
          </p:cNvSpPr>
          <p:nvPr>
            <p:ph type="body" sz="quarter" idx="23"/>
          </p:nvPr>
        </p:nvSpPr>
        <p:spPr>
          <a:xfrm>
            <a:off x="7469155" y="4151843"/>
            <a:ext cx="1956093" cy="553998"/>
          </a:xfrm>
        </p:spPr>
        <p:txBody>
          <a:bodyPr/>
          <a:lstStyle>
            <a:lvl1pPr algn="ctr">
              <a:spcBef>
                <a:spcPts val="0"/>
              </a:spcBef>
              <a:spcAft>
                <a:spcPts val="0"/>
              </a:spcAft>
              <a:defRPr kumimoji="0" lang="en-US" sz="1800" b="0" i="0" u="none" strike="noStrike" kern="0" cap="none" spc="-49" normalizeH="0" baseline="0" dirty="0" smtClean="0">
                <a:ln w="3175">
                  <a:noFill/>
                </a:ln>
                <a:solidFill>
                  <a:schemeClr val="accent2">
                    <a:lumMod val="60000"/>
                    <a:lumOff val="40000"/>
                  </a:schemeClr>
                </a:solidFill>
                <a:effectLst/>
                <a:uLnTx/>
                <a:uFillTx/>
                <a:latin typeface="Segoe UI Semibold"/>
                <a:ea typeface="+mn-ea"/>
                <a:cs typeface="Segoe UI" pitchFamily="34" charset="0"/>
              </a:defRPr>
            </a:lvl1pPr>
            <a:lvl2pPr marL="0" indent="0" algn="ctr">
              <a:spcBef>
                <a:spcPts val="0"/>
              </a:spcBef>
              <a:spcAft>
                <a:spcPts val="0"/>
              </a:spcAft>
              <a:defRPr kumimoji="0" lang="en-US" sz="16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0"/>
            <a:endParaRPr lang="en-US"/>
          </a:p>
        </p:txBody>
      </p:sp>
      <p:sp>
        <p:nvSpPr>
          <p:cNvPr id="43" name="Text Placeholder 16">
            <a:extLst>
              <a:ext uri="{FF2B5EF4-FFF2-40B4-BE49-F238E27FC236}">
                <a16:creationId xmlns:a16="http://schemas.microsoft.com/office/drawing/2014/main" id="{00C79A44-684E-9AC1-15A8-7E1E6D12C45D}"/>
              </a:ext>
            </a:extLst>
          </p:cNvPr>
          <p:cNvSpPr>
            <a:spLocks noGrp="1"/>
          </p:cNvSpPr>
          <p:nvPr>
            <p:ph type="body" sz="quarter" idx="26"/>
          </p:nvPr>
        </p:nvSpPr>
        <p:spPr>
          <a:xfrm>
            <a:off x="7469155" y="4839521"/>
            <a:ext cx="1956093" cy="646331"/>
          </a:xfrm>
        </p:spPr>
        <p:txBody>
          <a:bodyPr/>
          <a:lstStyle>
            <a:lvl1pPr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a:p>
            <a:pPr lvl="0"/>
            <a:endParaRPr lang="en-US"/>
          </a:p>
        </p:txBody>
      </p:sp>
      <p:sp>
        <p:nvSpPr>
          <p:cNvPr id="41" name="Text Placeholder 16">
            <a:extLst>
              <a:ext uri="{FF2B5EF4-FFF2-40B4-BE49-F238E27FC236}">
                <a16:creationId xmlns:a16="http://schemas.microsoft.com/office/drawing/2014/main" id="{A11EEBCB-9DAC-C78C-E6D9-643ABEC8EDD7}"/>
              </a:ext>
            </a:extLst>
          </p:cNvPr>
          <p:cNvSpPr>
            <a:spLocks noGrp="1"/>
          </p:cNvSpPr>
          <p:nvPr>
            <p:ph type="body" sz="quarter" idx="24"/>
          </p:nvPr>
        </p:nvSpPr>
        <p:spPr>
          <a:xfrm>
            <a:off x="9720263" y="4151843"/>
            <a:ext cx="1956093" cy="553998"/>
          </a:xfrm>
        </p:spPr>
        <p:txBody>
          <a:bodyPr/>
          <a:lstStyle>
            <a:lvl1pPr algn="ctr">
              <a:spcBef>
                <a:spcPts val="0"/>
              </a:spcBef>
              <a:spcAft>
                <a:spcPts val="0"/>
              </a:spcAft>
              <a:defRPr kumimoji="0" lang="en-US" sz="1800" b="0" i="0" u="none" strike="noStrike" kern="0" cap="none" spc="-49" normalizeH="0" baseline="0" dirty="0" smtClean="0">
                <a:ln w="3175">
                  <a:noFill/>
                </a:ln>
                <a:solidFill>
                  <a:schemeClr val="accent2">
                    <a:lumMod val="60000"/>
                    <a:lumOff val="40000"/>
                  </a:schemeClr>
                </a:solidFill>
                <a:effectLst/>
                <a:uLnTx/>
                <a:uFillTx/>
                <a:latin typeface="Segoe UI Semibold"/>
                <a:ea typeface="+mn-ea"/>
                <a:cs typeface="Segoe UI" pitchFamily="34" charset="0"/>
              </a:defRPr>
            </a:lvl1pPr>
            <a:lvl2pPr marL="0" indent="0" algn="ctr">
              <a:spcBef>
                <a:spcPts val="0"/>
              </a:spcBef>
              <a:spcAft>
                <a:spcPts val="0"/>
              </a:spcAft>
              <a:defRPr kumimoji="0" lang="en-US" sz="16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0"/>
            <a:endParaRPr lang="en-US"/>
          </a:p>
        </p:txBody>
      </p:sp>
      <p:sp>
        <p:nvSpPr>
          <p:cNvPr id="44" name="Text Placeholder 16">
            <a:extLst>
              <a:ext uri="{FF2B5EF4-FFF2-40B4-BE49-F238E27FC236}">
                <a16:creationId xmlns:a16="http://schemas.microsoft.com/office/drawing/2014/main" id="{9B9540E9-4159-3D72-9075-A0E4AF60B711}"/>
              </a:ext>
            </a:extLst>
          </p:cNvPr>
          <p:cNvSpPr>
            <a:spLocks noGrp="1"/>
          </p:cNvSpPr>
          <p:nvPr>
            <p:ph type="body" sz="quarter" idx="27"/>
          </p:nvPr>
        </p:nvSpPr>
        <p:spPr>
          <a:xfrm>
            <a:off x="9720263" y="4839521"/>
            <a:ext cx="1956093" cy="430887"/>
          </a:xfrm>
        </p:spPr>
        <p:txBody>
          <a:bodyPr/>
          <a:lstStyle>
            <a:lvl1pPr algn="ctr">
              <a:spcBef>
                <a:spcPts val="0"/>
              </a:spcBef>
              <a:spcAft>
                <a:spcPts val="0"/>
              </a:spcAft>
              <a:defRPr kumimoji="0" lang="en-US" sz="14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rgbClr val="FFFFFF"/>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0"/>
            <a:endParaRPr lang="en-US"/>
          </a:p>
        </p:txBody>
      </p:sp>
    </p:spTree>
    <p:extLst>
      <p:ext uri="{BB962C8B-B14F-4D97-AF65-F5344CB8AC3E}">
        <p14:creationId xmlns:p14="http://schemas.microsoft.com/office/powerpoint/2010/main" val="39773375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67953" y="956922"/>
            <a:ext cx="11056094" cy="307777"/>
          </a:xfrm>
        </p:spPr>
        <p:txBody>
          <a:bodyPr/>
          <a:lstStyle>
            <a:lvl1pPr algn="ctr">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5" name="Text Placeholder 16">
            <a:extLst>
              <a:ext uri="{FF2B5EF4-FFF2-40B4-BE49-F238E27FC236}">
                <a16:creationId xmlns:a16="http://schemas.microsoft.com/office/drawing/2014/main" id="{4A4649BC-6BC6-2A83-91D8-4F88B51DC179}"/>
              </a:ext>
            </a:extLst>
          </p:cNvPr>
          <p:cNvSpPr>
            <a:spLocks noGrp="1"/>
          </p:cNvSpPr>
          <p:nvPr>
            <p:ph type="body" sz="quarter" idx="21"/>
          </p:nvPr>
        </p:nvSpPr>
        <p:spPr>
          <a:xfrm>
            <a:off x="5056094" y="2017714"/>
            <a:ext cx="6725788" cy="707886"/>
          </a:xfrm>
        </p:spPr>
        <p:txBody>
          <a:bodyPr/>
          <a:lstStyle>
            <a:lvl1pPr algn="l">
              <a:spcBef>
                <a:spcPts val="0"/>
              </a:spcBef>
              <a:spcAft>
                <a:spcPts val="0"/>
              </a:spcAft>
              <a:defRPr kumimoji="0" lang="en-US" sz="2800" b="1" i="0" u="none" strike="noStrike" kern="1200" cap="none" spc="-50" normalizeH="0" baseline="0" dirty="0" smtClean="0">
                <a:ln w="3175">
                  <a:noFill/>
                </a:ln>
                <a:gradFill>
                  <a:gsLst>
                    <a:gs pos="0">
                      <a:srgbClr val="50E6FF"/>
                    </a:gs>
                    <a:gs pos="100000">
                      <a:srgbClr val="0078D4"/>
                    </a:gs>
                  </a:gsLst>
                  <a:lin ang="2700000" scaled="1"/>
                </a:gradFill>
                <a:effectLst/>
                <a:uLnTx/>
                <a:uFillTx/>
                <a:latin typeface="Segoe UI Semibold" panose="020B0502040204020203" pitchFamily="34" charset="0"/>
                <a:ea typeface="+mn-ea"/>
                <a:cs typeface="Segoe UI Semibold" panose="020B0502040204020203" pitchFamily="34" charset="0"/>
              </a:defRPr>
            </a:lvl1pPr>
            <a:lvl2pPr marL="0" indent="0" algn="l">
              <a:spcBef>
                <a:spcPts val="0"/>
              </a:spcBef>
              <a:spcAft>
                <a:spcPts val="0"/>
              </a:spcAft>
              <a:defRPr sz="1800" b="0">
                <a:solidFill>
                  <a:schemeClr val="tx1"/>
                </a:solidFill>
              </a:defRPr>
            </a:lvl2pPr>
            <a:lvl3pPr marL="0" indent="0" algn="l">
              <a:spcBef>
                <a:spcPts val="0"/>
              </a:spcBef>
              <a:spcAft>
                <a:spcPts val="0"/>
              </a:spcAft>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6" name="Text Placeholder 16">
            <a:extLst>
              <a:ext uri="{FF2B5EF4-FFF2-40B4-BE49-F238E27FC236}">
                <a16:creationId xmlns:a16="http://schemas.microsoft.com/office/drawing/2014/main" id="{0F3CC1A8-DB2B-4826-9494-4CF0BB8BD21D}"/>
              </a:ext>
            </a:extLst>
          </p:cNvPr>
          <p:cNvSpPr>
            <a:spLocks noGrp="1"/>
          </p:cNvSpPr>
          <p:nvPr>
            <p:ph type="body" sz="quarter" idx="22"/>
          </p:nvPr>
        </p:nvSpPr>
        <p:spPr>
          <a:xfrm>
            <a:off x="5056094" y="3256868"/>
            <a:ext cx="6725788" cy="707886"/>
          </a:xfrm>
        </p:spPr>
        <p:txBody>
          <a:bodyPr/>
          <a:lstStyle>
            <a:lvl1pPr algn="l">
              <a:spcBef>
                <a:spcPts val="0"/>
              </a:spcBef>
              <a:spcAft>
                <a:spcPts val="0"/>
              </a:spcAft>
              <a:defRPr kumimoji="0" lang="en-US" sz="2800" b="1" i="0" u="none" strike="noStrike" kern="1200" cap="none" spc="-50" normalizeH="0" baseline="0" dirty="0" smtClean="0">
                <a:ln w="3175">
                  <a:noFill/>
                </a:ln>
                <a:gradFill>
                  <a:gsLst>
                    <a:gs pos="0">
                      <a:srgbClr val="50E6FF"/>
                    </a:gs>
                    <a:gs pos="100000">
                      <a:srgbClr val="0078D4"/>
                    </a:gs>
                  </a:gsLst>
                  <a:lin ang="2700000" scaled="1"/>
                </a:gradFill>
                <a:effectLst/>
                <a:uLnTx/>
                <a:uFillTx/>
                <a:latin typeface="Segoe UI Semibold" panose="020B0502040204020203" pitchFamily="34" charset="0"/>
                <a:ea typeface="+mn-ea"/>
                <a:cs typeface="Segoe UI Semibold" panose="020B0502040204020203" pitchFamily="34" charset="0"/>
              </a:defRPr>
            </a:lvl1pPr>
            <a:lvl2pPr marL="0" indent="0" algn="l">
              <a:spcBef>
                <a:spcPts val="0"/>
              </a:spcBef>
              <a:spcAft>
                <a:spcPts val="0"/>
              </a:spcAft>
              <a:defRPr sz="1800" b="0">
                <a:solidFill>
                  <a:schemeClr val="tx1"/>
                </a:solidFill>
              </a:defRPr>
            </a:lvl2pPr>
            <a:lvl3pPr marL="0" indent="0" algn="l">
              <a:spcBef>
                <a:spcPts val="0"/>
              </a:spcBef>
              <a:spcAft>
                <a:spcPts val="0"/>
              </a:spcAft>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7" name="Text Placeholder 16">
            <a:extLst>
              <a:ext uri="{FF2B5EF4-FFF2-40B4-BE49-F238E27FC236}">
                <a16:creationId xmlns:a16="http://schemas.microsoft.com/office/drawing/2014/main" id="{65EC7714-0756-6746-6C7E-9E5D9C386477}"/>
              </a:ext>
            </a:extLst>
          </p:cNvPr>
          <p:cNvSpPr>
            <a:spLocks noGrp="1"/>
          </p:cNvSpPr>
          <p:nvPr>
            <p:ph type="body" sz="quarter" idx="23"/>
          </p:nvPr>
        </p:nvSpPr>
        <p:spPr>
          <a:xfrm>
            <a:off x="5056094" y="4496022"/>
            <a:ext cx="6725788" cy="707886"/>
          </a:xfrm>
        </p:spPr>
        <p:txBody>
          <a:bodyPr/>
          <a:lstStyle>
            <a:lvl1pPr algn="l">
              <a:spcBef>
                <a:spcPts val="0"/>
              </a:spcBef>
              <a:spcAft>
                <a:spcPts val="0"/>
              </a:spcAft>
              <a:defRPr kumimoji="0" lang="en-US" sz="2800" b="1" i="0" u="none" strike="noStrike" kern="1200" cap="none" spc="-50" normalizeH="0" baseline="0" dirty="0" smtClean="0">
                <a:ln w="3175">
                  <a:noFill/>
                </a:ln>
                <a:gradFill>
                  <a:gsLst>
                    <a:gs pos="0">
                      <a:srgbClr val="50E6FF"/>
                    </a:gs>
                    <a:gs pos="100000">
                      <a:srgbClr val="0078D4"/>
                    </a:gs>
                  </a:gsLst>
                  <a:lin ang="2700000" scaled="1"/>
                </a:gradFill>
                <a:effectLst/>
                <a:uLnTx/>
                <a:uFillTx/>
                <a:latin typeface="Segoe UI Semibold" panose="020B0502040204020203" pitchFamily="34" charset="0"/>
                <a:ea typeface="+mn-ea"/>
                <a:cs typeface="Segoe UI Semibold" panose="020B0502040204020203" pitchFamily="34" charset="0"/>
              </a:defRPr>
            </a:lvl1pPr>
            <a:lvl2pPr marL="0" indent="0" algn="l">
              <a:spcBef>
                <a:spcPts val="0"/>
              </a:spcBef>
              <a:spcAft>
                <a:spcPts val="0"/>
              </a:spcAft>
              <a:defRPr sz="1800" b="0">
                <a:solidFill>
                  <a:schemeClr val="tx1"/>
                </a:solidFill>
              </a:defRPr>
            </a:lvl2pPr>
            <a:lvl3pPr marL="0" indent="0" algn="l">
              <a:spcBef>
                <a:spcPts val="0"/>
              </a:spcBef>
              <a:spcAft>
                <a:spcPts val="0"/>
              </a:spcAft>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Tree>
    <p:extLst>
      <p:ext uri="{BB962C8B-B14F-4D97-AF65-F5344CB8AC3E}">
        <p14:creationId xmlns:p14="http://schemas.microsoft.com/office/powerpoint/2010/main" val="7720188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TITLE AND SUB">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C8CB25C-9F5A-DECE-2B1C-9A098241D78A}"/>
              </a:ext>
              <a:ext uri="{C183D7F6-B498-43B3-948B-1728B52AA6E4}">
                <adec:decorative xmlns:adec="http://schemas.microsoft.com/office/drawing/2017/decorative" val="1"/>
              </a:ext>
            </a:extLst>
          </p:cNvPr>
          <p:cNvSpPr/>
          <p:nvPr userDrawn="1"/>
        </p:nvSpPr>
        <p:spPr bwMode="auto">
          <a:xfrm>
            <a:off x="-144462" y="5280551"/>
            <a:ext cx="12192000" cy="1577449"/>
          </a:xfrm>
          <a:prstGeom prst="rect">
            <a:avLst/>
          </a:prstGeom>
          <a:solidFill>
            <a:schemeClr val="bg2">
              <a:alpha val="5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prstClr val="black"/>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9" name="Text Placeholder 16">
            <a:extLst>
              <a:ext uri="{FF2B5EF4-FFF2-40B4-BE49-F238E27FC236}">
                <a16:creationId xmlns:a16="http://schemas.microsoft.com/office/drawing/2014/main" id="{0D912C24-7E32-CE1B-407D-02F65BCA5CBA}"/>
              </a:ext>
            </a:extLst>
          </p:cNvPr>
          <p:cNvSpPr>
            <a:spLocks noGrp="1"/>
          </p:cNvSpPr>
          <p:nvPr>
            <p:ph type="body" sz="quarter" idx="22"/>
          </p:nvPr>
        </p:nvSpPr>
        <p:spPr>
          <a:xfrm>
            <a:off x="588263" y="5577462"/>
            <a:ext cx="5340509" cy="553998"/>
          </a:xfrm>
        </p:spPr>
        <p:txBody>
          <a:bodyPr anchor="ctr"/>
          <a:lstStyle>
            <a:lvl1pPr algn="ctr">
              <a:spcBef>
                <a:spcPts val="0"/>
              </a:spcBef>
              <a:spcAft>
                <a:spcPts val="0"/>
              </a:spcAft>
              <a:defRPr kumimoji="0" lang="en-US" sz="2000" b="1" i="0" u="none" strike="noStrike" kern="1200" cap="none" spc="0" normalizeH="0" baseline="0" dirty="0" smtClean="0">
                <a:ln>
                  <a:noFill/>
                </a:ln>
                <a:solidFill>
                  <a:prstClr val="white"/>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p:txBody>
      </p:sp>
      <p:sp>
        <p:nvSpPr>
          <p:cNvPr id="10" name="Text Placeholder 16">
            <a:extLst>
              <a:ext uri="{FF2B5EF4-FFF2-40B4-BE49-F238E27FC236}">
                <a16:creationId xmlns:a16="http://schemas.microsoft.com/office/drawing/2014/main" id="{21E60FE7-6DCF-44DF-2B25-373A9A5A6915}"/>
              </a:ext>
            </a:extLst>
          </p:cNvPr>
          <p:cNvSpPr>
            <a:spLocks noGrp="1"/>
          </p:cNvSpPr>
          <p:nvPr>
            <p:ph type="body" sz="quarter" idx="25"/>
          </p:nvPr>
        </p:nvSpPr>
        <p:spPr>
          <a:xfrm>
            <a:off x="1766853" y="6269038"/>
            <a:ext cx="2983329" cy="931783"/>
          </a:xfrm>
          <a:prstGeom prst="round2SameRect">
            <a:avLst>
              <a:gd name="adj1" fmla="val 30508"/>
              <a:gd name="adj2" fmla="val 0"/>
            </a:avLst>
          </a:prstGeom>
          <a:solidFill>
            <a:schemeClr val="accent2"/>
          </a:solidFill>
        </p:spPr>
        <p:txBody>
          <a:bodyPr tIns="91440"/>
          <a:lstStyle>
            <a:lvl1pPr algn="ctr">
              <a:spcBef>
                <a:spcPts val="0"/>
              </a:spcBef>
              <a:spcAft>
                <a:spcPts val="0"/>
              </a:spcAft>
              <a:defRPr kumimoji="0" lang="en-US" sz="1600" b="1" i="0" u="none" strike="noStrike" kern="0" cap="none" spc="0" normalizeH="0" baseline="0" dirty="0" smtClean="0">
                <a:ln>
                  <a:noFill/>
                </a:ln>
                <a:solidFill>
                  <a:sysClr val="windowText" lastClr="000000"/>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400" b="0" i="0" u="none" strike="noStrike" kern="0" cap="none" spc="0" normalizeH="0" baseline="0" dirty="0" smtClean="0">
                <a:ln>
                  <a:noFill/>
                </a:ln>
                <a:solidFill>
                  <a:sysClr val="windowText" lastClr="000000"/>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a:p>
            <a:pPr lvl="0"/>
            <a:endParaRPr lang="en-US"/>
          </a:p>
        </p:txBody>
      </p:sp>
      <p:sp>
        <p:nvSpPr>
          <p:cNvPr id="11" name="Text Placeholder 16">
            <a:extLst>
              <a:ext uri="{FF2B5EF4-FFF2-40B4-BE49-F238E27FC236}">
                <a16:creationId xmlns:a16="http://schemas.microsoft.com/office/drawing/2014/main" id="{B4563F7B-5238-35DA-B06F-737DDFE6308C}"/>
              </a:ext>
            </a:extLst>
          </p:cNvPr>
          <p:cNvSpPr>
            <a:spLocks noGrp="1"/>
          </p:cNvSpPr>
          <p:nvPr>
            <p:ph type="body" sz="quarter" idx="26"/>
          </p:nvPr>
        </p:nvSpPr>
        <p:spPr>
          <a:xfrm>
            <a:off x="6263230" y="5577462"/>
            <a:ext cx="5340509" cy="553998"/>
          </a:xfrm>
        </p:spPr>
        <p:txBody>
          <a:bodyPr anchor="ctr"/>
          <a:lstStyle>
            <a:lvl1pPr algn="ctr">
              <a:spcBef>
                <a:spcPts val="0"/>
              </a:spcBef>
              <a:spcAft>
                <a:spcPts val="0"/>
              </a:spcAft>
              <a:defRPr kumimoji="0" lang="en-US" sz="2000" b="1" i="0" u="none" strike="noStrike" kern="1200" cap="none" spc="0" normalizeH="0" baseline="0" dirty="0" smtClean="0">
                <a:ln>
                  <a:noFill/>
                </a:ln>
                <a:solidFill>
                  <a:prstClr val="white"/>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p:txBody>
      </p:sp>
      <p:sp>
        <p:nvSpPr>
          <p:cNvPr id="12" name="Text Placeholder 16">
            <a:extLst>
              <a:ext uri="{FF2B5EF4-FFF2-40B4-BE49-F238E27FC236}">
                <a16:creationId xmlns:a16="http://schemas.microsoft.com/office/drawing/2014/main" id="{407D3322-6C5D-2E99-1FBA-0FA7510239E9}"/>
              </a:ext>
            </a:extLst>
          </p:cNvPr>
          <p:cNvSpPr>
            <a:spLocks noGrp="1"/>
          </p:cNvSpPr>
          <p:nvPr>
            <p:ph type="body" sz="quarter" idx="27"/>
          </p:nvPr>
        </p:nvSpPr>
        <p:spPr>
          <a:xfrm>
            <a:off x="7441820" y="6269038"/>
            <a:ext cx="2983329" cy="931783"/>
          </a:xfrm>
          <a:prstGeom prst="round2SameRect">
            <a:avLst>
              <a:gd name="adj1" fmla="val 30508"/>
              <a:gd name="adj2" fmla="val 0"/>
            </a:avLst>
          </a:prstGeom>
          <a:solidFill>
            <a:schemeClr val="accent2"/>
          </a:solidFill>
        </p:spPr>
        <p:txBody>
          <a:bodyPr tIns="91440"/>
          <a:lstStyle>
            <a:lvl1pPr algn="ctr">
              <a:spcBef>
                <a:spcPts val="0"/>
              </a:spcBef>
              <a:spcAft>
                <a:spcPts val="0"/>
              </a:spcAft>
              <a:defRPr kumimoji="0" lang="en-US" sz="1600" b="1" i="0" u="none" strike="noStrike" kern="0" cap="none" spc="0" normalizeH="0" baseline="0" dirty="0" smtClean="0">
                <a:ln>
                  <a:noFill/>
                </a:ln>
                <a:solidFill>
                  <a:sysClr val="windowText" lastClr="000000"/>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400" b="0" i="0" u="none" strike="noStrike" kern="0" cap="none" spc="0" normalizeH="0" baseline="0" dirty="0" smtClean="0">
                <a:ln>
                  <a:noFill/>
                </a:ln>
                <a:solidFill>
                  <a:sysClr val="windowText" lastClr="000000"/>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endParaRPr lang="en-US"/>
          </a:p>
          <a:p>
            <a:pPr lvl="0"/>
            <a:endParaRPr lang="en-US"/>
          </a:p>
        </p:txBody>
      </p:sp>
    </p:spTree>
    <p:extLst>
      <p:ext uri="{BB962C8B-B14F-4D97-AF65-F5344CB8AC3E}">
        <p14:creationId xmlns:p14="http://schemas.microsoft.com/office/powerpoint/2010/main" val="7122561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2" name="Text Placeholder 4">
            <a:extLst>
              <a:ext uri="{FF2B5EF4-FFF2-40B4-BE49-F238E27FC236}">
                <a16:creationId xmlns:a16="http://schemas.microsoft.com/office/drawing/2014/main" id="{2F67CCAF-AFA3-9A2C-5C88-ED3F409572E6}"/>
              </a:ext>
            </a:extLst>
          </p:cNvPr>
          <p:cNvSpPr>
            <a:spLocks noGrp="1"/>
          </p:cNvSpPr>
          <p:nvPr>
            <p:ph type="body" sz="quarter" idx="10"/>
          </p:nvPr>
        </p:nvSpPr>
        <p:spPr>
          <a:xfrm>
            <a:off x="567953" y="956922"/>
            <a:ext cx="11056094" cy="307777"/>
          </a:xfrm>
        </p:spPr>
        <p:txBody>
          <a:bodyPr/>
          <a:lstStyle>
            <a:lvl1pPr algn="ctr">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11" name="Text Placeholder 16">
            <a:extLst>
              <a:ext uri="{FF2B5EF4-FFF2-40B4-BE49-F238E27FC236}">
                <a16:creationId xmlns:a16="http://schemas.microsoft.com/office/drawing/2014/main" id="{41A2826E-3CFB-B577-E8C4-7C0E76FD4149}"/>
              </a:ext>
            </a:extLst>
          </p:cNvPr>
          <p:cNvSpPr>
            <a:spLocks noGrp="1"/>
          </p:cNvSpPr>
          <p:nvPr>
            <p:ph type="body" sz="quarter" idx="22"/>
          </p:nvPr>
        </p:nvSpPr>
        <p:spPr>
          <a:xfrm>
            <a:off x="800210" y="1433513"/>
            <a:ext cx="4498865" cy="307777"/>
          </a:xfrm>
        </p:spPr>
        <p:txBody>
          <a:bodyPr anchor="ctr"/>
          <a:lstStyle>
            <a:lvl1pPr algn="ctr">
              <a:spcBef>
                <a:spcPts val="0"/>
              </a:spcBef>
              <a:spcAft>
                <a:spcPts val="0"/>
              </a:spcAft>
              <a:defRPr kumimoji="0" lang="en-US" sz="2000" b="1" i="0" u="none" strike="noStrike" kern="1200" cap="none" spc="0" normalizeH="0" baseline="0" dirty="0" smtClean="0">
                <a:ln>
                  <a:noFill/>
                </a:ln>
                <a:solidFill>
                  <a:prstClr val="white"/>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 name="Text Placeholder 16">
            <a:extLst>
              <a:ext uri="{FF2B5EF4-FFF2-40B4-BE49-F238E27FC236}">
                <a16:creationId xmlns:a16="http://schemas.microsoft.com/office/drawing/2014/main" id="{97127977-3C4D-041D-D952-B7401F0A276B}"/>
              </a:ext>
            </a:extLst>
          </p:cNvPr>
          <p:cNvSpPr>
            <a:spLocks noGrp="1"/>
          </p:cNvSpPr>
          <p:nvPr>
            <p:ph type="body" sz="quarter" idx="26"/>
          </p:nvPr>
        </p:nvSpPr>
        <p:spPr>
          <a:xfrm>
            <a:off x="5834759" y="1918871"/>
            <a:ext cx="5631654" cy="800219"/>
          </a:xfrm>
        </p:spPr>
        <p:txBody>
          <a:bodyPr anchor="ctr"/>
          <a:lstStyle>
            <a:lvl1pPr algn="ctr">
              <a:spcBef>
                <a:spcPts val="0"/>
              </a:spcBef>
              <a:spcAft>
                <a:spcPts val="0"/>
              </a:spcAft>
              <a:defRPr kumimoji="0" lang="en-US" sz="2000" b="1" i="0" u="none" strike="noStrike" kern="1200" cap="none" spc="0" normalizeH="0" baseline="0" dirty="0" smtClean="0">
                <a:ln>
                  <a:noFill/>
                </a:ln>
                <a:solidFill>
                  <a:prstClr val="white"/>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a:t>
            </a:r>
          </a:p>
          <a:p>
            <a:pPr lvl="1"/>
            <a:endParaRPr lang="en-US"/>
          </a:p>
        </p:txBody>
      </p:sp>
    </p:spTree>
    <p:extLst>
      <p:ext uri="{BB962C8B-B14F-4D97-AF65-F5344CB8AC3E}">
        <p14:creationId xmlns:p14="http://schemas.microsoft.com/office/powerpoint/2010/main" val="20301791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10BBD400-9D84-7E0A-67AC-12C476679D04}"/>
              </a:ext>
              <a:ext uri="{C183D7F6-B498-43B3-948B-1728B52AA6E4}">
                <adec:decorative xmlns:adec="http://schemas.microsoft.com/office/drawing/2017/decorative" val="1"/>
              </a:ext>
            </a:extLst>
          </p:cNvPr>
          <p:cNvSpPr/>
          <p:nvPr/>
        </p:nvSpPr>
        <p:spPr bwMode="auto">
          <a:xfrm>
            <a:off x="2429138" y="3199880"/>
            <a:ext cx="8869680" cy="3493316"/>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err="1">
              <a:solidFill>
                <a:schemeClr val="accent1">
                  <a:lumMod val="60000"/>
                  <a:lumOff val="40000"/>
                </a:schemeClr>
              </a:solidFill>
              <a:cs typeface="Segoe UI" pitchFamily="34" charset="0"/>
            </a:endParaRPr>
          </a:p>
        </p:txBody>
      </p:sp>
      <p:sp>
        <p:nvSpPr>
          <p:cNvPr id="94" name="Rectangle 93">
            <a:extLst>
              <a:ext uri="{FF2B5EF4-FFF2-40B4-BE49-F238E27FC236}">
                <a16:creationId xmlns:a16="http://schemas.microsoft.com/office/drawing/2014/main" id="{EAA5CAFD-3B89-21F5-9415-09ED114BF0D7}"/>
              </a:ext>
              <a:ext uri="{C183D7F6-B498-43B3-948B-1728B52AA6E4}">
                <adec:decorative xmlns:adec="http://schemas.microsoft.com/office/drawing/2017/decorative" val="1"/>
              </a:ext>
            </a:extLst>
          </p:cNvPr>
          <p:cNvSpPr/>
          <p:nvPr/>
        </p:nvSpPr>
        <p:spPr bwMode="auto">
          <a:xfrm>
            <a:off x="2429138" y="2080229"/>
            <a:ext cx="8869680" cy="948049"/>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err="1">
              <a:solidFill>
                <a:schemeClr val="accent1">
                  <a:lumMod val="60000"/>
                  <a:lumOff val="40000"/>
                </a:schemeClr>
              </a:solidFill>
              <a:cs typeface="Segoe UI" pitchFamily="34" charset="0"/>
            </a:endParaRPr>
          </a:p>
        </p:txBody>
      </p:sp>
      <p:sp>
        <p:nvSpPr>
          <p:cNvPr id="95" name="Rectangle 94">
            <a:extLst>
              <a:ext uri="{FF2B5EF4-FFF2-40B4-BE49-F238E27FC236}">
                <a16:creationId xmlns:a16="http://schemas.microsoft.com/office/drawing/2014/main" id="{250E6D26-8EAD-ED1B-0487-B179EDEB7453}"/>
              </a:ext>
              <a:ext uri="{C183D7F6-B498-43B3-948B-1728B52AA6E4}">
                <adec:decorative xmlns:adec="http://schemas.microsoft.com/office/drawing/2017/decorative" val="1"/>
              </a:ext>
            </a:extLst>
          </p:cNvPr>
          <p:cNvSpPr/>
          <p:nvPr/>
        </p:nvSpPr>
        <p:spPr bwMode="auto">
          <a:xfrm>
            <a:off x="2429138" y="1113948"/>
            <a:ext cx="8869680" cy="85955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252" name="Text Placeholder 16">
            <a:extLst>
              <a:ext uri="{FF2B5EF4-FFF2-40B4-BE49-F238E27FC236}">
                <a16:creationId xmlns:a16="http://schemas.microsoft.com/office/drawing/2014/main" id="{E0F369F0-3C76-78BA-4522-007E155D4703}"/>
              </a:ext>
            </a:extLst>
          </p:cNvPr>
          <p:cNvSpPr>
            <a:spLocks noGrp="1"/>
          </p:cNvSpPr>
          <p:nvPr>
            <p:ph type="body" sz="quarter" idx="44"/>
          </p:nvPr>
        </p:nvSpPr>
        <p:spPr>
          <a:xfrm>
            <a:off x="260350" y="2354649"/>
            <a:ext cx="1625600" cy="277903"/>
          </a:xfrm>
        </p:spPr>
        <p:txBody>
          <a:bodyPr anchor="t"/>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96" name="Left Brace 95" descr="Comprising of Applications and Power Platform.">
            <a:extLst>
              <a:ext uri="{FF2B5EF4-FFF2-40B4-BE49-F238E27FC236}">
                <a16:creationId xmlns:a16="http://schemas.microsoft.com/office/drawing/2014/main" id="{F4A6240B-E792-8019-A323-0FC0DA319F34}"/>
              </a:ext>
              <a:ext uri="{C183D7F6-B498-43B3-948B-1728B52AA6E4}">
                <adec:decorative xmlns:adec="http://schemas.microsoft.com/office/drawing/2017/decorative" val="0"/>
              </a:ext>
            </a:extLst>
          </p:cNvPr>
          <p:cNvSpPr/>
          <p:nvPr/>
        </p:nvSpPr>
        <p:spPr>
          <a:xfrm>
            <a:off x="1804471" y="1069891"/>
            <a:ext cx="441696" cy="1941271"/>
          </a:xfrm>
          <a:prstGeom prst="leftBrace">
            <a:avLst>
              <a:gd name="adj1" fmla="val 73321"/>
              <a:gd name="adj2" fmla="val 50000"/>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19" name="Text Placeholder 16">
            <a:extLst>
              <a:ext uri="{FF2B5EF4-FFF2-40B4-BE49-F238E27FC236}">
                <a16:creationId xmlns:a16="http://schemas.microsoft.com/office/drawing/2014/main" id="{99FCBC01-016B-1F60-3493-25EA956EAE29}"/>
              </a:ext>
            </a:extLst>
          </p:cNvPr>
          <p:cNvSpPr>
            <a:spLocks noGrp="1"/>
          </p:cNvSpPr>
          <p:nvPr>
            <p:ph type="body" sz="quarter" idx="22"/>
          </p:nvPr>
        </p:nvSpPr>
        <p:spPr>
          <a:xfrm>
            <a:off x="5758371" y="1135165"/>
            <a:ext cx="2226505" cy="184444"/>
          </a:xfrm>
        </p:spPr>
        <p:txBody>
          <a:bodyPr anchor="ctr"/>
          <a:lstStyle>
            <a:lvl1pPr algn="ctr">
              <a:spcBef>
                <a:spcPts val="0"/>
              </a:spcBef>
              <a:spcAft>
                <a:spcPts val="0"/>
              </a:spcAft>
              <a:defRPr kumimoji="0" lang="en-US" sz="1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0" name="Text Placeholder 16">
            <a:extLst>
              <a:ext uri="{FF2B5EF4-FFF2-40B4-BE49-F238E27FC236}">
                <a16:creationId xmlns:a16="http://schemas.microsoft.com/office/drawing/2014/main" id="{6CDAEBB2-250F-8FC8-FA49-381C06517A7A}"/>
              </a:ext>
            </a:extLst>
          </p:cNvPr>
          <p:cNvSpPr>
            <a:spLocks noGrp="1"/>
          </p:cNvSpPr>
          <p:nvPr>
            <p:ph type="body" sz="quarter" idx="23"/>
          </p:nvPr>
        </p:nvSpPr>
        <p:spPr>
          <a:xfrm>
            <a:off x="5758371" y="2145090"/>
            <a:ext cx="2226505" cy="184444"/>
          </a:xfrm>
        </p:spPr>
        <p:txBody>
          <a:bodyPr anchor="ctr"/>
          <a:lstStyle>
            <a:lvl1pPr algn="ctr">
              <a:spcBef>
                <a:spcPts val="0"/>
              </a:spcBef>
              <a:spcAft>
                <a:spcPts val="0"/>
              </a:spcAft>
              <a:defRPr kumimoji="0" lang="en-US" sz="1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1" name="Text Placeholder 16">
            <a:extLst>
              <a:ext uri="{FF2B5EF4-FFF2-40B4-BE49-F238E27FC236}">
                <a16:creationId xmlns:a16="http://schemas.microsoft.com/office/drawing/2014/main" id="{A24949EC-028A-4099-9A42-4BB58F56A76C}"/>
              </a:ext>
            </a:extLst>
          </p:cNvPr>
          <p:cNvSpPr>
            <a:spLocks noGrp="1"/>
          </p:cNvSpPr>
          <p:nvPr>
            <p:ph type="body" sz="quarter" idx="24"/>
          </p:nvPr>
        </p:nvSpPr>
        <p:spPr>
          <a:xfrm>
            <a:off x="2931886" y="2777932"/>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232" name="Text Placeholder 16">
            <a:extLst>
              <a:ext uri="{FF2B5EF4-FFF2-40B4-BE49-F238E27FC236}">
                <a16:creationId xmlns:a16="http://schemas.microsoft.com/office/drawing/2014/main" id="{10AFADEF-26F1-9BBD-69AB-01F55538715F}"/>
              </a:ext>
            </a:extLst>
          </p:cNvPr>
          <p:cNvSpPr>
            <a:spLocks noGrp="1"/>
          </p:cNvSpPr>
          <p:nvPr>
            <p:ph type="body" sz="quarter" idx="43"/>
          </p:nvPr>
        </p:nvSpPr>
        <p:spPr>
          <a:xfrm>
            <a:off x="5129917" y="2777932"/>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3" name="Text Placeholder 16">
            <a:extLst>
              <a:ext uri="{FF2B5EF4-FFF2-40B4-BE49-F238E27FC236}">
                <a16:creationId xmlns:a16="http://schemas.microsoft.com/office/drawing/2014/main" id="{56824D10-E085-0755-B7AA-2578736AFBFA}"/>
              </a:ext>
            </a:extLst>
          </p:cNvPr>
          <p:cNvSpPr>
            <a:spLocks noGrp="1"/>
          </p:cNvSpPr>
          <p:nvPr>
            <p:ph type="body" sz="quarter" idx="26"/>
          </p:nvPr>
        </p:nvSpPr>
        <p:spPr>
          <a:xfrm>
            <a:off x="7327948" y="2777932"/>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5" name="Text Placeholder 16">
            <a:extLst>
              <a:ext uri="{FF2B5EF4-FFF2-40B4-BE49-F238E27FC236}">
                <a16:creationId xmlns:a16="http://schemas.microsoft.com/office/drawing/2014/main" id="{3601C5B6-5E90-664F-54B9-1F497FCF8026}"/>
              </a:ext>
            </a:extLst>
          </p:cNvPr>
          <p:cNvSpPr>
            <a:spLocks noGrp="1"/>
          </p:cNvSpPr>
          <p:nvPr>
            <p:ph type="body" sz="quarter" idx="27"/>
          </p:nvPr>
        </p:nvSpPr>
        <p:spPr>
          <a:xfrm>
            <a:off x="9055593" y="2777932"/>
            <a:ext cx="2210220"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253" name="Text Placeholder 16">
            <a:extLst>
              <a:ext uri="{FF2B5EF4-FFF2-40B4-BE49-F238E27FC236}">
                <a16:creationId xmlns:a16="http://schemas.microsoft.com/office/drawing/2014/main" id="{8B2D3541-295C-17AA-A7F9-BAB4A8FD7877}"/>
              </a:ext>
            </a:extLst>
          </p:cNvPr>
          <p:cNvSpPr>
            <a:spLocks noGrp="1"/>
          </p:cNvSpPr>
          <p:nvPr>
            <p:ph type="body" sz="quarter" idx="45"/>
          </p:nvPr>
        </p:nvSpPr>
        <p:spPr>
          <a:xfrm>
            <a:off x="260350" y="5137150"/>
            <a:ext cx="1625600" cy="277903"/>
          </a:xfrm>
        </p:spPr>
        <p:txBody>
          <a:bodyPr anchor="t"/>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03" name="Left Brace 102" descr="Comprising of Scenario-Based Services, Customizable AI Models and ML Platform.">
            <a:extLst>
              <a:ext uri="{FF2B5EF4-FFF2-40B4-BE49-F238E27FC236}">
                <a16:creationId xmlns:a16="http://schemas.microsoft.com/office/drawing/2014/main" id="{63589013-E4D0-5858-9D36-5F62721AF2C2}"/>
              </a:ext>
              <a:ext uri="{C183D7F6-B498-43B3-948B-1728B52AA6E4}">
                <adec:decorative xmlns:adec="http://schemas.microsoft.com/office/drawing/2017/decorative" val="0"/>
              </a:ext>
            </a:extLst>
          </p:cNvPr>
          <p:cNvSpPr/>
          <p:nvPr/>
        </p:nvSpPr>
        <p:spPr>
          <a:xfrm>
            <a:off x="1808978" y="3134448"/>
            <a:ext cx="441708" cy="3520149"/>
          </a:xfrm>
          <a:prstGeom prst="leftBrace">
            <a:avLst>
              <a:gd name="adj1" fmla="val 97758"/>
              <a:gd name="adj2" fmla="val 50000"/>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0963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38" name="Text Placeholder 16">
            <a:extLst>
              <a:ext uri="{FF2B5EF4-FFF2-40B4-BE49-F238E27FC236}">
                <a16:creationId xmlns:a16="http://schemas.microsoft.com/office/drawing/2014/main" id="{990DB01C-5DA5-7B7D-22C3-2C227792AC06}"/>
              </a:ext>
            </a:extLst>
          </p:cNvPr>
          <p:cNvSpPr>
            <a:spLocks noGrp="1"/>
          </p:cNvSpPr>
          <p:nvPr>
            <p:ph type="body" sz="quarter" idx="40"/>
          </p:nvPr>
        </p:nvSpPr>
        <p:spPr>
          <a:xfrm>
            <a:off x="2429138" y="3202769"/>
            <a:ext cx="8869680" cy="360853"/>
          </a:xfrm>
          <a:solidFill>
            <a:schemeClr val="accent2"/>
          </a:solidFill>
        </p:spPr>
        <p:txBody>
          <a:bodyPr anchor="ctr">
            <a:noAutofit/>
          </a:bodyPr>
          <a:lstStyle>
            <a:lvl1pPr algn="ctr">
              <a:spcBef>
                <a:spcPts val="0"/>
              </a:spcBef>
              <a:spcAft>
                <a:spcPts val="0"/>
              </a:spcAft>
              <a:defRPr kumimoji="0" lang="en-US" sz="1200" b="0" i="0" u="none" strike="noStrike" kern="1200" cap="none" spc="0" normalizeH="0" baseline="0" dirty="0">
                <a:ln>
                  <a:noFill/>
                </a:ln>
                <a:solidFill>
                  <a:schemeClr val="tx1"/>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9" name="Text Placeholder 16">
            <a:extLst>
              <a:ext uri="{FF2B5EF4-FFF2-40B4-BE49-F238E27FC236}">
                <a16:creationId xmlns:a16="http://schemas.microsoft.com/office/drawing/2014/main" id="{37B83A8A-C4C8-7CB9-0305-6ADEF13573BF}"/>
              </a:ext>
            </a:extLst>
          </p:cNvPr>
          <p:cNvSpPr>
            <a:spLocks noGrp="1"/>
          </p:cNvSpPr>
          <p:nvPr>
            <p:ph type="body" sz="quarter" idx="41"/>
          </p:nvPr>
        </p:nvSpPr>
        <p:spPr>
          <a:xfrm>
            <a:off x="5758371" y="3599128"/>
            <a:ext cx="2226505" cy="184444"/>
          </a:xfrm>
        </p:spPr>
        <p:txBody>
          <a:bodyPr anchor="ctr"/>
          <a:lstStyle>
            <a:lvl1pPr algn="ctr">
              <a:spcBef>
                <a:spcPts val="0"/>
              </a:spcBef>
              <a:spcAft>
                <a:spcPts val="0"/>
              </a:spcAft>
              <a:defRPr kumimoji="0" lang="en-US" sz="1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6" name="Text Placeholder 16">
            <a:extLst>
              <a:ext uri="{FF2B5EF4-FFF2-40B4-BE49-F238E27FC236}">
                <a16:creationId xmlns:a16="http://schemas.microsoft.com/office/drawing/2014/main" id="{5CA89292-6A8B-736F-A160-F6C52D25AD77}"/>
              </a:ext>
            </a:extLst>
          </p:cNvPr>
          <p:cNvSpPr>
            <a:spLocks noGrp="1"/>
          </p:cNvSpPr>
          <p:nvPr>
            <p:ph type="body" sz="quarter" idx="28"/>
          </p:nvPr>
        </p:nvSpPr>
        <p:spPr>
          <a:xfrm>
            <a:off x="2725715"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7" name="Text Placeholder 16">
            <a:extLst>
              <a:ext uri="{FF2B5EF4-FFF2-40B4-BE49-F238E27FC236}">
                <a16:creationId xmlns:a16="http://schemas.microsoft.com/office/drawing/2014/main" id="{888315FB-BC21-EAC4-D6A6-DFBC2695CB6F}"/>
              </a:ext>
            </a:extLst>
          </p:cNvPr>
          <p:cNvSpPr>
            <a:spLocks noGrp="1"/>
          </p:cNvSpPr>
          <p:nvPr>
            <p:ph type="body" sz="quarter" idx="29"/>
          </p:nvPr>
        </p:nvSpPr>
        <p:spPr>
          <a:xfrm>
            <a:off x="4130126"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8" name="Text Placeholder 16">
            <a:extLst>
              <a:ext uri="{FF2B5EF4-FFF2-40B4-BE49-F238E27FC236}">
                <a16:creationId xmlns:a16="http://schemas.microsoft.com/office/drawing/2014/main" id="{3520ABD7-E02A-ABAA-3AF4-7E1651126762}"/>
              </a:ext>
            </a:extLst>
          </p:cNvPr>
          <p:cNvSpPr>
            <a:spLocks noGrp="1"/>
          </p:cNvSpPr>
          <p:nvPr>
            <p:ph type="body" sz="quarter" idx="30"/>
          </p:nvPr>
        </p:nvSpPr>
        <p:spPr>
          <a:xfrm>
            <a:off x="5534537"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9" name="Text Placeholder 16">
            <a:extLst>
              <a:ext uri="{FF2B5EF4-FFF2-40B4-BE49-F238E27FC236}">
                <a16:creationId xmlns:a16="http://schemas.microsoft.com/office/drawing/2014/main" id="{09F40FB5-46B6-D410-9972-21269B73312A}"/>
              </a:ext>
            </a:extLst>
          </p:cNvPr>
          <p:cNvSpPr>
            <a:spLocks noGrp="1"/>
          </p:cNvSpPr>
          <p:nvPr>
            <p:ph type="body" sz="quarter" idx="31"/>
          </p:nvPr>
        </p:nvSpPr>
        <p:spPr>
          <a:xfrm>
            <a:off x="6938948"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0" name="Text Placeholder 16">
            <a:extLst>
              <a:ext uri="{FF2B5EF4-FFF2-40B4-BE49-F238E27FC236}">
                <a16:creationId xmlns:a16="http://schemas.microsoft.com/office/drawing/2014/main" id="{71B14F64-5F5E-7BF9-5158-7DCCA6DEC4C3}"/>
              </a:ext>
            </a:extLst>
          </p:cNvPr>
          <p:cNvSpPr>
            <a:spLocks noGrp="1"/>
          </p:cNvSpPr>
          <p:nvPr>
            <p:ph type="body" sz="quarter" idx="32"/>
          </p:nvPr>
        </p:nvSpPr>
        <p:spPr>
          <a:xfrm>
            <a:off x="8343359"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1" name="Text Placeholder 16">
            <a:extLst>
              <a:ext uri="{FF2B5EF4-FFF2-40B4-BE49-F238E27FC236}">
                <a16:creationId xmlns:a16="http://schemas.microsoft.com/office/drawing/2014/main" id="{3994B75F-E52F-1E1C-EB33-52A24F2C4413}"/>
              </a:ext>
            </a:extLst>
          </p:cNvPr>
          <p:cNvSpPr>
            <a:spLocks noGrp="1"/>
          </p:cNvSpPr>
          <p:nvPr>
            <p:ph type="body" sz="quarter" idx="33"/>
          </p:nvPr>
        </p:nvSpPr>
        <p:spPr>
          <a:xfrm>
            <a:off x="9747774" y="4471689"/>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2" name="Text Placeholder 16">
            <a:extLst>
              <a:ext uri="{FF2B5EF4-FFF2-40B4-BE49-F238E27FC236}">
                <a16:creationId xmlns:a16="http://schemas.microsoft.com/office/drawing/2014/main" id="{FD0C7087-A5A1-8AA5-C6BA-0BBF23360BD0}"/>
              </a:ext>
            </a:extLst>
          </p:cNvPr>
          <p:cNvSpPr>
            <a:spLocks noGrp="1"/>
          </p:cNvSpPr>
          <p:nvPr>
            <p:ph type="body" sz="quarter" idx="34"/>
          </p:nvPr>
        </p:nvSpPr>
        <p:spPr>
          <a:xfrm>
            <a:off x="2818509"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3" name="Text Placeholder 16">
            <a:extLst>
              <a:ext uri="{FF2B5EF4-FFF2-40B4-BE49-F238E27FC236}">
                <a16:creationId xmlns:a16="http://schemas.microsoft.com/office/drawing/2014/main" id="{4BEF74E7-7BDC-448C-A996-D8FB5BF74183}"/>
              </a:ext>
            </a:extLst>
          </p:cNvPr>
          <p:cNvSpPr>
            <a:spLocks noGrp="1"/>
          </p:cNvSpPr>
          <p:nvPr>
            <p:ph type="body" sz="quarter" idx="35"/>
          </p:nvPr>
        </p:nvSpPr>
        <p:spPr>
          <a:xfrm>
            <a:off x="4540254"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4" name="Text Placeholder 16">
            <a:extLst>
              <a:ext uri="{FF2B5EF4-FFF2-40B4-BE49-F238E27FC236}">
                <a16:creationId xmlns:a16="http://schemas.microsoft.com/office/drawing/2014/main" id="{78012E27-F811-01CA-1257-B0F216876065}"/>
              </a:ext>
            </a:extLst>
          </p:cNvPr>
          <p:cNvSpPr>
            <a:spLocks noGrp="1"/>
          </p:cNvSpPr>
          <p:nvPr>
            <p:ph type="body" sz="quarter" idx="36"/>
          </p:nvPr>
        </p:nvSpPr>
        <p:spPr>
          <a:xfrm>
            <a:off x="6261999"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5" name="Text Placeholder 16">
            <a:extLst>
              <a:ext uri="{FF2B5EF4-FFF2-40B4-BE49-F238E27FC236}">
                <a16:creationId xmlns:a16="http://schemas.microsoft.com/office/drawing/2014/main" id="{74D3E8A3-A86C-83C2-7811-162D88C1F088}"/>
              </a:ext>
            </a:extLst>
          </p:cNvPr>
          <p:cNvSpPr>
            <a:spLocks noGrp="1"/>
          </p:cNvSpPr>
          <p:nvPr>
            <p:ph type="body" sz="quarter" idx="37"/>
          </p:nvPr>
        </p:nvSpPr>
        <p:spPr>
          <a:xfrm>
            <a:off x="7983744"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6" name="Text Placeholder 16">
            <a:extLst>
              <a:ext uri="{FF2B5EF4-FFF2-40B4-BE49-F238E27FC236}">
                <a16:creationId xmlns:a16="http://schemas.microsoft.com/office/drawing/2014/main" id="{FDC0DED6-6BD8-65F6-F5F7-5FB669D12A14}"/>
              </a:ext>
            </a:extLst>
          </p:cNvPr>
          <p:cNvSpPr>
            <a:spLocks noGrp="1"/>
          </p:cNvSpPr>
          <p:nvPr>
            <p:ph type="body" sz="quarter" idx="38"/>
          </p:nvPr>
        </p:nvSpPr>
        <p:spPr>
          <a:xfrm>
            <a:off x="9705486" y="5245777"/>
            <a:ext cx="1220731" cy="16158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231" name="Text Placeholder 16">
            <a:extLst>
              <a:ext uri="{FF2B5EF4-FFF2-40B4-BE49-F238E27FC236}">
                <a16:creationId xmlns:a16="http://schemas.microsoft.com/office/drawing/2014/main" id="{F6DDCB44-BB3A-EB55-C61E-1E87AAB52300}"/>
              </a:ext>
            </a:extLst>
          </p:cNvPr>
          <p:cNvSpPr>
            <a:spLocks noGrp="1"/>
          </p:cNvSpPr>
          <p:nvPr>
            <p:ph type="body" sz="quarter" idx="42"/>
          </p:nvPr>
        </p:nvSpPr>
        <p:spPr>
          <a:xfrm>
            <a:off x="5758371" y="5620542"/>
            <a:ext cx="2226505" cy="184444"/>
          </a:xfrm>
        </p:spPr>
        <p:txBody>
          <a:bodyPr anchor="ctr"/>
          <a:lstStyle>
            <a:lvl1pPr algn="ctr">
              <a:spcBef>
                <a:spcPts val="0"/>
              </a:spcBef>
              <a:spcAft>
                <a:spcPts val="0"/>
              </a:spcAft>
              <a:defRPr kumimoji="0" lang="en-US" sz="1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7" name="Text Placeholder 16">
            <a:extLst>
              <a:ext uri="{FF2B5EF4-FFF2-40B4-BE49-F238E27FC236}">
                <a16:creationId xmlns:a16="http://schemas.microsoft.com/office/drawing/2014/main" id="{C9EA89E8-706B-1C61-7302-571250FEF877}"/>
              </a:ext>
            </a:extLst>
          </p:cNvPr>
          <p:cNvSpPr>
            <a:spLocks noGrp="1"/>
          </p:cNvSpPr>
          <p:nvPr>
            <p:ph type="body" sz="quarter" idx="39"/>
          </p:nvPr>
        </p:nvSpPr>
        <p:spPr>
          <a:xfrm>
            <a:off x="5695236" y="6364809"/>
            <a:ext cx="2352775" cy="200053"/>
          </a:xfrm>
        </p:spPr>
        <p:txBody>
          <a:bodyPr anchor="ctr"/>
          <a:lstStyle>
            <a:lvl1pPr algn="ctr">
              <a:spcBef>
                <a:spcPts val="0"/>
              </a:spcBef>
              <a:spcAft>
                <a:spcPts val="0"/>
              </a:spcAft>
              <a:defRPr kumimoji="0" lang="en-US" sz="105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cxnSp>
        <p:nvCxnSpPr>
          <p:cNvPr id="234" name="Straight Connector 233">
            <a:extLst>
              <a:ext uri="{FF2B5EF4-FFF2-40B4-BE49-F238E27FC236}">
                <a16:creationId xmlns:a16="http://schemas.microsoft.com/office/drawing/2014/main" id="{328E59E3-CC2D-1799-A946-56CAFEA26FC5}"/>
              </a:ext>
              <a:ext uri="{C183D7F6-B498-43B3-948B-1728B52AA6E4}">
                <adec:decorative xmlns:adec="http://schemas.microsoft.com/office/drawing/2017/decorative" val="1"/>
              </a:ext>
            </a:extLst>
          </p:cNvPr>
          <p:cNvCxnSpPr>
            <a:cxnSpLocks/>
          </p:cNvCxnSpPr>
          <p:nvPr userDrawn="1"/>
        </p:nvCxnSpPr>
        <p:spPr>
          <a:xfrm>
            <a:off x="5442697"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666F70DE-CFCB-7C44-592B-43D1ADCCD4A9}"/>
              </a:ext>
              <a:ext uri="{C183D7F6-B498-43B3-948B-1728B52AA6E4}">
                <adec:decorative xmlns:adec="http://schemas.microsoft.com/office/drawing/2017/decorative" val="1"/>
              </a:ext>
            </a:extLst>
          </p:cNvPr>
          <p:cNvCxnSpPr>
            <a:cxnSpLocks/>
          </p:cNvCxnSpPr>
          <p:nvPr userDrawn="1"/>
        </p:nvCxnSpPr>
        <p:spPr>
          <a:xfrm>
            <a:off x="8251519"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B8758C8A-1B4C-FDBF-4116-2E7790A95E86}"/>
              </a:ext>
              <a:ext uri="{C183D7F6-B498-43B3-948B-1728B52AA6E4}">
                <adec:decorative xmlns:adec="http://schemas.microsoft.com/office/drawing/2017/decorative" val="1"/>
              </a:ext>
            </a:extLst>
          </p:cNvPr>
          <p:cNvCxnSpPr>
            <a:cxnSpLocks/>
          </p:cNvCxnSpPr>
          <p:nvPr userDrawn="1"/>
        </p:nvCxnSpPr>
        <p:spPr>
          <a:xfrm>
            <a:off x="9655930"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778E4206-C644-115E-6366-FC7FCC1239D3}"/>
              </a:ext>
              <a:ext uri="{C183D7F6-B498-43B3-948B-1728B52AA6E4}">
                <adec:decorative xmlns:adec="http://schemas.microsoft.com/office/drawing/2017/decorative" val="1"/>
              </a:ext>
            </a:extLst>
          </p:cNvPr>
          <p:cNvCxnSpPr>
            <a:cxnSpLocks/>
          </p:cNvCxnSpPr>
          <p:nvPr userDrawn="1"/>
        </p:nvCxnSpPr>
        <p:spPr>
          <a:xfrm>
            <a:off x="6847108"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E90203A1-9921-BB6C-27B2-08D6A9A95425}"/>
              </a:ext>
              <a:ext uri="{C183D7F6-B498-43B3-948B-1728B52AA6E4}">
                <adec:decorative xmlns:adec="http://schemas.microsoft.com/office/drawing/2017/decorative" val="1"/>
              </a:ext>
            </a:extLst>
          </p:cNvPr>
          <p:cNvCxnSpPr>
            <a:cxnSpLocks/>
          </p:cNvCxnSpPr>
          <p:nvPr userDrawn="1"/>
        </p:nvCxnSpPr>
        <p:spPr>
          <a:xfrm>
            <a:off x="4038286" y="4350081"/>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C87F09B-DC4B-07B8-E18D-62F67FCAA601}"/>
              </a:ext>
              <a:ext uri="{C183D7F6-B498-43B3-948B-1728B52AA6E4}">
                <adec:decorative xmlns:adec="http://schemas.microsoft.com/office/drawing/2017/decorative" val="1"/>
              </a:ext>
            </a:extLst>
          </p:cNvPr>
          <p:cNvCxnSpPr>
            <a:cxnSpLocks/>
          </p:cNvCxnSpPr>
          <p:nvPr userDrawn="1"/>
        </p:nvCxnSpPr>
        <p:spPr>
          <a:xfrm>
            <a:off x="6839298" y="2665195"/>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21A0051A-2410-14FD-752A-8A1DFDAE1680}"/>
              </a:ext>
            </a:extLst>
          </p:cNvPr>
          <p:cNvCxnSpPr>
            <a:cxnSpLocks/>
          </p:cNvCxnSpPr>
          <p:nvPr userDrawn="1"/>
        </p:nvCxnSpPr>
        <p:spPr>
          <a:xfrm>
            <a:off x="9037329" y="2665195"/>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A75326AE-C4FC-72AC-8F25-CC39DA045A05}"/>
              </a:ext>
            </a:extLst>
          </p:cNvPr>
          <p:cNvCxnSpPr>
            <a:cxnSpLocks/>
          </p:cNvCxnSpPr>
          <p:nvPr userDrawn="1"/>
        </p:nvCxnSpPr>
        <p:spPr>
          <a:xfrm>
            <a:off x="4641267" y="2665195"/>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9CA4D497-527A-683A-27EB-FF60A2F2E83A}"/>
              </a:ext>
            </a:extLst>
          </p:cNvPr>
          <p:cNvCxnSpPr>
            <a:cxnSpLocks/>
          </p:cNvCxnSpPr>
          <p:nvPr userDrawn="1"/>
        </p:nvCxnSpPr>
        <p:spPr>
          <a:xfrm>
            <a:off x="6011492" y="5124169"/>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DB61BEAC-2A25-F20F-4CE0-19518DC028DE}"/>
              </a:ext>
            </a:extLst>
          </p:cNvPr>
          <p:cNvCxnSpPr>
            <a:cxnSpLocks/>
          </p:cNvCxnSpPr>
          <p:nvPr userDrawn="1"/>
        </p:nvCxnSpPr>
        <p:spPr>
          <a:xfrm>
            <a:off x="9454982" y="5124169"/>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D324277-4705-89E4-E306-ACDB00F4DEF1}"/>
              </a:ext>
            </a:extLst>
          </p:cNvPr>
          <p:cNvCxnSpPr>
            <a:cxnSpLocks/>
          </p:cNvCxnSpPr>
          <p:nvPr userDrawn="1"/>
        </p:nvCxnSpPr>
        <p:spPr>
          <a:xfrm>
            <a:off x="7733237" y="5124169"/>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39A0A58C-DDAE-7368-89D5-3455339BB422}"/>
              </a:ext>
            </a:extLst>
          </p:cNvPr>
          <p:cNvCxnSpPr>
            <a:cxnSpLocks/>
          </p:cNvCxnSpPr>
          <p:nvPr userDrawn="1"/>
        </p:nvCxnSpPr>
        <p:spPr>
          <a:xfrm>
            <a:off x="4289747" y="5124169"/>
            <a:ext cx="0" cy="27432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46" name="Data scientists ICON">
            <a:extLst>
              <a:ext uri="{FF2B5EF4-FFF2-40B4-BE49-F238E27FC236}">
                <a16:creationId xmlns:a16="http://schemas.microsoft.com/office/drawing/2014/main" id="{0F46D5EB-A34F-80CB-6155-588EE1F36E5E}"/>
              </a:ext>
            </a:extLst>
          </p:cNvPr>
          <p:cNvGrpSpPr/>
          <p:nvPr userDrawn="1"/>
        </p:nvGrpSpPr>
        <p:grpSpPr>
          <a:xfrm>
            <a:off x="721609" y="4552480"/>
            <a:ext cx="703082" cy="444713"/>
            <a:chOff x="-1196279" y="-41574"/>
            <a:chExt cx="703082" cy="444713"/>
          </a:xfrm>
        </p:grpSpPr>
        <p:pic>
          <p:nvPicPr>
            <p:cNvPr id="247" name="Graphic 246">
              <a:extLst>
                <a:ext uri="{FF2B5EF4-FFF2-40B4-BE49-F238E27FC236}">
                  <a16:creationId xmlns:a16="http://schemas.microsoft.com/office/drawing/2014/main" id="{4E04511A-4326-B023-1B86-6238FDA2EE9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7910" y="-41574"/>
              <a:ext cx="444713" cy="444713"/>
            </a:xfrm>
            <a:prstGeom prst="rect">
              <a:avLst/>
            </a:prstGeom>
          </p:spPr>
        </p:pic>
        <p:pic>
          <p:nvPicPr>
            <p:cNvPr id="248" name="Graphic 247">
              <a:extLst>
                <a:ext uri="{FF2B5EF4-FFF2-40B4-BE49-F238E27FC236}">
                  <a16:creationId xmlns:a16="http://schemas.microsoft.com/office/drawing/2014/main" id="{88DFF773-AA81-FEB9-D1AC-30B8BC3EA97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96279" y="-14404"/>
              <a:ext cx="394711" cy="394711"/>
            </a:xfrm>
            <a:prstGeom prst="rect">
              <a:avLst/>
            </a:prstGeom>
          </p:spPr>
        </p:pic>
      </p:grpSp>
      <p:grpSp>
        <p:nvGrpSpPr>
          <p:cNvPr id="249" name="Group 248">
            <a:extLst>
              <a:ext uri="{FF2B5EF4-FFF2-40B4-BE49-F238E27FC236}">
                <a16:creationId xmlns:a16="http://schemas.microsoft.com/office/drawing/2014/main" id="{C2B73F89-DE1E-7C2B-D050-70D086317DDE}"/>
              </a:ext>
            </a:extLst>
          </p:cNvPr>
          <p:cNvGrpSpPr/>
          <p:nvPr userDrawn="1"/>
        </p:nvGrpSpPr>
        <p:grpSpPr>
          <a:xfrm>
            <a:off x="736586" y="1754956"/>
            <a:ext cx="673129" cy="437091"/>
            <a:chOff x="4053860" y="-1864422"/>
            <a:chExt cx="673129" cy="437091"/>
          </a:xfrm>
        </p:grpSpPr>
        <p:pic>
          <p:nvPicPr>
            <p:cNvPr id="250" name="Graphic 249">
              <a:extLst>
                <a:ext uri="{FF2B5EF4-FFF2-40B4-BE49-F238E27FC236}">
                  <a16:creationId xmlns:a16="http://schemas.microsoft.com/office/drawing/2014/main" id="{EBE7AE27-FDFD-F05B-AA4D-1606B86DFC2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89898" y="-1864422"/>
              <a:ext cx="437091" cy="437091"/>
            </a:xfrm>
            <a:prstGeom prst="rect">
              <a:avLst/>
            </a:prstGeom>
          </p:spPr>
        </p:pic>
        <p:pic>
          <p:nvPicPr>
            <p:cNvPr id="251" name="Graphic 250">
              <a:extLst>
                <a:ext uri="{FF2B5EF4-FFF2-40B4-BE49-F238E27FC236}">
                  <a16:creationId xmlns:a16="http://schemas.microsoft.com/office/drawing/2014/main" id="{72E656F4-AE38-1099-00FA-7D25F232485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53860" y="-1838330"/>
              <a:ext cx="394711" cy="394711"/>
            </a:xfrm>
            <a:prstGeom prst="rect">
              <a:avLst/>
            </a:prstGeom>
          </p:spPr>
        </p:pic>
      </p:grpSp>
    </p:spTree>
    <p:extLst>
      <p:ext uri="{BB962C8B-B14F-4D97-AF65-F5344CB8AC3E}">
        <p14:creationId xmlns:p14="http://schemas.microsoft.com/office/powerpoint/2010/main" val="15164559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10BBD400-9D84-7E0A-67AC-12C476679D04}"/>
              </a:ext>
              <a:ext uri="{C183D7F6-B498-43B3-948B-1728B52AA6E4}">
                <adec:decorative xmlns:adec="http://schemas.microsoft.com/office/drawing/2017/decorative" val="1"/>
              </a:ext>
            </a:extLst>
          </p:cNvPr>
          <p:cNvSpPr/>
          <p:nvPr/>
        </p:nvSpPr>
        <p:spPr bwMode="auto">
          <a:xfrm>
            <a:off x="584200" y="1415380"/>
            <a:ext cx="10957829" cy="4853657"/>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err="1">
              <a:solidFill>
                <a:schemeClr val="accent1">
                  <a:lumMod val="60000"/>
                  <a:lumOff val="40000"/>
                </a:schemeClr>
              </a:solidFill>
              <a:cs typeface="Segoe UI" pitchFamily="34" charset="0"/>
            </a:endParaRPr>
          </a:p>
        </p:txBody>
      </p:sp>
      <p:sp>
        <p:nvSpPr>
          <p:cNvPr id="139" name="Text Placeholder 16">
            <a:extLst>
              <a:ext uri="{FF2B5EF4-FFF2-40B4-BE49-F238E27FC236}">
                <a16:creationId xmlns:a16="http://schemas.microsoft.com/office/drawing/2014/main" id="{37B83A8A-C4C8-7CB9-0305-6ADEF13573BF}"/>
              </a:ext>
            </a:extLst>
          </p:cNvPr>
          <p:cNvSpPr>
            <a:spLocks noGrp="1"/>
          </p:cNvSpPr>
          <p:nvPr>
            <p:ph type="body" sz="quarter" idx="41"/>
          </p:nvPr>
        </p:nvSpPr>
        <p:spPr>
          <a:xfrm>
            <a:off x="4045636" y="1592580"/>
            <a:ext cx="4100729" cy="369332"/>
          </a:xfrm>
        </p:spPr>
        <p:txBody>
          <a:bodyPr anchor="ctr"/>
          <a:lstStyle>
            <a:lvl1pPr algn="ctr">
              <a:spcBef>
                <a:spcPts val="0"/>
              </a:spcBef>
              <a:spcAft>
                <a:spcPts val="0"/>
              </a:spcAft>
              <a:defRPr kumimoji="0" lang="en-US" sz="24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6" name="Text Placeholder 16">
            <a:extLst>
              <a:ext uri="{FF2B5EF4-FFF2-40B4-BE49-F238E27FC236}">
                <a16:creationId xmlns:a16="http://schemas.microsoft.com/office/drawing/2014/main" id="{5CA89292-6A8B-736F-A160-F6C52D25AD77}"/>
              </a:ext>
            </a:extLst>
          </p:cNvPr>
          <p:cNvSpPr>
            <a:spLocks noGrp="1"/>
          </p:cNvSpPr>
          <p:nvPr>
            <p:ph type="body" sz="quarter" idx="28"/>
          </p:nvPr>
        </p:nvSpPr>
        <p:spPr>
          <a:xfrm>
            <a:off x="924532"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27" name="Text Placeholder 16">
            <a:extLst>
              <a:ext uri="{FF2B5EF4-FFF2-40B4-BE49-F238E27FC236}">
                <a16:creationId xmlns:a16="http://schemas.microsoft.com/office/drawing/2014/main" id="{888315FB-BC21-EAC4-D6A6-DFBC2695CB6F}"/>
              </a:ext>
            </a:extLst>
          </p:cNvPr>
          <p:cNvSpPr>
            <a:spLocks noGrp="1"/>
          </p:cNvSpPr>
          <p:nvPr>
            <p:ph type="body" sz="quarter" idx="29"/>
          </p:nvPr>
        </p:nvSpPr>
        <p:spPr>
          <a:xfrm>
            <a:off x="2700254"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28" name="Text Placeholder 16">
            <a:extLst>
              <a:ext uri="{FF2B5EF4-FFF2-40B4-BE49-F238E27FC236}">
                <a16:creationId xmlns:a16="http://schemas.microsoft.com/office/drawing/2014/main" id="{3520ABD7-E02A-ABAA-3AF4-7E1651126762}"/>
              </a:ext>
            </a:extLst>
          </p:cNvPr>
          <p:cNvSpPr>
            <a:spLocks noGrp="1"/>
          </p:cNvSpPr>
          <p:nvPr>
            <p:ph type="body" sz="quarter" idx="30"/>
          </p:nvPr>
        </p:nvSpPr>
        <p:spPr>
          <a:xfrm>
            <a:off x="4475976"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29" name="Text Placeholder 16">
            <a:extLst>
              <a:ext uri="{FF2B5EF4-FFF2-40B4-BE49-F238E27FC236}">
                <a16:creationId xmlns:a16="http://schemas.microsoft.com/office/drawing/2014/main" id="{09F40FB5-46B6-D410-9972-21269B73312A}"/>
              </a:ext>
            </a:extLst>
          </p:cNvPr>
          <p:cNvSpPr>
            <a:spLocks noGrp="1"/>
          </p:cNvSpPr>
          <p:nvPr>
            <p:ph type="body" sz="quarter" idx="31"/>
          </p:nvPr>
        </p:nvSpPr>
        <p:spPr>
          <a:xfrm>
            <a:off x="6251698"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0" name="Text Placeholder 16">
            <a:extLst>
              <a:ext uri="{FF2B5EF4-FFF2-40B4-BE49-F238E27FC236}">
                <a16:creationId xmlns:a16="http://schemas.microsoft.com/office/drawing/2014/main" id="{71B14F64-5F5E-7BF9-5158-7DCCA6DEC4C3}"/>
              </a:ext>
            </a:extLst>
          </p:cNvPr>
          <p:cNvSpPr>
            <a:spLocks noGrp="1"/>
          </p:cNvSpPr>
          <p:nvPr>
            <p:ph type="body" sz="quarter" idx="32"/>
          </p:nvPr>
        </p:nvSpPr>
        <p:spPr>
          <a:xfrm>
            <a:off x="8027420"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1" name="Text Placeholder 16">
            <a:extLst>
              <a:ext uri="{FF2B5EF4-FFF2-40B4-BE49-F238E27FC236}">
                <a16:creationId xmlns:a16="http://schemas.microsoft.com/office/drawing/2014/main" id="{3994B75F-E52F-1E1C-EB33-52A24F2C4413}"/>
              </a:ext>
            </a:extLst>
          </p:cNvPr>
          <p:cNvSpPr>
            <a:spLocks noGrp="1"/>
          </p:cNvSpPr>
          <p:nvPr>
            <p:ph type="body" sz="quarter" idx="33"/>
          </p:nvPr>
        </p:nvSpPr>
        <p:spPr>
          <a:xfrm>
            <a:off x="9803139" y="296019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2" name="Text Placeholder 16">
            <a:extLst>
              <a:ext uri="{FF2B5EF4-FFF2-40B4-BE49-F238E27FC236}">
                <a16:creationId xmlns:a16="http://schemas.microsoft.com/office/drawing/2014/main" id="{FD0C7087-A5A1-8AA5-C6BA-0BBF23360BD0}"/>
              </a:ext>
            </a:extLst>
          </p:cNvPr>
          <p:cNvSpPr>
            <a:spLocks noGrp="1"/>
          </p:cNvSpPr>
          <p:nvPr>
            <p:ph type="body" sz="quarter" idx="34"/>
          </p:nvPr>
        </p:nvSpPr>
        <p:spPr>
          <a:xfrm>
            <a:off x="1599374"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3" name="Text Placeholder 16">
            <a:extLst>
              <a:ext uri="{FF2B5EF4-FFF2-40B4-BE49-F238E27FC236}">
                <a16:creationId xmlns:a16="http://schemas.microsoft.com/office/drawing/2014/main" id="{4BEF74E7-7BDC-448C-A996-D8FB5BF74183}"/>
              </a:ext>
            </a:extLst>
          </p:cNvPr>
          <p:cNvSpPr>
            <a:spLocks noGrp="1"/>
          </p:cNvSpPr>
          <p:nvPr>
            <p:ph type="body" sz="quarter" idx="35"/>
          </p:nvPr>
        </p:nvSpPr>
        <p:spPr>
          <a:xfrm>
            <a:off x="3499258"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4" name="Text Placeholder 16">
            <a:extLst>
              <a:ext uri="{FF2B5EF4-FFF2-40B4-BE49-F238E27FC236}">
                <a16:creationId xmlns:a16="http://schemas.microsoft.com/office/drawing/2014/main" id="{78012E27-F811-01CA-1257-B0F216876065}"/>
              </a:ext>
            </a:extLst>
          </p:cNvPr>
          <p:cNvSpPr>
            <a:spLocks noGrp="1"/>
          </p:cNvSpPr>
          <p:nvPr>
            <p:ph type="body" sz="quarter" idx="36"/>
          </p:nvPr>
        </p:nvSpPr>
        <p:spPr>
          <a:xfrm>
            <a:off x="5399142"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5" name="Text Placeholder 16">
            <a:extLst>
              <a:ext uri="{FF2B5EF4-FFF2-40B4-BE49-F238E27FC236}">
                <a16:creationId xmlns:a16="http://schemas.microsoft.com/office/drawing/2014/main" id="{74D3E8A3-A86C-83C2-7811-162D88C1F088}"/>
              </a:ext>
            </a:extLst>
          </p:cNvPr>
          <p:cNvSpPr>
            <a:spLocks noGrp="1"/>
          </p:cNvSpPr>
          <p:nvPr>
            <p:ph type="body" sz="quarter" idx="37"/>
          </p:nvPr>
        </p:nvSpPr>
        <p:spPr>
          <a:xfrm>
            <a:off x="7299026"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136" name="Text Placeholder 16">
            <a:extLst>
              <a:ext uri="{FF2B5EF4-FFF2-40B4-BE49-F238E27FC236}">
                <a16:creationId xmlns:a16="http://schemas.microsoft.com/office/drawing/2014/main" id="{FDC0DED6-6BD8-65F6-F5F7-5FB669D12A14}"/>
              </a:ext>
            </a:extLst>
          </p:cNvPr>
          <p:cNvSpPr>
            <a:spLocks noGrp="1"/>
          </p:cNvSpPr>
          <p:nvPr>
            <p:ph type="body" sz="quarter" idx="38"/>
          </p:nvPr>
        </p:nvSpPr>
        <p:spPr>
          <a:xfrm>
            <a:off x="9198909" y="4267186"/>
            <a:ext cx="1464329"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a:t>
            </a:r>
          </a:p>
        </p:txBody>
      </p:sp>
      <p:sp>
        <p:nvSpPr>
          <p:cNvPr id="231" name="Text Placeholder 16">
            <a:extLst>
              <a:ext uri="{FF2B5EF4-FFF2-40B4-BE49-F238E27FC236}">
                <a16:creationId xmlns:a16="http://schemas.microsoft.com/office/drawing/2014/main" id="{F6DDCB44-BB3A-EB55-C61E-1E87AAB52300}"/>
              </a:ext>
            </a:extLst>
          </p:cNvPr>
          <p:cNvSpPr>
            <a:spLocks noGrp="1"/>
          </p:cNvSpPr>
          <p:nvPr>
            <p:ph type="body" sz="quarter" idx="42"/>
          </p:nvPr>
        </p:nvSpPr>
        <p:spPr>
          <a:xfrm>
            <a:off x="4760597" y="4883637"/>
            <a:ext cx="2670806" cy="276999"/>
          </a:xfrm>
        </p:spPr>
        <p:txBody>
          <a:bodyPr anchor="ctr"/>
          <a:lstStyle>
            <a:lvl1pPr algn="ctr">
              <a:spcBef>
                <a:spcPts val="0"/>
              </a:spcBef>
              <a:spcAft>
                <a:spcPts val="0"/>
              </a:spcAft>
              <a:defRPr kumimoji="0" lang="en-US" sz="18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37" name="Text Placeholder 16">
            <a:extLst>
              <a:ext uri="{FF2B5EF4-FFF2-40B4-BE49-F238E27FC236}">
                <a16:creationId xmlns:a16="http://schemas.microsoft.com/office/drawing/2014/main" id="{C9EA89E8-706B-1C61-7302-571250FEF877}"/>
              </a:ext>
            </a:extLst>
          </p:cNvPr>
          <p:cNvSpPr>
            <a:spLocks noGrp="1"/>
          </p:cNvSpPr>
          <p:nvPr>
            <p:ph type="body" sz="quarter" idx="39"/>
          </p:nvPr>
        </p:nvSpPr>
        <p:spPr>
          <a:xfrm>
            <a:off x="4684862" y="5846598"/>
            <a:ext cx="2822276" cy="215444"/>
          </a:xfrm>
        </p:spPr>
        <p:txBody>
          <a:bodyPr anchor="ctr"/>
          <a:lstStyle>
            <a:lvl1pPr algn="ctr">
              <a:spcBef>
                <a:spcPts val="0"/>
              </a:spcBef>
              <a:spcAft>
                <a:spcPts val="0"/>
              </a:spcAft>
              <a:defRPr kumimoji="0" lang="en-US" sz="1400" b="0" i="0" u="none" strike="noStrike" kern="1200" cap="none" spc="0" normalizeH="0" baseline="0" dirty="0">
                <a:ln>
                  <a:noFill/>
                </a:ln>
                <a:solidFill>
                  <a:schemeClr val="tx1"/>
                </a:solidFill>
                <a:effectLst/>
                <a:uLnTx/>
                <a:uFillTx/>
                <a:latin typeface="Segoe UI" panose="020B0502040204020203" pitchFamily="34" charset="0"/>
                <a:ea typeface="+mn-ea"/>
                <a:cs typeface="Segoe UI" panose="020B0502040204020203" pitchFamily="34" charset="0"/>
              </a:defRPr>
            </a:lvl1pPr>
            <a:lvl2pPr marL="0" indent="0" algn="ctr">
              <a:spcBef>
                <a:spcPts val="0"/>
              </a:spcBef>
              <a:spcAft>
                <a:spcPts val="0"/>
              </a:spcAft>
              <a:defRPr kumimoji="0" lang="en-US" sz="1600" b="0" i="0" u="none" strike="noStrike" kern="0" cap="none" spc="0" normalizeH="0" baseline="0" dirty="0" smtClean="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2pPr>
            <a:lvl3pPr marL="0" indent="0" algn="l">
              <a:defRPr sz="1400">
                <a:solidFill>
                  <a:schemeClr val="tx1"/>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cxnSp>
        <p:nvCxnSpPr>
          <p:cNvPr id="234" name="Straight Connector 233">
            <a:extLst>
              <a:ext uri="{FF2B5EF4-FFF2-40B4-BE49-F238E27FC236}">
                <a16:creationId xmlns:a16="http://schemas.microsoft.com/office/drawing/2014/main" id="{328E59E3-CC2D-1799-A946-56CAFEA26FC5}"/>
              </a:ext>
              <a:ext uri="{C183D7F6-B498-43B3-948B-1728B52AA6E4}">
                <adec:decorative xmlns:adec="http://schemas.microsoft.com/office/drawing/2017/decorative" val="1"/>
              </a:ext>
            </a:extLst>
          </p:cNvPr>
          <p:cNvCxnSpPr>
            <a:cxnSpLocks/>
          </p:cNvCxnSpPr>
          <p:nvPr userDrawn="1"/>
        </p:nvCxnSpPr>
        <p:spPr>
          <a:xfrm flipH="1">
            <a:off x="4320279"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666F70DE-CFCB-7C44-592B-43D1ADCCD4A9}"/>
              </a:ext>
              <a:ext uri="{C183D7F6-B498-43B3-948B-1728B52AA6E4}">
                <adec:decorative xmlns:adec="http://schemas.microsoft.com/office/drawing/2017/decorative" val="1"/>
              </a:ext>
            </a:extLst>
          </p:cNvPr>
          <p:cNvCxnSpPr>
            <a:cxnSpLocks/>
          </p:cNvCxnSpPr>
          <p:nvPr userDrawn="1"/>
        </p:nvCxnSpPr>
        <p:spPr>
          <a:xfrm flipH="1">
            <a:off x="7871723"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B8758C8A-1B4C-FDBF-4116-2E7790A95E86}"/>
              </a:ext>
              <a:ext uri="{C183D7F6-B498-43B3-948B-1728B52AA6E4}">
                <adec:decorative xmlns:adec="http://schemas.microsoft.com/office/drawing/2017/decorative" val="1"/>
              </a:ext>
            </a:extLst>
          </p:cNvPr>
          <p:cNvCxnSpPr>
            <a:cxnSpLocks/>
          </p:cNvCxnSpPr>
          <p:nvPr userDrawn="1"/>
        </p:nvCxnSpPr>
        <p:spPr>
          <a:xfrm flipH="1">
            <a:off x="9647445"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778E4206-C644-115E-6366-FC7FCC1239D3}"/>
              </a:ext>
              <a:ext uri="{C183D7F6-B498-43B3-948B-1728B52AA6E4}">
                <adec:decorative xmlns:adec="http://schemas.microsoft.com/office/drawing/2017/decorative" val="1"/>
              </a:ext>
            </a:extLst>
          </p:cNvPr>
          <p:cNvCxnSpPr>
            <a:cxnSpLocks/>
          </p:cNvCxnSpPr>
          <p:nvPr userDrawn="1"/>
        </p:nvCxnSpPr>
        <p:spPr>
          <a:xfrm flipH="1">
            <a:off x="6096001"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E90203A1-9921-BB6C-27B2-08D6A9A95425}"/>
              </a:ext>
              <a:ext uri="{C183D7F6-B498-43B3-948B-1728B52AA6E4}">
                <adec:decorative xmlns:adec="http://schemas.microsoft.com/office/drawing/2017/decorative" val="1"/>
              </a:ext>
            </a:extLst>
          </p:cNvPr>
          <p:cNvCxnSpPr>
            <a:cxnSpLocks/>
          </p:cNvCxnSpPr>
          <p:nvPr userDrawn="1"/>
        </p:nvCxnSpPr>
        <p:spPr>
          <a:xfrm flipH="1">
            <a:off x="2544557" y="2704166"/>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9CA4D497-527A-683A-27EB-FF60A2F2E83A}"/>
              </a:ext>
            </a:extLst>
          </p:cNvPr>
          <p:cNvCxnSpPr>
            <a:cxnSpLocks/>
          </p:cNvCxnSpPr>
          <p:nvPr userDrawn="1"/>
        </p:nvCxnSpPr>
        <p:spPr>
          <a:xfrm flipH="1">
            <a:off x="5181364" y="4025430"/>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DB61BEAC-2A25-F20F-4CE0-19518DC028DE}"/>
              </a:ext>
            </a:extLst>
          </p:cNvPr>
          <p:cNvCxnSpPr>
            <a:cxnSpLocks/>
          </p:cNvCxnSpPr>
          <p:nvPr userDrawn="1"/>
        </p:nvCxnSpPr>
        <p:spPr>
          <a:xfrm flipH="1">
            <a:off x="8981132" y="4025430"/>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BD324277-4705-89E4-E306-ACDB00F4DEF1}"/>
              </a:ext>
            </a:extLst>
          </p:cNvPr>
          <p:cNvCxnSpPr>
            <a:cxnSpLocks/>
          </p:cNvCxnSpPr>
          <p:nvPr userDrawn="1"/>
        </p:nvCxnSpPr>
        <p:spPr>
          <a:xfrm flipH="1">
            <a:off x="7081248" y="4025430"/>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39A0A58C-DDAE-7368-89D5-3455339BB422}"/>
              </a:ext>
            </a:extLst>
          </p:cNvPr>
          <p:cNvCxnSpPr>
            <a:cxnSpLocks/>
          </p:cNvCxnSpPr>
          <p:nvPr userDrawn="1"/>
        </p:nvCxnSpPr>
        <p:spPr>
          <a:xfrm flipH="1">
            <a:off x="3281480" y="4025430"/>
            <a:ext cx="1" cy="457200"/>
          </a:xfrm>
          <a:prstGeom prst="line">
            <a:avLst/>
          </a:prstGeom>
          <a:ln w="3175" cap="rnd">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53379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6007DAF-DA3C-53CA-697B-E74D2C5D3680}"/>
              </a:ext>
            </a:extLst>
          </p:cNvPr>
          <p:cNvGrpSpPr/>
          <p:nvPr userDrawn="1"/>
        </p:nvGrpSpPr>
        <p:grpSpPr>
          <a:xfrm>
            <a:off x="23753" y="310699"/>
            <a:ext cx="12166056" cy="6205638"/>
            <a:chOff x="23753" y="310699"/>
            <a:chExt cx="12166056" cy="6205638"/>
          </a:xfrm>
          <a:solidFill>
            <a:schemeClr val="tx1">
              <a:alpha val="10000"/>
            </a:schemeClr>
          </a:solidFill>
        </p:grpSpPr>
        <p:sp>
          <p:nvSpPr>
            <p:cNvPr id="4" name="Freeform 314">
              <a:extLst>
                <a:ext uri="{FF2B5EF4-FFF2-40B4-BE49-F238E27FC236}">
                  <a16:creationId xmlns:a16="http://schemas.microsoft.com/office/drawing/2014/main" id="{9AFBEE70-CBBC-AE2E-41C5-9E60C7C8B65A}"/>
                </a:ext>
              </a:extLst>
            </p:cNvPr>
            <p:cNvSpPr/>
            <p:nvPr userDrawn="1"/>
          </p:nvSpPr>
          <p:spPr>
            <a:xfrm>
              <a:off x="1399556" y="1803934"/>
              <a:ext cx="986032" cy="1913426"/>
            </a:xfrm>
            <a:custGeom>
              <a:avLst/>
              <a:gdLst>
                <a:gd name="connsiteX0" fmla="*/ 983751 w 986032"/>
                <a:gd name="connsiteY0" fmla="*/ 306794 h 1913426"/>
                <a:gd name="connsiteX1" fmla="*/ 731439 w 986032"/>
                <a:gd name="connsiteY1" fmla="*/ 23880 h 1913426"/>
                <a:gd name="connsiteX2" fmla="*/ 726054 w 986032"/>
                <a:gd name="connsiteY2" fmla="*/ 21390 h 1913426"/>
                <a:gd name="connsiteX3" fmla="*/ 52300 w 986032"/>
                <a:gd name="connsiteY3" fmla="*/ 21390 h 1913426"/>
                <a:gd name="connsiteX4" fmla="*/ 26713 w 986032"/>
                <a:gd name="connsiteY4" fmla="*/ 0 h 1913426"/>
                <a:gd name="connsiteX5" fmla="*/ 0 w 986032"/>
                <a:gd name="connsiteY5" fmla="*/ 29953 h 1913426"/>
                <a:gd name="connsiteX6" fmla="*/ 26713 w 986032"/>
                <a:gd name="connsiteY6" fmla="*/ 59905 h 1913426"/>
                <a:gd name="connsiteX7" fmla="*/ 52300 w 986032"/>
                <a:gd name="connsiteY7" fmla="*/ 38515 h 1913426"/>
                <a:gd name="connsiteX8" fmla="*/ 722920 w 986032"/>
                <a:gd name="connsiteY8" fmla="*/ 38515 h 1913426"/>
                <a:gd name="connsiteX9" fmla="*/ 970790 w 986032"/>
                <a:gd name="connsiteY9" fmla="*/ 316448 h 1913426"/>
                <a:gd name="connsiteX10" fmla="*/ 970790 w 986032"/>
                <a:gd name="connsiteY10" fmla="*/ 850719 h 1913426"/>
                <a:gd name="connsiteX11" fmla="*/ 584610 w 986032"/>
                <a:gd name="connsiteY11" fmla="*/ 1283737 h 1913426"/>
                <a:gd name="connsiteX12" fmla="*/ 582389 w 986032"/>
                <a:gd name="connsiteY12" fmla="*/ 1289775 h 1913426"/>
                <a:gd name="connsiteX13" fmla="*/ 582389 w 986032"/>
                <a:gd name="connsiteY13" fmla="*/ 1855090 h 1913426"/>
                <a:gd name="connsiteX14" fmla="*/ 564134 w 986032"/>
                <a:gd name="connsiteY14" fmla="*/ 1883474 h 1913426"/>
                <a:gd name="connsiteX15" fmla="*/ 590847 w 986032"/>
                <a:gd name="connsiteY15" fmla="*/ 1913426 h 1913426"/>
                <a:gd name="connsiteX16" fmla="*/ 617560 w 986032"/>
                <a:gd name="connsiteY16" fmla="*/ 1883474 h 1913426"/>
                <a:gd name="connsiteX17" fmla="*/ 597631 w 986032"/>
                <a:gd name="connsiteY17" fmla="*/ 1854544 h 1913426"/>
                <a:gd name="connsiteX18" fmla="*/ 597631 w 986032"/>
                <a:gd name="connsiteY18" fmla="*/ 1293323 h 1913426"/>
                <a:gd name="connsiteX19" fmla="*/ 983811 w 986032"/>
                <a:gd name="connsiteY19" fmla="*/ 860305 h 1913426"/>
                <a:gd name="connsiteX20" fmla="*/ 986032 w 986032"/>
                <a:gd name="connsiteY20" fmla="*/ 854267 h 1913426"/>
                <a:gd name="connsiteX21" fmla="*/ 986032 w 986032"/>
                <a:gd name="connsiteY21" fmla="*/ 312934 h 1913426"/>
                <a:gd name="connsiteX22" fmla="*/ 983811 w 986032"/>
                <a:gd name="connsiteY22" fmla="*/ 306896 h 1913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86032" h="1913426">
                  <a:moveTo>
                    <a:pt x="983751" y="306794"/>
                  </a:moveTo>
                  <a:lnTo>
                    <a:pt x="731439" y="23880"/>
                  </a:lnTo>
                  <a:cubicBezTo>
                    <a:pt x="730009" y="22277"/>
                    <a:pt x="728062" y="21390"/>
                    <a:pt x="726054" y="21390"/>
                  </a:cubicBezTo>
                  <a:lnTo>
                    <a:pt x="52300" y="21390"/>
                  </a:lnTo>
                  <a:cubicBezTo>
                    <a:pt x="49014" y="9006"/>
                    <a:pt x="38822" y="0"/>
                    <a:pt x="26713" y="0"/>
                  </a:cubicBezTo>
                  <a:cubicBezTo>
                    <a:pt x="11957" y="0"/>
                    <a:pt x="0" y="13407"/>
                    <a:pt x="0" y="29953"/>
                  </a:cubicBezTo>
                  <a:cubicBezTo>
                    <a:pt x="0" y="46498"/>
                    <a:pt x="11957" y="59905"/>
                    <a:pt x="26713" y="59905"/>
                  </a:cubicBezTo>
                  <a:cubicBezTo>
                    <a:pt x="38822" y="59905"/>
                    <a:pt x="49014" y="50865"/>
                    <a:pt x="52300" y="38515"/>
                  </a:cubicBezTo>
                  <a:lnTo>
                    <a:pt x="722920" y="38515"/>
                  </a:lnTo>
                  <a:lnTo>
                    <a:pt x="970790" y="316448"/>
                  </a:lnTo>
                  <a:lnTo>
                    <a:pt x="970790" y="850719"/>
                  </a:lnTo>
                  <a:lnTo>
                    <a:pt x="584610" y="1283737"/>
                  </a:lnTo>
                  <a:cubicBezTo>
                    <a:pt x="583180" y="1285340"/>
                    <a:pt x="582389" y="1287524"/>
                    <a:pt x="582389" y="1289775"/>
                  </a:cubicBezTo>
                  <a:lnTo>
                    <a:pt x="582389" y="1855090"/>
                  </a:lnTo>
                  <a:cubicBezTo>
                    <a:pt x="571801" y="1859048"/>
                    <a:pt x="564134" y="1870271"/>
                    <a:pt x="564134" y="1883474"/>
                  </a:cubicBezTo>
                  <a:cubicBezTo>
                    <a:pt x="564134" y="1900020"/>
                    <a:pt x="576091" y="1913426"/>
                    <a:pt x="590847" y="1913426"/>
                  </a:cubicBezTo>
                  <a:cubicBezTo>
                    <a:pt x="605603" y="1913426"/>
                    <a:pt x="617560" y="1900020"/>
                    <a:pt x="617560" y="1883474"/>
                  </a:cubicBezTo>
                  <a:cubicBezTo>
                    <a:pt x="617560" y="1869555"/>
                    <a:pt x="609101" y="1857922"/>
                    <a:pt x="597631" y="1854544"/>
                  </a:cubicBezTo>
                  <a:lnTo>
                    <a:pt x="597631" y="1293323"/>
                  </a:lnTo>
                  <a:lnTo>
                    <a:pt x="983811" y="860305"/>
                  </a:lnTo>
                  <a:cubicBezTo>
                    <a:pt x="985241" y="858702"/>
                    <a:pt x="986032" y="856518"/>
                    <a:pt x="986032" y="854267"/>
                  </a:cubicBezTo>
                  <a:lnTo>
                    <a:pt x="986032" y="312934"/>
                  </a:lnTo>
                  <a:cubicBezTo>
                    <a:pt x="986032" y="310683"/>
                    <a:pt x="985241" y="308499"/>
                    <a:pt x="983811" y="30689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 name="Freeform 186">
              <a:extLst>
                <a:ext uri="{FF2B5EF4-FFF2-40B4-BE49-F238E27FC236}">
                  <a16:creationId xmlns:a16="http://schemas.microsoft.com/office/drawing/2014/main" id="{1BAE8BC9-9ABD-AA8F-4770-C849BE831DA0}"/>
                </a:ext>
              </a:extLst>
            </p:cNvPr>
            <p:cNvSpPr/>
            <p:nvPr userDrawn="1"/>
          </p:nvSpPr>
          <p:spPr>
            <a:xfrm>
              <a:off x="1318626" y="5802487"/>
              <a:ext cx="118382" cy="132740"/>
            </a:xfrm>
            <a:custGeom>
              <a:avLst/>
              <a:gdLst>
                <a:gd name="connsiteX0" fmla="*/ 0 w 118382"/>
                <a:gd name="connsiteY0" fmla="*/ 0 h 132740"/>
                <a:gd name="connsiteX1" fmla="*/ 118382 w 118382"/>
                <a:gd name="connsiteY1" fmla="*/ 0 h 132740"/>
                <a:gd name="connsiteX2" fmla="*/ 118382 w 118382"/>
                <a:gd name="connsiteY2" fmla="*/ 132741 h 132740"/>
                <a:gd name="connsiteX3" fmla="*/ 0 w 118382"/>
                <a:gd name="connsiteY3" fmla="*/ 132741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1"/>
                  </a:lnTo>
                  <a:lnTo>
                    <a:pt x="0" y="132741"/>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 name="Freeform 187">
              <a:extLst>
                <a:ext uri="{FF2B5EF4-FFF2-40B4-BE49-F238E27FC236}">
                  <a16:creationId xmlns:a16="http://schemas.microsoft.com/office/drawing/2014/main" id="{D0B01B5A-931D-24C9-EA78-42921E729186}"/>
                </a:ext>
              </a:extLst>
            </p:cNvPr>
            <p:cNvSpPr/>
            <p:nvPr userDrawn="1"/>
          </p:nvSpPr>
          <p:spPr>
            <a:xfrm>
              <a:off x="10725440" y="6300699"/>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 name="Freeform 188">
              <a:extLst>
                <a:ext uri="{FF2B5EF4-FFF2-40B4-BE49-F238E27FC236}">
                  <a16:creationId xmlns:a16="http://schemas.microsoft.com/office/drawing/2014/main" id="{C223CD90-7204-0C51-A55D-4C66529AC77B}"/>
                </a:ext>
              </a:extLst>
            </p:cNvPr>
            <p:cNvSpPr/>
            <p:nvPr userDrawn="1"/>
          </p:nvSpPr>
          <p:spPr>
            <a:xfrm>
              <a:off x="11181992" y="5662617"/>
              <a:ext cx="118382" cy="132740"/>
            </a:xfrm>
            <a:custGeom>
              <a:avLst/>
              <a:gdLst>
                <a:gd name="connsiteX0" fmla="*/ 0 w 118382"/>
                <a:gd name="connsiteY0" fmla="*/ 0 h 132740"/>
                <a:gd name="connsiteX1" fmla="*/ 118382 w 118382"/>
                <a:gd name="connsiteY1" fmla="*/ 0 h 132740"/>
                <a:gd name="connsiteX2" fmla="*/ 118382 w 118382"/>
                <a:gd name="connsiteY2" fmla="*/ 132741 h 132740"/>
                <a:gd name="connsiteX3" fmla="*/ 0 w 118382"/>
                <a:gd name="connsiteY3" fmla="*/ 132741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1"/>
                  </a:lnTo>
                  <a:lnTo>
                    <a:pt x="0" y="132741"/>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0" name="Freeform 189">
              <a:extLst>
                <a:ext uri="{FF2B5EF4-FFF2-40B4-BE49-F238E27FC236}">
                  <a16:creationId xmlns:a16="http://schemas.microsoft.com/office/drawing/2014/main" id="{EA774205-BB64-751A-5B9C-8A631D6F27B0}"/>
                </a:ext>
              </a:extLst>
            </p:cNvPr>
            <p:cNvSpPr/>
            <p:nvPr userDrawn="1"/>
          </p:nvSpPr>
          <p:spPr>
            <a:xfrm>
              <a:off x="11852826" y="4589914"/>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 name="Freeform 190">
              <a:extLst>
                <a:ext uri="{FF2B5EF4-FFF2-40B4-BE49-F238E27FC236}">
                  <a16:creationId xmlns:a16="http://schemas.microsoft.com/office/drawing/2014/main" id="{AE7B02D2-841A-2B81-022C-CC20E40CDD84}"/>
                </a:ext>
              </a:extLst>
            </p:cNvPr>
            <p:cNvSpPr/>
            <p:nvPr userDrawn="1"/>
          </p:nvSpPr>
          <p:spPr>
            <a:xfrm>
              <a:off x="11241199" y="3553747"/>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 name="Freeform 191">
              <a:extLst>
                <a:ext uri="{FF2B5EF4-FFF2-40B4-BE49-F238E27FC236}">
                  <a16:creationId xmlns:a16="http://schemas.microsoft.com/office/drawing/2014/main" id="{25042D6D-E6B2-5A13-4EFA-EB859F648FE7}"/>
                </a:ext>
              </a:extLst>
            </p:cNvPr>
            <p:cNvSpPr/>
            <p:nvPr userDrawn="1"/>
          </p:nvSpPr>
          <p:spPr>
            <a:xfrm>
              <a:off x="11432326" y="2951554"/>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 name="Freeform 192">
              <a:extLst>
                <a:ext uri="{FF2B5EF4-FFF2-40B4-BE49-F238E27FC236}">
                  <a16:creationId xmlns:a16="http://schemas.microsoft.com/office/drawing/2014/main" id="{F6A4FDA6-D108-E15D-762E-C4E6A52C0509}"/>
                </a:ext>
              </a:extLst>
            </p:cNvPr>
            <p:cNvSpPr/>
            <p:nvPr userDrawn="1"/>
          </p:nvSpPr>
          <p:spPr>
            <a:xfrm>
              <a:off x="11958825" y="3062018"/>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 name="Freeform 193">
              <a:extLst>
                <a:ext uri="{FF2B5EF4-FFF2-40B4-BE49-F238E27FC236}">
                  <a16:creationId xmlns:a16="http://schemas.microsoft.com/office/drawing/2014/main" id="{6112DDB5-C700-A62C-589A-1174A14F35AF}"/>
                </a:ext>
              </a:extLst>
            </p:cNvPr>
            <p:cNvSpPr/>
            <p:nvPr userDrawn="1"/>
          </p:nvSpPr>
          <p:spPr>
            <a:xfrm>
              <a:off x="11958825" y="1076950"/>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 name="Freeform 194">
              <a:extLst>
                <a:ext uri="{FF2B5EF4-FFF2-40B4-BE49-F238E27FC236}">
                  <a16:creationId xmlns:a16="http://schemas.microsoft.com/office/drawing/2014/main" id="{C86D05BF-D4C2-6C07-DFA4-04EA6890CF7A}"/>
                </a:ext>
              </a:extLst>
            </p:cNvPr>
            <p:cNvSpPr/>
            <p:nvPr userDrawn="1"/>
          </p:nvSpPr>
          <p:spPr>
            <a:xfrm>
              <a:off x="10725440" y="1284640"/>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 name="Freeform 195">
              <a:extLst>
                <a:ext uri="{FF2B5EF4-FFF2-40B4-BE49-F238E27FC236}">
                  <a16:creationId xmlns:a16="http://schemas.microsoft.com/office/drawing/2014/main" id="{4F49620D-67FC-76E2-A86E-D34471710D65}"/>
                </a:ext>
              </a:extLst>
            </p:cNvPr>
            <p:cNvSpPr/>
            <p:nvPr userDrawn="1"/>
          </p:nvSpPr>
          <p:spPr>
            <a:xfrm>
              <a:off x="10929924" y="1904641"/>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 name="Freeform 196">
              <a:extLst>
                <a:ext uri="{FF2B5EF4-FFF2-40B4-BE49-F238E27FC236}">
                  <a16:creationId xmlns:a16="http://schemas.microsoft.com/office/drawing/2014/main" id="{85C6432C-A9AA-144E-E76A-5AD42B675DEF}"/>
                </a:ext>
              </a:extLst>
            </p:cNvPr>
            <p:cNvSpPr/>
            <p:nvPr userDrawn="1"/>
          </p:nvSpPr>
          <p:spPr>
            <a:xfrm>
              <a:off x="11579764" y="1563153"/>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 name="Freeform 197">
              <a:extLst>
                <a:ext uri="{FF2B5EF4-FFF2-40B4-BE49-F238E27FC236}">
                  <a16:creationId xmlns:a16="http://schemas.microsoft.com/office/drawing/2014/main" id="{9D311F14-F6C2-D34E-8926-10A124F7C0E5}"/>
                </a:ext>
              </a:extLst>
            </p:cNvPr>
            <p:cNvSpPr/>
            <p:nvPr userDrawn="1"/>
          </p:nvSpPr>
          <p:spPr>
            <a:xfrm>
              <a:off x="10650413" y="465751"/>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9" name="Freeform 198">
              <a:extLst>
                <a:ext uri="{FF2B5EF4-FFF2-40B4-BE49-F238E27FC236}">
                  <a16:creationId xmlns:a16="http://schemas.microsoft.com/office/drawing/2014/main" id="{72384F1C-D002-02E0-E51A-B91A93E0AD0B}"/>
                </a:ext>
              </a:extLst>
            </p:cNvPr>
            <p:cNvSpPr/>
            <p:nvPr userDrawn="1"/>
          </p:nvSpPr>
          <p:spPr>
            <a:xfrm>
              <a:off x="548609" y="5409656"/>
              <a:ext cx="118382" cy="132740"/>
            </a:xfrm>
            <a:custGeom>
              <a:avLst/>
              <a:gdLst>
                <a:gd name="connsiteX0" fmla="*/ 0 w 118382"/>
                <a:gd name="connsiteY0" fmla="*/ 0 h 132740"/>
                <a:gd name="connsiteX1" fmla="*/ 118382 w 118382"/>
                <a:gd name="connsiteY1" fmla="*/ 0 h 132740"/>
                <a:gd name="connsiteX2" fmla="*/ 118382 w 118382"/>
                <a:gd name="connsiteY2" fmla="*/ 132741 h 132740"/>
                <a:gd name="connsiteX3" fmla="*/ 0 w 118382"/>
                <a:gd name="connsiteY3" fmla="*/ 132741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1"/>
                  </a:lnTo>
                  <a:lnTo>
                    <a:pt x="0" y="132741"/>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0" name="Freeform 199">
              <a:extLst>
                <a:ext uri="{FF2B5EF4-FFF2-40B4-BE49-F238E27FC236}">
                  <a16:creationId xmlns:a16="http://schemas.microsoft.com/office/drawing/2014/main" id="{8F78E864-4631-E0CD-8820-2D1088FEF2FB}"/>
                </a:ext>
              </a:extLst>
            </p:cNvPr>
            <p:cNvSpPr/>
            <p:nvPr userDrawn="1"/>
          </p:nvSpPr>
          <p:spPr>
            <a:xfrm>
              <a:off x="1698447" y="3902434"/>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1" name="Freeform 200">
              <a:extLst>
                <a:ext uri="{FF2B5EF4-FFF2-40B4-BE49-F238E27FC236}">
                  <a16:creationId xmlns:a16="http://schemas.microsoft.com/office/drawing/2014/main" id="{A96C8036-A6CC-1A7B-668B-FBD49A45D86C}"/>
                </a:ext>
              </a:extLst>
            </p:cNvPr>
            <p:cNvSpPr/>
            <p:nvPr userDrawn="1"/>
          </p:nvSpPr>
          <p:spPr>
            <a:xfrm>
              <a:off x="1432445" y="5483754"/>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2" name="Freeform 201">
              <a:extLst>
                <a:ext uri="{FF2B5EF4-FFF2-40B4-BE49-F238E27FC236}">
                  <a16:creationId xmlns:a16="http://schemas.microsoft.com/office/drawing/2014/main" id="{AD0259F9-E39E-4E38-862D-2337E8F1F88F}"/>
                </a:ext>
              </a:extLst>
            </p:cNvPr>
            <p:cNvSpPr/>
            <p:nvPr userDrawn="1"/>
          </p:nvSpPr>
          <p:spPr>
            <a:xfrm>
              <a:off x="1888723" y="5261223"/>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3" name="Freeform 202">
              <a:extLst>
                <a:ext uri="{FF2B5EF4-FFF2-40B4-BE49-F238E27FC236}">
                  <a16:creationId xmlns:a16="http://schemas.microsoft.com/office/drawing/2014/main" id="{89B31BA9-EF37-49E5-3AE9-F396BDD2E0F3}"/>
                </a:ext>
              </a:extLst>
            </p:cNvPr>
            <p:cNvSpPr/>
            <p:nvPr userDrawn="1"/>
          </p:nvSpPr>
          <p:spPr>
            <a:xfrm>
              <a:off x="913187" y="1117546"/>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4" name="Freeform 203">
              <a:extLst>
                <a:ext uri="{FF2B5EF4-FFF2-40B4-BE49-F238E27FC236}">
                  <a16:creationId xmlns:a16="http://schemas.microsoft.com/office/drawing/2014/main" id="{7F6DF435-44AD-D363-0382-A620EC3E1B7A}"/>
                </a:ext>
              </a:extLst>
            </p:cNvPr>
            <p:cNvSpPr/>
            <p:nvPr userDrawn="1"/>
          </p:nvSpPr>
          <p:spPr>
            <a:xfrm>
              <a:off x="286348" y="891775"/>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5" name="Freeform 204">
              <a:extLst>
                <a:ext uri="{FF2B5EF4-FFF2-40B4-BE49-F238E27FC236}">
                  <a16:creationId xmlns:a16="http://schemas.microsoft.com/office/drawing/2014/main" id="{7A7C3BBD-CC24-BFF7-CCEE-CA337C915B7D}"/>
                </a:ext>
              </a:extLst>
            </p:cNvPr>
            <p:cNvSpPr/>
            <p:nvPr userDrawn="1"/>
          </p:nvSpPr>
          <p:spPr>
            <a:xfrm>
              <a:off x="446869" y="6072642"/>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6" name="Freeform 205">
              <a:extLst>
                <a:ext uri="{FF2B5EF4-FFF2-40B4-BE49-F238E27FC236}">
                  <a16:creationId xmlns:a16="http://schemas.microsoft.com/office/drawing/2014/main" id="{6765F122-A940-2736-8263-3C6DB7D9F9CA}"/>
                </a:ext>
              </a:extLst>
            </p:cNvPr>
            <p:cNvSpPr/>
            <p:nvPr userDrawn="1"/>
          </p:nvSpPr>
          <p:spPr>
            <a:xfrm>
              <a:off x="674293" y="3781088"/>
              <a:ext cx="118382" cy="132740"/>
            </a:xfrm>
            <a:custGeom>
              <a:avLst/>
              <a:gdLst>
                <a:gd name="connsiteX0" fmla="*/ 0 w 118382"/>
                <a:gd name="connsiteY0" fmla="*/ 0 h 132740"/>
                <a:gd name="connsiteX1" fmla="*/ 118382 w 118382"/>
                <a:gd name="connsiteY1" fmla="*/ 0 h 132740"/>
                <a:gd name="connsiteX2" fmla="*/ 118382 w 118382"/>
                <a:gd name="connsiteY2" fmla="*/ 132741 h 132740"/>
                <a:gd name="connsiteX3" fmla="*/ 0 w 118382"/>
                <a:gd name="connsiteY3" fmla="*/ 132741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1"/>
                  </a:lnTo>
                  <a:lnTo>
                    <a:pt x="0" y="132741"/>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7" name="Freeform 206">
              <a:extLst>
                <a:ext uri="{FF2B5EF4-FFF2-40B4-BE49-F238E27FC236}">
                  <a16:creationId xmlns:a16="http://schemas.microsoft.com/office/drawing/2014/main" id="{9265AAEE-B67A-3BD1-15ED-09D9F6BA4856}"/>
                </a:ext>
              </a:extLst>
            </p:cNvPr>
            <p:cNvSpPr/>
            <p:nvPr userDrawn="1"/>
          </p:nvSpPr>
          <p:spPr>
            <a:xfrm>
              <a:off x="77179" y="3487394"/>
              <a:ext cx="118382" cy="132740"/>
            </a:xfrm>
            <a:custGeom>
              <a:avLst/>
              <a:gdLst>
                <a:gd name="connsiteX0" fmla="*/ 0 w 118382"/>
                <a:gd name="connsiteY0" fmla="*/ 0 h 132740"/>
                <a:gd name="connsiteX1" fmla="*/ 118382 w 118382"/>
                <a:gd name="connsiteY1" fmla="*/ 0 h 132740"/>
                <a:gd name="connsiteX2" fmla="*/ 118382 w 118382"/>
                <a:gd name="connsiteY2" fmla="*/ 132741 h 132740"/>
                <a:gd name="connsiteX3" fmla="*/ 0 w 118382"/>
                <a:gd name="connsiteY3" fmla="*/ 132741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1"/>
                  </a:lnTo>
                  <a:lnTo>
                    <a:pt x="0" y="132741"/>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8" name="Freeform 207">
              <a:extLst>
                <a:ext uri="{FF2B5EF4-FFF2-40B4-BE49-F238E27FC236}">
                  <a16:creationId xmlns:a16="http://schemas.microsoft.com/office/drawing/2014/main" id="{56775CE3-5547-3286-88D3-6B4D88FC688A}"/>
                </a:ext>
              </a:extLst>
            </p:cNvPr>
            <p:cNvSpPr/>
            <p:nvPr userDrawn="1"/>
          </p:nvSpPr>
          <p:spPr>
            <a:xfrm>
              <a:off x="1006560" y="3167125"/>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208">
              <a:extLst>
                <a:ext uri="{FF2B5EF4-FFF2-40B4-BE49-F238E27FC236}">
                  <a16:creationId xmlns:a16="http://schemas.microsoft.com/office/drawing/2014/main" id="{84C3B49B-F968-5794-8E87-CC101DDC1E3D}"/>
                </a:ext>
              </a:extLst>
            </p:cNvPr>
            <p:cNvSpPr/>
            <p:nvPr userDrawn="1"/>
          </p:nvSpPr>
          <p:spPr>
            <a:xfrm>
              <a:off x="272748" y="4931334"/>
              <a:ext cx="118382" cy="132740"/>
            </a:xfrm>
            <a:custGeom>
              <a:avLst/>
              <a:gdLst>
                <a:gd name="connsiteX0" fmla="*/ 0 w 118382"/>
                <a:gd name="connsiteY0" fmla="*/ 0 h 132740"/>
                <a:gd name="connsiteX1" fmla="*/ 118382 w 118382"/>
                <a:gd name="connsiteY1" fmla="*/ 0 h 132740"/>
                <a:gd name="connsiteX2" fmla="*/ 118382 w 118382"/>
                <a:gd name="connsiteY2" fmla="*/ 132741 h 132740"/>
                <a:gd name="connsiteX3" fmla="*/ 0 w 118382"/>
                <a:gd name="connsiteY3" fmla="*/ 132741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1"/>
                  </a:lnTo>
                  <a:lnTo>
                    <a:pt x="0" y="132741"/>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0" name="Freeform 209">
              <a:extLst>
                <a:ext uri="{FF2B5EF4-FFF2-40B4-BE49-F238E27FC236}">
                  <a16:creationId xmlns:a16="http://schemas.microsoft.com/office/drawing/2014/main" id="{CF761A77-0445-559E-8E83-1DF6FC5F942D}"/>
                </a:ext>
              </a:extLst>
            </p:cNvPr>
            <p:cNvSpPr/>
            <p:nvPr userDrawn="1"/>
          </p:nvSpPr>
          <p:spPr>
            <a:xfrm>
              <a:off x="1639271" y="1274781"/>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1" name="Freeform 210">
              <a:extLst>
                <a:ext uri="{FF2B5EF4-FFF2-40B4-BE49-F238E27FC236}">
                  <a16:creationId xmlns:a16="http://schemas.microsoft.com/office/drawing/2014/main" id="{81EFEE0F-C346-66B5-03B2-616F92B8B389}"/>
                </a:ext>
              </a:extLst>
            </p:cNvPr>
            <p:cNvSpPr/>
            <p:nvPr userDrawn="1"/>
          </p:nvSpPr>
          <p:spPr>
            <a:xfrm>
              <a:off x="847622" y="3553747"/>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2" name="Freeform 212">
              <a:extLst>
                <a:ext uri="{FF2B5EF4-FFF2-40B4-BE49-F238E27FC236}">
                  <a16:creationId xmlns:a16="http://schemas.microsoft.com/office/drawing/2014/main" id="{13C860FA-A40D-23CB-E7BB-521860116182}"/>
                </a:ext>
              </a:extLst>
            </p:cNvPr>
            <p:cNvSpPr/>
            <p:nvPr userDrawn="1"/>
          </p:nvSpPr>
          <p:spPr>
            <a:xfrm>
              <a:off x="331924" y="2241047"/>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3" name="Freeform 213">
              <a:extLst>
                <a:ext uri="{FF2B5EF4-FFF2-40B4-BE49-F238E27FC236}">
                  <a16:creationId xmlns:a16="http://schemas.microsoft.com/office/drawing/2014/main" id="{8641BA4B-4A2B-0E79-6384-4A19F9FFF8BB}"/>
                </a:ext>
              </a:extLst>
            </p:cNvPr>
            <p:cNvSpPr/>
            <p:nvPr userDrawn="1"/>
          </p:nvSpPr>
          <p:spPr>
            <a:xfrm>
              <a:off x="450307" y="1996581"/>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4" name="Freeform 214">
              <a:extLst>
                <a:ext uri="{FF2B5EF4-FFF2-40B4-BE49-F238E27FC236}">
                  <a16:creationId xmlns:a16="http://schemas.microsoft.com/office/drawing/2014/main" id="{52289BC2-4DB0-941D-193E-1ECAB70E04B4}"/>
                </a:ext>
              </a:extLst>
            </p:cNvPr>
            <p:cNvSpPr/>
            <p:nvPr userDrawn="1"/>
          </p:nvSpPr>
          <p:spPr>
            <a:xfrm>
              <a:off x="434486" y="643045"/>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5" name="Freeform 215">
              <a:extLst>
                <a:ext uri="{FF2B5EF4-FFF2-40B4-BE49-F238E27FC236}">
                  <a16:creationId xmlns:a16="http://schemas.microsoft.com/office/drawing/2014/main" id="{827DBAB8-B828-386E-FB42-A62F500F2B3F}"/>
                </a:ext>
              </a:extLst>
            </p:cNvPr>
            <p:cNvSpPr/>
            <p:nvPr userDrawn="1"/>
          </p:nvSpPr>
          <p:spPr>
            <a:xfrm>
              <a:off x="363262" y="2826933"/>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6" name="Freeform 216">
              <a:extLst>
                <a:ext uri="{FF2B5EF4-FFF2-40B4-BE49-F238E27FC236}">
                  <a16:creationId xmlns:a16="http://schemas.microsoft.com/office/drawing/2014/main" id="{3E47579B-58FA-0E8D-E012-DA0A4781CA9E}"/>
                </a:ext>
              </a:extLst>
            </p:cNvPr>
            <p:cNvSpPr/>
            <p:nvPr userDrawn="1"/>
          </p:nvSpPr>
          <p:spPr>
            <a:xfrm>
              <a:off x="944525" y="2986658"/>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7" name="Freeform 217">
              <a:extLst>
                <a:ext uri="{FF2B5EF4-FFF2-40B4-BE49-F238E27FC236}">
                  <a16:creationId xmlns:a16="http://schemas.microsoft.com/office/drawing/2014/main" id="{F4A64093-2516-FD6C-86C3-F8AFAD90E46A}"/>
                </a:ext>
              </a:extLst>
            </p:cNvPr>
            <p:cNvSpPr/>
            <p:nvPr userDrawn="1"/>
          </p:nvSpPr>
          <p:spPr>
            <a:xfrm>
              <a:off x="136355" y="2733697"/>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8" name="Freeform 218">
              <a:extLst>
                <a:ext uri="{FF2B5EF4-FFF2-40B4-BE49-F238E27FC236}">
                  <a16:creationId xmlns:a16="http://schemas.microsoft.com/office/drawing/2014/main" id="{2B6D619E-FF97-3E89-0A26-C6D58BB33C9B}"/>
                </a:ext>
              </a:extLst>
            </p:cNvPr>
            <p:cNvSpPr/>
            <p:nvPr userDrawn="1"/>
          </p:nvSpPr>
          <p:spPr>
            <a:xfrm>
              <a:off x="1447839" y="1922517"/>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39" name="Freeform 219">
              <a:extLst>
                <a:ext uri="{FF2B5EF4-FFF2-40B4-BE49-F238E27FC236}">
                  <a16:creationId xmlns:a16="http://schemas.microsoft.com/office/drawing/2014/main" id="{B15A71D8-B864-8F40-EACA-23BA18E6A4B3}"/>
                </a:ext>
              </a:extLst>
            </p:cNvPr>
            <p:cNvSpPr/>
            <p:nvPr userDrawn="1"/>
          </p:nvSpPr>
          <p:spPr>
            <a:xfrm>
              <a:off x="450307" y="3749839"/>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0" name="Freeform 220">
              <a:extLst>
                <a:ext uri="{FF2B5EF4-FFF2-40B4-BE49-F238E27FC236}">
                  <a16:creationId xmlns:a16="http://schemas.microsoft.com/office/drawing/2014/main" id="{59D59E59-4A95-0C6B-548C-1B25EC8F6BBC}"/>
                </a:ext>
              </a:extLst>
            </p:cNvPr>
            <p:cNvSpPr/>
            <p:nvPr userDrawn="1"/>
          </p:nvSpPr>
          <p:spPr>
            <a:xfrm>
              <a:off x="1920060" y="3749839"/>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1" name="Freeform 221">
              <a:extLst>
                <a:ext uri="{FF2B5EF4-FFF2-40B4-BE49-F238E27FC236}">
                  <a16:creationId xmlns:a16="http://schemas.microsoft.com/office/drawing/2014/main" id="{DDE91C0A-E55A-6C0F-1173-FC87A22363B9}"/>
                </a:ext>
              </a:extLst>
            </p:cNvPr>
            <p:cNvSpPr/>
            <p:nvPr userDrawn="1"/>
          </p:nvSpPr>
          <p:spPr>
            <a:xfrm>
              <a:off x="136355" y="5333342"/>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2" name="Freeform 222">
              <a:extLst>
                <a:ext uri="{FF2B5EF4-FFF2-40B4-BE49-F238E27FC236}">
                  <a16:creationId xmlns:a16="http://schemas.microsoft.com/office/drawing/2014/main" id="{BC636063-1C17-EAB3-ECF4-97E7E02A59ED}"/>
                </a:ext>
              </a:extLst>
            </p:cNvPr>
            <p:cNvSpPr/>
            <p:nvPr userDrawn="1"/>
          </p:nvSpPr>
          <p:spPr>
            <a:xfrm>
              <a:off x="515415" y="5003657"/>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3" name="Freeform 223">
              <a:extLst>
                <a:ext uri="{FF2B5EF4-FFF2-40B4-BE49-F238E27FC236}">
                  <a16:creationId xmlns:a16="http://schemas.microsoft.com/office/drawing/2014/main" id="{915EB216-7083-FE2E-9563-DAC7C286D3A6}"/>
                </a:ext>
              </a:extLst>
            </p:cNvPr>
            <p:cNvSpPr/>
            <p:nvPr userDrawn="1"/>
          </p:nvSpPr>
          <p:spPr>
            <a:xfrm>
              <a:off x="1290757" y="5426680"/>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4" name="Freeform 224">
              <a:extLst>
                <a:ext uri="{FF2B5EF4-FFF2-40B4-BE49-F238E27FC236}">
                  <a16:creationId xmlns:a16="http://schemas.microsoft.com/office/drawing/2014/main" id="{A442DD92-FDF1-F93D-BF8B-2F4FB47332AC}"/>
                </a:ext>
              </a:extLst>
            </p:cNvPr>
            <p:cNvSpPr/>
            <p:nvPr userDrawn="1"/>
          </p:nvSpPr>
          <p:spPr>
            <a:xfrm>
              <a:off x="1364750" y="4891113"/>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5" name="Freeform 225">
              <a:extLst>
                <a:ext uri="{FF2B5EF4-FFF2-40B4-BE49-F238E27FC236}">
                  <a16:creationId xmlns:a16="http://schemas.microsoft.com/office/drawing/2014/main" id="{4CFB4151-95A0-FB16-702B-E8BFA7568BAD}"/>
                </a:ext>
              </a:extLst>
            </p:cNvPr>
            <p:cNvSpPr/>
            <p:nvPr userDrawn="1"/>
          </p:nvSpPr>
          <p:spPr>
            <a:xfrm>
              <a:off x="105048" y="3100772"/>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6" name="Freeform 226">
              <a:extLst>
                <a:ext uri="{FF2B5EF4-FFF2-40B4-BE49-F238E27FC236}">
                  <a16:creationId xmlns:a16="http://schemas.microsoft.com/office/drawing/2014/main" id="{59CCEDBB-8444-C34E-69C6-D72DFE206A0E}"/>
                </a:ext>
              </a:extLst>
            </p:cNvPr>
            <p:cNvSpPr/>
            <p:nvPr userDrawn="1"/>
          </p:nvSpPr>
          <p:spPr>
            <a:xfrm>
              <a:off x="11622967" y="5393793"/>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7" name="Freeform 227">
              <a:extLst>
                <a:ext uri="{FF2B5EF4-FFF2-40B4-BE49-F238E27FC236}">
                  <a16:creationId xmlns:a16="http://schemas.microsoft.com/office/drawing/2014/main" id="{B785B9A1-7AE2-5526-B271-FF19E9C49E80}"/>
                </a:ext>
              </a:extLst>
            </p:cNvPr>
            <p:cNvSpPr/>
            <p:nvPr userDrawn="1"/>
          </p:nvSpPr>
          <p:spPr>
            <a:xfrm>
              <a:off x="10898948" y="4973556"/>
              <a:ext cx="118382" cy="132740"/>
            </a:xfrm>
            <a:custGeom>
              <a:avLst/>
              <a:gdLst>
                <a:gd name="connsiteX0" fmla="*/ 0 w 118382"/>
                <a:gd name="connsiteY0" fmla="*/ 0 h 132740"/>
                <a:gd name="connsiteX1" fmla="*/ 118382 w 118382"/>
                <a:gd name="connsiteY1" fmla="*/ 0 h 132740"/>
                <a:gd name="connsiteX2" fmla="*/ 118382 w 118382"/>
                <a:gd name="connsiteY2" fmla="*/ 132741 h 132740"/>
                <a:gd name="connsiteX3" fmla="*/ 0 w 118382"/>
                <a:gd name="connsiteY3" fmla="*/ 132741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1"/>
                  </a:lnTo>
                  <a:lnTo>
                    <a:pt x="0" y="132741"/>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8" name="Freeform 228">
              <a:extLst>
                <a:ext uri="{FF2B5EF4-FFF2-40B4-BE49-F238E27FC236}">
                  <a16:creationId xmlns:a16="http://schemas.microsoft.com/office/drawing/2014/main" id="{BBD8AF1B-71A9-345A-88EF-B9924F3E814A}"/>
                </a:ext>
              </a:extLst>
            </p:cNvPr>
            <p:cNvSpPr/>
            <p:nvPr userDrawn="1"/>
          </p:nvSpPr>
          <p:spPr>
            <a:xfrm>
              <a:off x="12002819" y="3493739"/>
              <a:ext cx="118382" cy="132740"/>
            </a:xfrm>
            <a:custGeom>
              <a:avLst/>
              <a:gdLst>
                <a:gd name="connsiteX0" fmla="*/ 0 w 118382"/>
                <a:gd name="connsiteY0" fmla="*/ 0 h 132740"/>
                <a:gd name="connsiteX1" fmla="*/ 118382 w 118382"/>
                <a:gd name="connsiteY1" fmla="*/ 0 h 132740"/>
                <a:gd name="connsiteX2" fmla="*/ 118382 w 118382"/>
                <a:gd name="connsiteY2" fmla="*/ 132741 h 132740"/>
                <a:gd name="connsiteX3" fmla="*/ 0 w 118382"/>
                <a:gd name="connsiteY3" fmla="*/ 132741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1"/>
                  </a:lnTo>
                  <a:lnTo>
                    <a:pt x="0" y="132741"/>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49" name="Freeform 229">
              <a:extLst>
                <a:ext uri="{FF2B5EF4-FFF2-40B4-BE49-F238E27FC236}">
                  <a16:creationId xmlns:a16="http://schemas.microsoft.com/office/drawing/2014/main" id="{CD8345DC-433E-CD6A-FC6C-67A6A3FECA6A}"/>
                </a:ext>
              </a:extLst>
            </p:cNvPr>
            <p:cNvSpPr/>
            <p:nvPr userDrawn="1"/>
          </p:nvSpPr>
          <p:spPr>
            <a:xfrm>
              <a:off x="10440696" y="5167988"/>
              <a:ext cx="118382" cy="132740"/>
            </a:xfrm>
            <a:custGeom>
              <a:avLst/>
              <a:gdLst>
                <a:gd name="connsiteX0" fmla="*/ 0 w 118382"/>
                <a:gd name="connsiteY0" fmla="*/ 0 h 132740"/>
                <a:gd name="connsiteX1" fmla="*/ 118382 w 118382"/>
                <a:gd name="connsiteY1" fmla="*/ 0 h 132740"/>
                <a:gd name="connsiteX2" fmla="*/ 118382 w 118382"/>
                <a:gd name="connsiteY2" fmla="*/ 132741 h 132740"/>
                <a:gd name="connsiteX3" fmla="*/ 0 w 118382"/>
                <a:gd name="connsiteY3" fmla="*/ 132741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1"/>
                  </a:lnTo>
                  <a:lnTo>
                    <a:pt x="0" y="132741"/>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0" name="Freeform 230">
              <a:extLst>
                <a:ext uri="{FF2B5EF4-FFF2-40B4-BE49-F238E27FC236}">
                  <a16:creationId xmlns:a16="http://schemas.microsoft.com/office/drawing/2014/main" id="{FE550249-6B3E-62AD-E8D8-B5D6D918879E}"/>
                </a:ext>
              </a:extLst>
            </p:cNvPr>
            <p:cNvSpPr/>
            <p:nvPr userDrawn="1"/>
          </p:nvSpPr>
          <p:spPr>
            <a:xfrm>
              <a:off x="11874001" y="4181424"/>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1" name="Freeform 231">
              <a:extLst>
                <a:ext uri="{FF2B5EF4-FFF2-40B4-BE49-F238E27FC236}">
                  <a16:creationId xmlns:a16="http://schemas.microsoft.com/office/drawing/2014/main" id="{B8D0CD40-2A97-AD25-7192-C6EB36FF976C}"/>
                </a:ext>
              </a:extLst>
            </p:cNvPr>
            <p:cNvSpPr/>
            <p:nvPr userDrawn="1"/>
          </p:nvSpPr>
          <p:spPr>
            <a:xfrm>
              <a:off x="10577090" y="734575"/>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2" name="Freeform 232">
              <a:extLst>
                <a:ext uri="{FF2B5EF4-FFF2-40B4-BE49-F238E27FC236}">
                  <a16:creationId xmlns:a16="http://schemas.microsoft.com/office/drawing/2014/main" id="{D11F2A65-29D7-BAC4-00D4-562F2DDACD77}"/>
                </a:ext>
              </a:extLst>
            </p:cNvPr>
            <p:cNvSpPr/>
            <p:nvPr userDrawn="1"/>
          </p:nvSpPr>
          <p:spPr>
            <a:xfrm>
              <a:off x="10978634" y="3372359"/>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3" name="Freeform 233">
              <a:extLst>
                <a:ext uri="{FF2B5EF4-FFF2-40B4-BE49-F238E27FC236}">
                  <a16:creationId xmlns:a16="http://schemas.microsoft.com/office/drawing/2014/main" id="{68445B72-23EF-7A45-1114-B89B7CD3B8BE}"/>
                </a:ext>
              </a:extLst>
            </p:cNvPr>
            <p:cNvSpPr/>
            <p:nvPr userDrawn="1"/>
          </p:nvSpPr>
          <p:spPr>
            <a:xfrm>
              <a:off x="11637784" y="2851359"/>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4" name="Freeform 234">
              <a:extLst>
                <a:ext uri="{FF2B5EF4-FFF2-40B4-BE49-F238E27FC236}">
                  <a16:creationId xmlns:a16="http://schemas.microsoft.com/office/drawing/2014/main" id="{A02BF7AA-3039-A521-0381-69F2AD2DB0D7}"/>
                </a:ext>
              </a:extLst>
            </p:cNvPr>
            <p:cNvSpPr/>
            <p:nvPr userDrawn="1"/>
          </p:nvSpPr>
          <p:spPr>
            <a:xfrm>
              <a:off x="11814825" y="1765965"/>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5" name="Freeform 235">
              <a:extLst>
                <a:ext uri="{FF2B5EF4-FFF2-40B4-BE49-F238E27FC236}">
                  <a16:creationId xmlns:a16="http://schemas.microsoft.com/office/drawing/2014/main" id="{D0F32030-9192-B956-681E-C3BC734BCC72}"/>
                </a:ext>
              </a:extLst>
            </p:cNvPr>
            <p:cNvSpPr/>
            <p:nvPr userDrawn="1"/>
          </p:nvSpPr>
          <p:spPr>
            <a:xfrm>
              <a:off x="10636266" y="1832318"/>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6" name="Freeform 236">
              <a:extLst>
                <a:ext uri="{FF2B5EF4-FFF2-40B4-BE49-F238E27FC236}">
                  <a16:creationId xmlns:a16="http://schemas.microsoft.com/office/drawing/2014/main" id="{3AF900FB-6B54-CF82-66E5-6162BEBD0AAD}"/>
                </a:ext>
              </a:extLst>
            </p:cNvPr>
            <p:cNvSpPr/>
            <p:nvPr userDrawn="1"/>
          </p:nvSpPr>
          <p:spPr>
            <a:xfrm>
              <a:off x="10241049" y="1442592"/>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7" name="Freeform 237">
              <a:extLst>
                <a:ext uri="{FF2B5EF4-FFF2-40B4-BE49-F238E27FC236}">
                  <a16:creationId xmlns:a16="http://schemas.microsoft.com/office/drawing/2014/main" id="{C3A6B3EA-F563-2FFC-CEC1-94C6D339D77D}"/>
                </a:ext>
              </a:extLst>
            </p:cNvPr>
            <p:cNvSpPr/>
            <p:nvPr userDrawn="1"/>
          </p:nvSpPr>
          <p:spPr>
            <a:xfrm>
              <a:off x="9965858" y="2386955"/>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8" name="Freeform 238">
              <a:extLst>
                <a:ext uri="{FF2B5EF4-FFF2-40B4-BE49-F238E27FC236}">
                  <a16:creationId xmlns:a16="http://schemas.microsoft.com/office/drawing/2014/main" id="{470F3A87-C7A4-96F7-F544-C08A0181888E}"/>
                </a:ext>
              </a:extLst>
            </p:cNvPr>
            <p:cNvSpPr/>
            <p:nvPr userDrawn="1"/>
          </p:nvSpPr>
          <p:spPr>
            <a:xfrm>
              <a:off x="11272506" y="2609213"/>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59" name="Freeform 239">
              <a:extLst>
                <a:ext uri="{FF2B5EF4-FFF2-40B4-BE49-F238E27FC236}">
                  <a16:creationId xmlns:a16="http://schemas.microsoft.com/office/drawing/2014/main" id="{E245B16E-01F8-DD72-8FED-B4B3278DA951}"/>
                </a:ext>
              </a:extLst>
            </p:cNvPr>
            <p:cNvSpPr/>
            <p:nvPr userDrawn="1"/>
          </p:nvSpPr>
          <p:spPr>
            <a:xfrm>
              <a:off x="10562790" y="2032537"/>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0" name="Freeform 240">
              <a:extLst>
                <a:ext uri="{FF2B5EF4-FFF2-40B4-BE49-F238E27FC236}">
                  <a16:creationId xmlns:a16="http://schemas.microsoft.com/office/drawing/2014/main" id="{29DCB01E-38C9-7CB8-F7C3-6AFD703DAF4D}"/>
                </a:ext>
              </a:extLst>
            </p:cNvPr>
            <p:cNvSpPr/>
            <p:nvPr userDrawn="1"/>
          </p:nvSpPr>
          <p:spPr>
            <a:xfrm>
              <a:off x="11752181" y="1513789"/>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1" name="Freeform 241">
              <a:extLst>
                <a:ext uri="{FF2B5EF4-FFF2-40B4-BE49-F238E27FC236}">
                  <a16:creationId xmlns:a16="http://schemas.microsoft.com/office/drawing/2014/main" id="{37F13BFE-834B-3539-2FC5-A9238221F651}"/>
                </a:ext>
              </a:extLst>
            </p:cNvPr>
            <p:cNvSpPr/>
            <p:nvPr userDrawn="1"/>
          </p:nvSpPr>
          <p:spPr>
            <a:xfrm>
              <a:off x="10754648" y="3341110"/>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2" name="Freeform 242">
              <a:extLst>
                <a:ext uri="{FF2B5EF4-FFF2-40B4-BE49-F238E27FC236}">
                  <a16:creationId xmlns:a16="http://schemas.microsoft.com/office/drawing/2014/main" id="{7F4FCBCA-7100-DB51-B984-FB65103BC6D2}"/>
                </a:ext>
              </a:extLst>
            </p:cNvPr>
            <p:cNvSpPr/>
            <p:nvPr userDrawn="1"/>
          </p:nvSpPr>
          <p:spPr>
            <a:xfrm>
              <a:off x="10241049" y="4657427"/>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3" name="Freeform 243">
              <a:extLst>
                <a:ext uri="{FF2B5EF4-FFF2-40B4-BE49-F238E27FC236}">
                  <a16:creationId xmlns:a16="http://schemas.microsoft.com/office/drawing/2014/main" id="{64D65C9C-0FB4-380F-3A65-4D0F7CADB461}"/>
                </a:ext>
              </a:extLst>
            </p:cNvPr>
            <p:cNvSpPr/>
            <p:nvPr userDrawn="1"/>
          </p:nvSpPr>
          <p:spPr>
            <a:xfrm>
              <a:off x="10819757" y="4594929"/>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4" name="Freeform 244">
              <a:extLst>
                <a:ext uri="{FF2B5EF4-FFF2-40B4-BE49-F238E27FC236}">
                  <a16:creationId xmlns:a16="http://schemas.microsoft.com/office/drawing/2014/main" id="{E7943376-7965-0319-C8F6-7068115E06D0}"/>
                </a:ext>
              </a:extLst>
            </p:cNvPr>
            <p:cNvSpPr/>
            <p:nvPr userDrawn="1"/>
          </p:nvSpPr>
          <p:spPr>
            <a:xfrm>
              <a:off x="11595098" y="5017951"/>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5" name="Freeform 245">
              <a:extLst>
                <a:ext uri="{FF2B5EF4-FFF2-40B4-BE49-F238E27FC236}">
                  <a16:creationId xmlns:a16="http://schemas.microsoft.com/office/drawing/2014/main" id="{8D316B03-8AAF-5AFE-4BBD-7E063C4BD45B}"/>
                </a:ext>
              </a:extLst>
            </p:cNvPr>
            <p:cNvSpPr/>
            <p:nvPr userDrawn="1"/>
          </p:nvSpPr>
          <p:spPr>
            <a:xfrm>
              <a:off x="11669091" y="4482384"/>
              <a:ext cx="55737" cy="62498"/>
            </a:xfrm>
            <a:custGeom>
              <a:avLst/>
              <a:gdLst>
                <a:gd name="connsiteX0" fmla="*/ 0 w 55737"/>
                <a:gd name="connsiteY0" fmla="*/ 0 h 62498"/>
                <a:gd name="connsiteX1" fmla="*/ 55738 w 55737"/>
                <a:gd name="connsiteY1" fmla="*/ 0 h 62498"/>
                <a:gd name="connsiteX2" fmla="*/ 55738 w 55737"/>
                <a:gd name="connsiteY2" fmla="*/ 62498 h 62498"/>
                <a:gd name="connsiteX3" fmla="*/ 0 w 55737"/>
                <a:gd name="connsiteY3" fmla="*/ 62498 h 62498"/>
              </a:gdLst>
              <a:ahLst/>
              <a:cxnLst>
                <a:cxn ang="0">
                  <a:pos x="connsiteX0" y="connsiteY0"/>
                </a:cxn>
                <a:cxn ang="0">
                  <a:pos x="connsiteX1" y="connsiteY1"/>
                </a:cxn>
                <a:cxn ang="0">
                  <a:pos x="connsiteX2" y="connsiteY2"/>
                </a:cxn>
                <a:cxn ang="0">
                  <a:pos x="connsiteX3" y="connsiteY3"/>
                </a:cxn>
              </a:cxnLst>
              <a:rect l="l" t="t" r="r" b="b"/>
              <a:pathLst>
                <a:path w="55737" h="62498">
                  <a:moveTo>
                    <a:pt x="0" y="0"/>
                  </a:moveTo>
                  <a:lnTo>
                    <a:pt x="55738" y="0"/>
                  </a:lnTo>
                  <a:lnTo>
                    <a:pt x="55738" y="62498"/>
                  </a:lnTo>
                  <a:lnTo>
                    <a:pt x="0" y="62498"/>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6" name="Freeform 246">
              <a:extLst>
                <a:ext uri="{FF2B5EF4-FFF2-40B4-BE49-F238E27FC236}">
                  <a16:creationId xmlns:a16="http://schemas.microsoft.com/office/drawing/2014/main" id="{48ECD62C-624C-F19D-AB71-F2668A4DBF8F}"/>
                </a:ext>
              </a:extLst>
            </p:cNvPr>
            <p:cNvSpPr/>
            <p:nvPr userDrawn="1"/>
          </p:nvSpPr>
          <p:spPr>
            <a:xfrm>
              <a:off x="10287295" y="2785006"/>
              <a:ext cx="118382" cy="132740"/>
            </a:xfrm>
            <a:custGeom>
              <a:avLst/>
              <a:gdLst>
                <a:gd name="connsiteX0" fmla="*/ 0 w 118382"/>
                <a:gd name="connsiteY0" fmla="*/ 0 h 132740"/>
                <a:gd name="connsiteX1" fmla="*/ 118382 w 118382"/>
                <a:gd name="connsiteY1" fmla="*/ 0 h 132740"/>
                <a:gd name="connsiteX2" fmla="*/ 118382 w 118382"/>
                <a:gd name="connsiteY2" fmla="*/ 132740 h 132740"/>
                <a:gd name="connsiteX3" fmla="*/ 0 w 118382"/>
                <a:gd name="connsiteY3" fmla="*/ 132740 h 132740"/>
              </a:gdLst>
              <a:ahLst/>
              <a:cxnLst>
                <a:cxn ang="0">
                  <a:pos x="connsiteX0" y="connsiteY0"/>
                </a:cxn>
                <a:cxn ang="0">
                  <a:pos x="connsiteX1" y="connsiteY1"/>
                </a:cxn>
                <a:cxn ang="0">
                  <a:pos x="connsiteX2" y="connsiteY2"/>
                </a:cxn>
                <a:cxn ang="0">
                  <a:pos x="connsiteX3" y="connsiteY3"/>
                </a:cxn>
              </a:cxnLst>
              <a:rect l="l" t="t" r="r" b="b"/>
              <a:pathLst>
                <a:path w="118382" h="132740">
                  <a:moveTo>
                    <a:pt x="0" y="0"/>
                  </a:moveTo>
                  <a:lnTo>
                    <a:pt x="118382" y="0"/>
                  </a:lnTo>
                  <a:lnTo>
                    <a:pt x="118382" y="132740"/>
                  </a:lnTo>
                  <a:lnTo>
                    <a:pt x="0" y="132740"/>
                  </a:ln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7" name="Freeform 250">
              <a:extLst>
                <a:ext uri="{FF2B5EF4-FFF2-40B4-BE49-F238E27FC236}">
                  <a16:creationId xmlns:a16="http://schemas.microsoft.com/office/drawing/2014/main" id="{88265436-A46A-4310-2FEF-D6E62850BB9C}"/>
                </a:ext>
              </a:extLst>
            </p:cNvPr>
            <p:cNvSpPr/>
            <p:nvPr userDrawn="1"/>
          </p:nvSpPr>
          <p:spPr>
            <a:xfrm>
              <a:off x="3221231" y="676273"/>
              <a:ext cx="336831" cy="769628"/>
            </a:xfrm>
            <a:custGeom>
              <a:avLst/>
              <a:gdLst>
                <a:gd name="connsiteX0" fmla="*/ 310119 w 336831"/>
                <a:gd name="connsiteY0" fmla="*/ 34 h 769628"/>
                <a:gd name="connsiteX1" fmla="*/ 283406 w 336831"/>
                <a:gd name="connsiteY1" fmla="*/ 29987 h 769628"/>
                <a:gd name="connsiteX2" fmla="*/ 306285 w 336831"/>
                <a:gd name="connsiteY2" fmla="*/ 59598 h 769628"/>
                <a:gd name="connsiteX3" fmla="*/ 306285 w 336831"/>
                <a:gd name="connsiteY3" fmla="*/ 313037 h 769628"/>
                <a:gd name="connsiteX4" fmla="*/ 24005 w 336831"/>
                <a:gd name="connsiteY4" fmla="*/ 629553 h 769628"/>
                <a:gd name="connsiteX5" fmla="*/ 22879 w 336831"/>
                <a:gd name="connsiteY5" fmla="*/ 632555 h 769628"/>
                <a:gd name="connsiteX6" fmla="*/ 22879 w 336831"/>
                <a:gd name="connsiteY6" fmla="*/ 710064 h 769628"/>
                <a:gd name="connsiteX7" fmla="*/ 0 w 336831"/>
                <a:gd name="connsiteY7" fmla="*/ 739675 h 769628"/>
                <a:gd name="connsiteX8" fmla="*/ 26713 w 336831"/>
                <a:gd name="connsiteY8" fmla="*/ 769628 h 769628"/>
                <a:gd name="connsiteX9" fmla="*/ 53426 w 336831"/>
                <a:gd name="connsiteY9" fmla="*/ 739675 h 769628"/>
                <a:gd name="connsiteX10" fmla="*/ 30546 w 336831"/>
                <a:gd name="connsiteY10" fmla="*/ 710064 h 769628"/>
                <a:gd name="connsiteX11" fmla="*/ 30546 w 336831"/>
                <a:gd name="connsiteY11" fmla="*/ 634329 h 769628"/>
                <a:gd name="connsiteX12" fmla="*/ 312826 w 336831"/>
                <a:gd name="connsiteY12" fmla="*/ 317813 h 769628"/>
                <a:gd name="connsiteX13" fmla="*/ 313952 w 336831"/>
                <a:gd name="connsiteY13" fmla="*/ 314777 h 769628"/>
                <a:gd name="connsiteX14" fmla="*/ 313952 w 336831"/>
                <a:gd name="connsiteY14" fmla="*/ 59564 h 769628"/>
                <a:gd name="connsiteX15" fmla="*/ 336831 w 336831"/>
                <a:gd name="connsiteY15" fmla="*/ 29953 h 769628"/>
                <a:gd name="connsiteX16" fmla="*/ 310119 w 336831"/>
                <a:gd name="connsiteY16" fmla="*/ 0 h 76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6831" h="769628">
                  <a:moveTo>
                    <a:pt x="310119" y="34"/>
                  </a:moveTo>
                  <a:cubicBezTo>
                    <a:pt x="295363" y="34"/>
                    <a:pt x="283406" y="13441"/>
                    <a:pt x="283406" y="29987"/>
                  </a:cubicBezTo>
                  <a:cubicBezTo>
                    <a:pt x="283406" y="45066"/>
                    <a:pt x="293355" y="57517"/>
                    <a:pt x="306285" y="59598"/>
                  </a:cubicBezTo>
                  <a:lnTo>
                    <a:pt x="306285" y="313037"/>
                  </a:lnTo>
                  <a:lnTo>
                    <a:pt x="24005" y="629553"/>
                  </a:lnTo>
                  <a:cubicBezTo>
                    <a:pt x="23305" y="630338"/>
                    <a:pt x="22879" y="631429"/>
                    <a:pt x="22879" y="632555"/>
                  </a:cubicBezTo>
                  <a:lnTo>
                    <a:pt x="22879" y="710064"/>
                  </a:lnTo>
                  <a:cubicBezTo>
                    <a:pt x="9949" y="712145"/>
                    <a:pt x="0" y="724597"/>
                    <a:pt x="0" y="739675"/>
                  </a:cubicBezTo>
                  <a:cubicBezTo>
                    <a:pt x="0" y="756221"/>
                    <a:pt x="11957" y="769628"/>
                    <a:pt x="26713" y="769628"/>
                  </a:cubicBezTo>
                  <a:cubicBezTo>
                    <a:pt x="41469" y="769628"/>
                    <a:pt x="53426" y="756221"/>
                    <a:pt x="53426" y="739675"/>
                  </a:cubicBezTo>
                  <a:cubicBezTo>
                    <a:pt x="53426" y="724597"/>
                    <a:pt x="43477" y="712145"/>
                    <a:pt x="30546" y="710064"/>
                  </a:cubicBezTo>
                  <a:lnTo>
                    <a:pt x="30546" y="634329"/>
                  </a:lnTo>
                  <a:lnTo>
                    <a:pt x="312826" y="317813"/>
                  </a:lnTo>
                  <a:cubicBezTo>
                    <a:pt x="313526" y="317028"/>
                    <a:pt x="313952" y="315936"/>
                    <a:pt x="313952" y="314777"/>
                  </a:cubicBezTo>
                  <a:lnTo>
                    <a:pt x="313952" y="59564"/>
                  </a:lnTo>
                  <a:cubicBezTo>
                    <a:pt x="326883" y="57483"/>
                    <a:pt x="336831" y="45031"/>
                    <a:pt x="336831" y="29953"/>
                  </a:cubicBezTo>
                  <a:cubicBezTo>
                    <a:pt x="336831" y="13407"/>
                    <a:pt x="324874" y="0"/>
                    <a:pt x="310119" y="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8" name="Freeform 251">
              <a:extLst>
                <a:ext uri="{FF2B5EF4-FFF2-40B4-BE49-F238E27FC236}">
                  <a16:creationId xmlns:a16="http://schemas.microsoft.com/office/drawing/2014/main" id="{58EC6671-9913-5280-C542-12DF508DBA20}"/>
                </a:ext>
              </a:extLst>
            </p:cNvPr>
            <p:cNvSpPr/>
            <p:nvPr userDrawn="1"/>
          </p:nvSpPr>
          <p:spPr>
            <a:xfrm>
              <a:off x="3107930" y="628512"/>
              <a:ext cx="336831" cy="769628"/>
            </a:xfrm>
            <a:custGeom>
              <a:avLst/>
              <a:gdLst>
                <a:gd name="connsiteX0" fmla="*/ 310119 w 336831"/>
                <a:gd name="connsiteY0" fmla="*/ 34 h 769628"/>
                <a:gd name="connsiteX1" fmla="*/ 283406 w 336831"/>
                <a:gd name="connsiteY1" fmla="*/ 29987 h 769628"/>
                <a:gd name="connsiteX2" fmla="*/ 306285 w 336831"/>
                <a:gd name="connsiteY2" fmla="*/ 59598 h 769628"/>
                <a:gd name="connsiteX3" fmla="*/ 306285 w 336831"/>
                <a:gd name="connsiteY3" fmla="*/ 313037 h 769628"/>
                <a:gd name="connsiteX4" fmla="*/ 24005 w 336831"/>
                <a:gd name="connsiteY4" fmla="*/ 629553 h 769628"/>
                <a:gd name="connsiteX5" fmla="*/ 22879 w 336831"/>
                <a:gd name="connsiteY5" fmla="*/ 632555 h 769628"/>
                <a:gd name="connsiteX6" fmla="*/ 22879 w 336831"/>
                <a:gd name="connsiteY6" fmla="*/ 710064 h 769628"/>
                <a:gd name="connsiteX7" fmla="*/ 0 w 336831"/>
                <a:gd name="connsiteY7" fmla="*/ 739675 h 769628"/>
                <a:gd name="connsiteX8" fmla="*/ 26713 w 336831"/>
                <a:gd name="connsiteY8" fmla="*/ 769628 h 769628"/>
                <a:gd name="connsiteX9" fmla="*/ 53426 w 336831"/>
                <a:gd name="connsiteY9" fmla="*/ 739675 h 769628"/>
                <a:gd name="connsiteX10" fmla="*/ 30546 w 336831"/>
                <a:gd name="connsiteY10" fmla="*/ 710064 h 769628"/>
                <a:gd name="connsiteX11" fmla="*/ 30546 w 336831"/>
                <a:gd name="connsiteY11" fmla="*/ 634329 h 769628"/>
                <a:gd name="connsiteX12" fmla="*/ 312826 w 336831"/>
                <a:gd name="connsiteY12" fmla="*/ 317813 h 769628"/>
                <a:gd name="connsiteX13" fmla="*/ 313952 w 336831"/>
                <a:gd name="connsiteY13" fmla="*/ 314777 h 769628"/>
                <a:gd name="connsiteX14" fmla="*/ 313952 w 336831"/>
                <a:gd name="connsiteY14" fmla="*/ 59564 h 769628"/>
                <a:gd name="connsiteX15" fmla="*/ 336831 w 336831"/>
                <a:gd name="connsiteY15" fmla="*/ 29953 h 769628"/>
                <a:gd name="connsiteX16" fmla="*/ 310119 w 336831"/>
                <a:gd name="connsiteY16" fmla="*/ 0 h 76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6831" h="769628">
                  <a:moveTo>
                    <a:pt x="310119" y="34"/>
                  </a:moveTo>
                  <a:cubicBezTo>
                    <a:pt x="295362" y="34"/>
                    <a:pt x="283406" y="13441"/>
                    <a:pt x="283406" y="29987"/>
                  </a:cubicBezTo>
                  <a:cubicBezTo>
                    <a:pt x="283406" y="45066"/>
                    <a:pt x="293355" y="57517"/>
                    <a:pt x="306285" y="59598"/>
                  </a:cubicBezTo>
                  <a:lnTo>
                    <a:pt x="306285" y="313037"/>
                  </a:lnTo>
                  <a:lnTo>
                    <a:pt x="24005" y="629553"/>
                  </a:lnTo>
                  <a:cubicBezTo>
                    <a:pt x="23305" y="630338"/>
                    <a:pt x="22879" y="631429"/>
                    <a:pt x="22879" y="632555"/>
                  </a:cubicBezTo>
                  <a:lnTo>
                    <a:pt x="22879" y="710064"/>
                  </a:lnTo>
                  <a:cubicBezTo>
                    <a:pt x="9949" y="712145"/>
                    <a:pt x="0" y="724597"/>
                    <a:pt x="0" y="739675"/>
                  </a:cubicBezTo>
                  <a:cubicBezTo>
                    <a:pt x="0" y="756221"/>
                    <a:pt x="11957" y="769628"/>
                    <a:pt x="26713" y="769628"/>
                  </a:cubicBezTo>
                  <a:cubicBezTo>
                    <a:pt x="41469" y="769628"/>
                    <a:pt x="53426" y="756221"/>
                    <a:pt x="53426" y="739675"/>
                  </a:cubicBezTo>
                  <a:cubicBezTo>
                    <a:pt x="53426" y="724597"/>
                    <a:pt x="43477" y="712145"/>
                    <a:pt x="30546" y="710064"/>
                  </a:cubicBezTo>
                  <a:lnTo>
                    <a:pt x="30546" y="634329"/>
                  </a:lnTo>
                  <a:lnTo>
                    <a:pt x="312826" y="317813"/>
                  </a:lnTo>
                  <a:cubicBezTo>
                    <a:pt x="313526" y="317028"/>
                    <a:pt x="313952" y="315936"/>
                    <a:pt x="313952" y="314777"/>
                  </a:cubicBezTo>
                  <a:lnTo>
                    <a:pt x="313952" y="59564"/>
                  </a:lnTo>
                  <a:cubicBezTo>
                    <a:pt x="326883" y="57483"/>
                    <a:pt x="336831" y="45031"/>
                    <a:pt x="336831" y="29953"/>
                  </a:cubicBezTo>
                  <a:cubicBezTo>
                    <a:pt x="336831" y="13407"/>
                    <a:pt x="324874" y="0"/>
                    <a:pt x="310119" y="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69" name="Freeform 252">
              <a:extLst>
                <a:ext uri="{FF2B5EF4-FFF2-40B4-BE49-F238E27FC236}">
                  <a16:creationId xmlns:a16="http://schemas.microsoft.com/office/drawing/2014/main" id="{F1BF4062-5D70-E1CC-26E5-234A41A4E8E0}"/>
                </a:ext>
              </a:extLst>
            </p:cNvPr>
            <p:cNvSpPr/>
            <p:nvPr userDrawn="1"/>
          </p:nvSpPr>
          <p:spPr>
            <a:xfrm>
              <a:off x="3010389" y="532104"/>
              <a:ext cx="336831" cy="769628"/>
            </a:xfrm>
            <a:custGeom>
              <a:avLst/>
              <a:gdLst>
                <a:gd name="connsiteX0" fmla="*/ 310118 w 336831"/>
                <a:gd name="connsiteY0" fmla="*/ 0 h 769628"/>
                <a:gd name="connsiteX1" fmla="*/ 283405 w 336831"/>
                <a:gd name="connsiteY1" fmla="*/ 29953 h 769628"/>
                <a:gd name="connsiteX2" fmla="*/ 306285 w 336831"/>
                <a:gd name="connsiteY2" fmla="*/ 59564 h 769628"/>
                <a:gd name="connsiteX3" fmla="*/ 306285 w 336831"/>
                <a:gd name="connsiteY3" fmla="*/ 313003 h 769628"/>
                <a:gd name="connsiteX4" fmla="*/ 24005 w 336831"/>
                <a:gd name="connsiteY4" fmla="*/ 629519 h 769628"/>
                <a:gd name="connsiteX5" fmla="*/ 22879 w 336831"/>
                <a:gd name="connsiteY5" fmla="*/ 632555 h 769628"/>
                <a:gd name="connsiteX6" fmla="*/ 22879 w 336831"/>
                <a:gd name="connsiteY6" fmla="*/ 710064 h 769628"/>
                <a:gd name="connsiteX7" fmla="*/ 0 w 336831"/>
                <a:gd name="connsiteY7" fmla="*/ 739675 h 769628"/>
                <a:gd name="connsiteX8" fmla="*/ 26713 w 336831"/>
                <a:gd name="connsiteY8" fmla="*/ 769628 h 769628"/>
                <a:gd name="connsiteX9" fmla="*/ 53426 w 336831"/>
                <a:gd name="connsiteY9" fmla="*/ 739675 h 769628"/>
                <a:gd name="connsiteX10" fmla="*/ 30546 w 336831"/>
                <a:gd name="connsiteY10" fmla="*/ 710064 h 769628"/>
                <a:gd name="connsiteX11" fmla="*/ 30546 w 336831"/>
                <a:gd name="connsiteY11" fmla="*/ 634329 h 769628"/>
                <a:gd name="connsiteX12" fmla="*/ 312826 w 336831"/>
                <a:gd name="connsiteY12" fmla="*/ 317813 h 769628"/>
                <a:gd name="connsiteX13" fmla="*/ 313952 w 336831"/>
                <a:gd name="connsiteY13" fmla="*/ 314811 h 769628"/>
                <a:gd name="connsiteX14" fmla="*/ 313952 w 336831"/>
                <a:gd name="connsiteY14" fmla="*/ 59598 h 769628"/>
                <a:gd name="connsiteX15" fmla="*/ 336831 w 336831"/>
                <a:gd name="connsiteY15" fmla="*/ 29987 h 769628"/>
                <a:gd name="connsiteX16" fmla="*/ 310118 w 336831"/>
                <a:gd name="connsiteY16" fmla="*/ 34 h 76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6831" h="769628">
                  <a:moveTo>
                    <a:pt x="310118" y="0"/>
                  </a:moveTo>
                  <a:cubicBezTo>
                    <a:pt x="295363" y="0"/>
                    <a:pt x="283405" y="13407"/>
                    <a:pt x="283405" y="29953"/>
                  </a:cubicBezTo>
                  <a:cubicBezTo>
                    <a:pt x="283405" y="45031"/>
                    <a:pt x="293354" y="57483"/>
                    <a:pt x="306285" y="59564"/>
                  </a:cubicBezTo>
                  <a:lnTo>
                    <a:pt x="306285" y="313003"/>
                  </a:lnTo>
                  <a:lnTo>
                    <a:pt x="24005" y="629519"/>
                  </a:lnTo>
                  <a:cubicBezTo>
                    <a:pt x="23305" y="630304"/>
                    <a:pt x="22879" y="631395"/>
                    <a:pt x="22879" y="632555"/>
                  </a:cubicBezTo>
                  <a:lnTo>
                    <a:pt x="22879" y="710064"/>
                  </a:lnTo>
                  <a:cubicBezTo>
                    <a:pt x="9949" y="712145"/>
                    <a:pt x="0" y="724597"/>
                    <a:pt x="0" y="739675"/>
                  </a:cubicBezTo>
                  <a:cubicBezTo>
                    <a:pt x="0" y="756221"/>
                    <a:pt x="11957" y="769628"/>
                    <a:pt x="26713" y="769628"/>
                  </a:cubicBezTo>
                  <a:cubicBezTo>
                    <a:pt x="41469" y="769628"/>
                    <a:pt x="53426" y="756221"/>
                    <a:pt x="53426" y="739675"/>
                  </a:cubicBezTo>
                  <a:cubicBezTo>
                    <a:pt x="53426" y="724597"/>
                    <a:pt x="43477" y="712145"/>
                    <a:pt x="30546" y="710064"/>
                  </a:cubicBezTo>
                  <a:lnTo>
                    <a:pt x="30546" y="634329"/>
                  </a:lnTo>
                  <a:lnTo>
                    <a:pt x="312826" y="317813"/>
                  </a:lnTo>
                  <a:cubicBezTo>
                    <a:pt x="313526" y="317028"/>
                    <a:pt x="313952" y="315936"/>
                    <a:pt x="313952" y="314811"/>
                  </a:cubicBezTo>
                  <a:lnTo>
                    <a:pt x="313952" y="59598"/>
                  </a:lnTo>
                  <a:cubicBezTo>
                    <a:pt x="326882" y="57517"/>
                    <a:pt x="336831" y="45066"/>
                    <a:pt x="336831" y="29987"/>
                  </a:cubicBezTo>
                  <a:cubicBezTo>
                    <a:pt x="336831" y="13441"/>
                    <a:pt x="324874" y="34"/>
                    <a:pt x="310118" y="3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0" name="Freeform 253">
              <a:extLst>
                <a:ext uri="{FF2B5EF4-FFF2-40B4-BE49-F238E27FC236}">
                  <a16:creationId xmlns:a16="http://schemas.microsoft.com/office/drawing/2014/main" id="{ECD86269-CA88-E1F2-59D3-BEDB967EBC3A}"/>
                </a:ext>
              </a:extLst>
            </p:cNvPr>
            <p:cNvSpPr/>
            <p:nvPr userDrawn="1"/>
          </p:nvSpPr>
          <p:spPr>
            <a:xfrm>
              <a:off x="3078357" y="748221"/>
              <a:ext cx="721003" cy="1205614"/>
            </a:xfrm>
            <a:custGeom>
              <a:avLst/>
              <a:gdLst>
                <a:gd name="connsiteX0" fmla="*/ 694321 w 721003"/>
                <a:gd name="connsiteY0" fmla="*/ 0 h 1205614"/>
                <a:gd name="connsiteX1" fmla="*/ 667608 w 721003"/>
                <a:gd name="connsiteY1" fmla="*/ 29953 h 1205614"/>
                <a:gd name="connsiteX2" fmla="*/ 690487 w 721003"/>
                <a:gd name="connsiteY2" fmla="*/ 59564 h 1205614"/>
                <a:gd name="connsiteX3" fmla="*/ 690487 w 721003"/>
                <a:gd name="connsiteY3" fmla="*/ 555592 h 1205614"/>
                <a:gd name="connsiteX4" fmla="*/ 141322 w 721003"/>
                <a:gd name="connsiteY4" fmla="*/ 1171363 h 1205614"/>
                <a:gd name="connsiteX5" fmla="*/ 53121 w 721003"/>
                <a:gd name="connsiteY5" fmla="*/ 1171363 h 1205614"/>
                <a:gd name="connsiteX6" fmla="*/ 26713 w 721003"/>
                <a:gd name="connsiteY6" fmla="*/ 1145709 h 1205614"/>
                <a:gd name="connsiteX7" fmla="*/ 0 w 721003"/>
                <a:gd name="connsiteY7" fmla="*/ 1175662 h 1205614"/>
                <a:gd name="connsiteX8" fmla="*/ 26713 w 721003"/>
                <a:gd name="connsiteY8" fmla="*/ 1205614 h 1205614"/>
                <a:gd name="connsiteX9" fmla="*/ 53121 w 721003"/>
                <a:gd name="connsiteY9" fmla="*/ 1179960 h 1205614"/>
                <a:gd name="connsiteX10" fmla="*/ 142904 w 721003"/>
                <a:gd name="connsiteY10" fmla="*/ 1179960 h 1205614"/>
                <a:gd name="connsiteX11" fmla="*/ 145582 w 721003"/>
                <a:gd name="connsiteY11" fmla="*/ 1178698 h 1205614"/>
                <a:gd name="connsiteX12" fmla="*/ 696998 w 721003"/>
                <a:gd name="connsiteY12" fmla="*/ 560403 h 1205614"/>
                <a:gd name="connsiteX13" fmla="*/ 698124 w 721003"/>
                <a:gd name="connsiteY13" fmla="*/ 557400 h 1205614"/>
                <a:gd name="connsiteX14" fmla="*/ 698124 w 721003"/>
                <a:gd name="connsiteY14" fmla="*/ 59632 h 1205614"/>
                <a:gd name="connsiteX15" fmla="*/ 721003 w 721003"/>
                <a:gd name="connsiteY15" fmla="*/ 30021 h 1205614"/>
                <a:gd name="connsiteX16" fmla="*/ 694290 w 721003"/>
                <a:gd name="connsiteY16" fmla="*/ 68 h 1205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1003" h="1205614">
                  <a:moveTo>
                    <a:pt x="694321" y="0"/>
                  </a:moveTo>
                  <a:cubicBezTo>
                    <a:pt x="679565" y="0"/>
                    <a:pt x="667608" y="13407"/>
                    <a:pt x="667608" y="29953"/>
                  </a:cubicBezTo>
                  <a:cubicBezTo>
                    <a:pt x="667608" y="45031"/>
                    <a:pt x="677557" y="57483"/>
                    <a:pt x="690487" y="59564"/>
                  </a:cubicBezTo>
                  <a:lnTo>
                    <a:pt x="690487" y="555592"/>
                  </a:lnTo>
                  <a:lnTo>
                    <a:pt x="141322" y="1171363"/>
                  </a:lnTo>
                  <a:lnTo>
                    <a:pt x="53121" y="1171363"/>
                  </a:lnTo>
                  <a:cubicBezTo>
                    <a:pt x="51265" y="1156865"/>
                    <a:pt x="40160" y="1145709"/>
                    <a:pt x="26713" y="1145709"/>
                  </a:cubicBezTo>
                  <a:cubicBezTo>
                    <a:pt x="11957" y="1145709"/>
                    <a:pt x="0" y="1159116"/>
                    <a:pt x="0" y="1175662"/>
                  </a:cubicBezTo>
                  <a:cubicBezTo>
                    <a:pt x="0" y="1192207"/>
                    <a:pt x="11957" y="1205614"/>
                    <a:pt x="26713" y="1205614"/>
                  </a:cubicBezTo>
                  <a:cubicBezTo>
                    <a:pt x="40160" y="1205614"/>
                    <a:pt x="51265" y="1194459"/>
                    <a:pt x="53121" y="1179960"/>
                  </a:cubicBezTo>
                  <a:lnTo>
                    <a:pt x="142904" y="1179960"/>
                  </a:lnTo>
                  <a:cubicBezTo>
                    <a:pt x="143908" y="1179960"/>
                    <a:pt x="144882" y="1179517"/>
                    <a:pt x="145582" y="1178698"/>
                  </a:cubicBezTo>
                  <a:lnTo>
                    <a:pt x="696998" y="560403"/>
                  </a:lnTo>
                  <a:cubicBezTo>
                    <a:pt x="697698" y="559618"/>
                    <a:pt x="698124" y="558526"/>
                    <a:pt x="698124" y="557400"/>
                  </a:cubicBezTo>
                  <a:lnTo>
                    <a:pt x="698124" y="59632"/>
                  </a:lnTo>
                  <a:cubicBezTo>
                    <a:pt x="711054" y="57552"/>
                    <a:pt x="721003" y="45100"/>
                    <a:pt x="721003" y="30021"/>
                  </a:cubicBezTo>
                  <a:cubicBezTo>
                    <a:pt x="721003" y="13475"/>
                    <a:pt x="709046" y="68"/>
                    <a:pt x="694290" y="68"/>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1" name="Freeform 254">
              <a:extLst>
                <a:ext uri="{FF2B5EF4-FFF2-40B4-BE49-F238E27FC236}">
                  <a16:creationId xmlns:a16="http://schemas.microsoft.com/office/drawing/2014/main" id="{80831EA8-25C3-A1C2-DBFA-AECFD66FDFCC}"/>
                </a:ext>
              </a:extLst>
            </p:cNvPr>
            <p:cNvSpPr/>
            <p:nvPr userDrawn="1"/>
          </p:nvSpPr>
          <p:spPr>
            <a:xfrm>
              <a:off x="1622842" y="3233512"/>
              <a:ext cx="618198" cy="930274"/>
            </a:xfrm>
            <a:custGeom>
              <a:avLst/>
              <a:gdLst>
                <a:gd name="connsiteX0" fmla="*/ 617103 w 618198"/>
                <a:gd name="connsiteY0" fmla="*/ 204552 h 930274"/>
                <a:gd name="connsiteX1" fmla="*/ 479462 w 618198"/>
                <a:gd name="connsiteY1" fmla="*/ 50217 h 930274"/>
                <a:gd name="connsiteX2" fmla="*/ 486551 w 618198"/>
                <a:gd name="connsiteY2" fmla="*/ 29953 h 930274"/>
                <a:gd name="connsiteX3" fmla="*/ 459838 w 618198"/>
                <a:gd name="connsiteY3" fmla="*/ 0 h 930274"/>
                <a:gd name="connsiteX4" fmla="*/ 433125 w 618198"/>
                <a:gd name="connsiteY4" fmla="*/ 29953 h 930274"/>
                <a:gd name="connsiteX5" fmla="*/ 459838 w 618198"/>
                <a:gd name="connsiteY5" fmla="*/ 59905 h 930274"/>
                <a:gd name="connsiteX6" fmla="*/ 473499 w 618198"/>
                <a:gd name="connsiteY6" fmla="*/ 55641 h 930274"/>
                <a:gd name="connsiteX7" fmla="*/ 610592 w 618198"/>
                <a:gd name="connsiteY7" fmla="*/ 209362 h 930274"/>
                <a:gd name="connsiteX8" fmla="*/ 610592 w 618198"/>
                <a:gd name="connsiteY8" fmla="*/ 502169 h 930274"/>
                <a:gd name="connsiteX9" fmla="*/ 259340 w 618198"/>
                <a:gd name="connsiteY9" fmla="*/ 896023 h 930274"/>
                <a:gd name="connsiteX10" fmla="*/ 53122 w 618198"/>
                <a:gd name="connsiteY10" fmla="*/ 896023 h 930274"/>
                <a:gd name="connsiteX11" fmla="*/ 26713 w 618198"/>
                <a:gd name="connsiteY11" fmla="*/ 870369 h 930274"/>
                <a:gd name="connsiteX12" fmla="*/ 0 w 618198"/>
                <a:gd name="connsiteY12" fmla="*/ 900322 h 930274"/>
                <a:gd name="connsiteX13" fmla="*/ 26713 w 618198"/>
                <a:gd name="connsiteY13" fmla="*/ 930275 h 930274"/>
                <a:gd name="connsiteX14" fmla="*/ 53122 w 618198"/>
                <a:gd name="connsiteY14" fmla="*/ 904620 h 930274"/>
                <a:gd name="connsiteX15" fmla="*/ 260922 w 618198"/>
                <a:gd name="connsiteY15" fmla="*/ 904620 h 930274"/>
                <a:gd name="connsiteX16" fmla="*/ 263599 w 618198"/>
                <a:gd name="connsiteY16" fmla="*/ 903358 h 930274"/>
                <a:gd name="connsiteX17" fmla="*/ 617073 w 618198"/>
                <a:gd name="connsiteY17" fmla="*/ 507013 h 930274"/>
                <a:gd name="connsiteX18" fmla="*/ 618198 w 618198"/>
                <a:gd name="connsiteY18" fmla="*/ 504011 h 930274"/>
                <a:gd name="connsiteX19" fmla="*/ 618198 w 618198"/>
                <a:gd name="connsiteY19" fmla="*/ 207690 h 930274"/>
                <a:gd name="connsiteX20" fmla="*/ 617073 w 618198"/>
                <a:gd name="connsiteY20" fmla="*/ 204688 h 93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8198" h="930274">
                  <a:moveTo>
                    <a:pt x="617103" y="204552"/>
                  </a:moveTo>
                  <a:lnTo>
                    <a:pt x="479462" y="50217"/>
                  </a:lnTo>
                  <a:cubicBezTo>
                    <a:pt x="483843" y="44895"/>
                    <a:pt x="486551" y="37765"/>
                    <a:pt x="486551" y="29953"/>
                  </a:cubicBezTo>
                  <a:cubicBezTo>
                    <a:pt x="486551" y="13407"/>
                    <a:pt x="474594" y="0"/>
                    <a:pt x="459838" y="0"/>
                  </a:cubicBezTo>
                  <a:cubicBezTo>
                    <a:pt x="445082" y="0"/>
                    <a:pt x="433125" y="13407"/>
                    <a:pt x="433125" y="29953"/>
                  </a:cubicBezTo>
                  <a:cubicBezTo>
                    <a:pt x="433125" y="46498"/>
                    <a:pt x="445082" y="59905"/>
                    <a:pt x="459838" y="59905"/>
                  </a:cubicBezTo>
                  <a:cubicBezTo>
                    <a:pt x="464828" y="59905"/>
                    <a:pt x="469483" y="58336"/>
                    <a:pt x="473499" y="55641"/>
                  </a:cubicBezTo>
                  <a:lnTo>
                    <a:pt x="610592" y="209362"/>
                  </a:lnTo>
                  <a:lnTo>
                    <a:pt x="610592" y="502169"/>
                  </a:lnTo>
                  <a:lnTo>
                    <a:pt x="259340" y="896023"/>
                  </a:lnTo>
                  <a:lnTo>
                    <a:pt x="53122" y="896023"/>
                  </a:lnTo>
                  <a:cubicBezTo>
                    <a:pt x="51265" y="881525"/>
                    <a:pt x="40161" y="870369"/>
                    <a:pt x="26713" y="870369"/>
                  </a:cubicBezTo>
                  <a:cubicBezTo>
                    <a:pt x="11957" y="870369"/>
                    <a:pt x="0" y="883776"/>
                    <a:pt x="0" y="900322"/>
                  </a:cubicBezTo>
                  <a:cubicBezTo>
                    <a:pt x="0" y="916867"/>
                    <a:pt x="11957" y="930275"/>
                    <a:pt x="26713" y="930275"/>
                  </a:cubicBezTo>
                  <a:cubicBezTo>
                    <a:pt x="40161" y="930275"/>
                    <a:pt x="51265" y="919119"/>
                    <a:pt x="53122" y="904620"/>
                  </a:cubicBezTo>
                  <a:lnTo>
                    <a:pt x="260922" y="904620"/>
                  </a:lnTo>
                  <a:cubicBezTo>
                    <a:pt x="261926" y="904620"/>
                    <a:pt x="262899" y="904177"/>
                    <a:pt x="263599" y="903358"/>
                  </a:cubicBezTo>
                  <a:lnTo>
                    <a:pt x="617073" y="507013"/>
                  </a:lnTo>
                  <a:cubicBezTo>
                    <a:pt x="617772" y="506228"/>
                    <a:pt x="618198" y="505137"/>
                    <a:pt x="618198" y="504011"/>
                  </a:cubicBezTo>
                  <a:lnTo>
                    <a:pt x="618198" y="207690"/>
                  </a:lnTo>
                  <a:cubicBezTo>
                    <a:pt x="618198" y="206565"/>
                    <a:pt x="617803" y="205473"/>
                    <a:pt x="617073" y="204688"/>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2" name="Freeform 255">
              <a:extLst>
                <a:ext uri="{FF2B5EF4-FFF2-40B4-BE49-F238E27FC236}">
                  <a16:creationId xmlns:a16="http://schemas.microsoft.com/office/drawing/2014/main" id="{5EBB0C3F-FBB7-995D-EEFB-3BCBA7688D90}"/>
                </a:ext>
              </a:extLst>
            </p:cNvPr>
            <p:cNvSpPr/>
            <p:nvPr userDrawn="1"/>
          </p:nvSpPr>
          <p:spPr>
            <a:xfrm>
              <a:off x="1947899" y="4869075"/>
              <a:ext cx="271965" cy="652205"/>
            </a:xfrm>
            <a:custGeom>
              <a:avLst/>
              <a:gdLst>
                <a:gd name="connsiteX0" fmla="*/ 249056 w 271965"/>
                <a:gd name="connsiteY0" fmla="*/ 592641 h 652205"/>
                <a:gd name="connsiteX1" fmla="*/ 249056 w 271965"/>
                <a:gd name="connsiteY1" fmla="*/ 274965 h 652205"/>
                <a:gd name="connsiteX2" fmla="*/ 247930 w 271965"/>
                <a:gd name="connsiteY2" fmla="*/ 271962 h 652205"/>
                <a:gd name="connsiteX3" fmla="*/ 48071 w 271965"/>
                <a:gd name="connsiteY3" fmla="*/ 47863 h 652205"/>
                <a:gd name="connsiteX4" fmla="*/ 53426 w 271965"/>
                <a:gd name="connsiteY4" fmla="*/ 29952 h 652205"/>
                <a:gd name="connsiteX5" fmla="*/ 26713 w 271965"/>
                <a:gd name="connsiteY5" fmla="*/ 0 h 652205"/>
                <a:gd name="connsiteX6" fmla="*/ 0 w 271965"/>
                <a:gd name="connsiteY6" fmla="*/ 29952 h 652205"/>
                <a:gd name="connsiteX7" fmla="*/ 26713 w 271965"/>
                <a:gd name="connsiteY7" fmla="*/ 59905 h 652205"/>
                <a:gd name="connsiteX8" fmla="*/ 42686 w 271965"/>
                <a:gd name="connsiteY8" fmla="*/ 53901 h 652205"/>
                <a:gd name="connsiteX9" fmla="*/ 241420 w 271965"/>
                <a:gd name="connsiteY9" fmla="*/ 276739 h 652205"/>
                <a:gd name="connsiteX10" fmla="*/ 241420 w 271965"/>
                <a:gd name="connsiteY10" fmla="*/ 592641 h 652205"/>
                <a:gd name="connsiteX11" fmla="*/ 218540 w 271965"/>
                <a:gd name="connsiteY11" fmla="*/ 622252 h 652205"/>
                <a:gd name="connsiteX12" fmla="*/ 245253 w 271965"/>
                <a:gd name="connsiteY12" fmla="*/ 652205 h 652205"/>
                <a:gd name="connsiteX13" fmla="*/ 271966 w 271965"/>
                <a:gd name="connsiteY13" fmla="*/ 622252 h 652205"/>
                <a:gd name="connsiteX14" fmla="*/ 249087 w 271965"/>
                <a:gd name="connsiteY14" fmla="*/ 592641 h 652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1965" h="652205">
                  <a:moveTo>
                    <a:pt x="249056" y="592641"/>
                  </a:moveTo>
                  <a:lnTo>
                    <a:pt x="249056" y="274965"/>
                  </a:lnTo>
                  <a:cubicBezTo>
                    <a:pt x="249056" y="273839"/>
                    <a:pt x="248661" y="272747"/>
                    <a:pt x="247930" y="271962"/>
                  </a:cubicBezTo>
                  <a:lnTo>
                    <a:pt x="48071" y="47863"/>
                  </a:lnTo>
                  <a:cubicBezTo>
                    <a:pt x="51418" y="42848"/>
                    <a:pt x="53426" y="36673"/>
                    <a:pt x="53426" y="29952"/>
                  </a:cubicBezTo>
                  <a:cubicBezTo>
                    <a:pt x="53426" y="13407"/>
                    <a:pt x="41469" y="0"/>
                    <a:pt x="26713" y="0"/>
                  </a:cubicBezTo>
                  <a:cubicBezTo>
                    <a:pt x="11957" y="0"/>
                    <a:pt x="0" y="13407"/>
                    <a:pt x="0" y="29952"/>
                  </a:cubicBezTo>
                  <a:cubicBezTo>
                    <a:pt x="0" y="46498"/>
                    <a:pt x="11957" y="59905"/>
                    <a:pt x="26713" y="59905"/>
                  </a:cubicBezTo>
                  <a:cubicBezTo>
                    <a:pt x="32706" y="59905"/>
                    <a:pt x="38244" y="57654"/>
                    <a:pt x="42686" y="53901"/>
                  </a:cubicBezTo>
                  <a:lnTo>
                    <a:pt x="241420" y="276739"/>
                  </a:lnTo>
                  <a:lnTo>
                    <a:pt x="241420" y="592641"/>
                  </a:lnTo>
                  <a:cubicBezTo>
                    <a:pt x="228489" y="594722"/>
                    <a:pt x="218540" y="607174"/>
                    <a:pt x="218540" y="622252"/>
                  </a:cubicBezTo>
                  <a:cubicBezTo>
                    <a:pt x="218540" y="638798"/>
                    <a:pt x="230497" y="652205"/>
                    <a:pt x="245253" y="652205"/>
                  </a:cubicBezTo>
                  <a:cubicBezTo>
                    <a:pt x="260009" y="652205"/>
                    <a:pt x="271966" y="638798"/>
                    <a:pt x="271966" y="622252"/>
                  </a:cubicBezTo>
                  <a:cubicBezTo>
                    <a:pt x="271966" y="607174"/>
                    <a:pt x="262017" y="594722"/>
                    <a:pt x="249087" y="592641"/>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3" name="Freeform 256">
              <a:extLst>
                <a:ext uri="{FF2B5EF4-FFF2-40B4-BE49-F238E27FC236}">
                  <a16:creationId xmlns:a16="http://schemas.microsoft.com/office/drawing/2014/main" id="{7D65E67B-9E21-ED2C-A9EA-D12BED421466}"/>
                </a:ext>
              </a:extLst>
            </p:cNvPr>
            <p:cNvSpPr/>
            <p:nvPr userDrawn="1"/>
          </p:nvSpPr>
          <p:spPr>
            <a:xfrm>
              <a:off x="2453161" y="5685986"/>
              <a:ext cx="925974" cy="651181"/>
            </a:xfrm>
            <a:custGeom>
              <a:avLst/>
              <a:gdLst>
                <a:gd name="connsiteX0" fmla="*/ 899261 w 925974"/>
                <a:gd name="connsiteY0" fmla="*/ 591276 h 651181"/>
                <a:gd name="connsiteX1" fmla="*/ 872853 w 925974"/>
                <a:gd name="connsiteY1" fmla="*/ 616931 h 651181"/>
                <a:gd name="connsiteX2" fmla="*/ 373097 w 925974"/>
                <a:gd name="connsiteY2" fmla="*/ 616931 h 651181"/>
                <a:gd name="connsiteX3" fmla="*/ 187324 w 925974"/>
                <a:gd name="connsiteY3" fmla="*/ 408626 h 651181"/>
                <a:gd name="connsiteX4" fmla="*/ 187324 w 925974"/>
                <a:gd name="connsiteY4" fmla="*/ 200424 h 651181"/>
                <a:gd name="connsiteX5" fmla="*/ 186199 w 925974"/>
                <a:gd name="connsiteY5" fmla="*/ 197422 h 651181"/>
                <a:gd name="connsiteX6" fmla="*/ 49957 w 925974"/>
                <a:gd name="connsiteY6" fmla="*/ 44656 h 651181"/>
                <a:gd name="connsiteX7" fmla="*/ 53426 w 925974"/>
                <a:gd name="connsiteY7" fmla="*/ 29953 h 651181"/>
                <a:gd name="connsiteX8" fmla="*/ 26713 w 925974"/>
                <a:gd name="connsiteY8" fmla="*/ 0 h 651181"/>
                <a:gd name="connsiteX9" fmla="*/ 0 w 925974"/>
                <a:gd name="connsiteY9" fmla="*/ 29953 h 651181"/>
                <a:gd name="connsiteX10" fmla="*/ 26713 w 925974"/>
                <a:gd name="connsiteY10" fmla="*/ 59905 h 651181"/>
                <a:gd name="connsiteX11" fmla="*/ 45272 w 925974"/>
                <a:gd name="connsiteY11" fmla="*/ 51479 h 651181"/>
                <a:gd name="connsiteX12" fmla="*/ 179718 w 925974"/>
                <a:gd name="connsiteY12" fmla="*/ 202232 h 651181"/>
                <a:gd name="connsiteX13" fmla="*/ 179718 w 925974"/>
                <a:gd name="connsiteY13" fmla="*/ 410434 h 651181"/>
                <a:gd name="connsiteX14" fmla="*/ 180844 w 925974"/>
                <a:gd name="connsiteY14" fmla="*/ 413470 h 651181"/>
                <a:gd name="connsiteX15" fmla="*/ 368838 w 925974"/>
                <a:gd name="connsiteY15" fmla="*/ 624265 h 651181"/>
                <a:gd name="connsiteX16" fmla="*/ 371515 w 925974"/>
                <a:gd name="connsiteY16" fmla="*/ 625528 h 651181"/>
                <a:gd name="connsiteX17" fmla="*/ 872853 w 925974"/>
                <a:gd name="connsiteY17" fmla="*/ 625528 h 651181"/>
                <a:gd name="connsiteX18" fmla="*/ 899261 w 925974"/>
                <a:gd name="connsiteY18" fmla="*/ 651182 h 651181"/>
                <a:gd name="connsiteX19" fmla="*/ 925974 w 925974"/>
                <a:gd name="connsiteY19" fmla="*/ 621229 h 651181"/>
                <a:gd name="connsiteX20" fmla="*/ 899261 w 925974"/>
                <a:gd name="connsiteY20" fmla="*/ 591276 h 651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25974" h="651181">
                  <a:moveTo>
                    <a:pt x="899261" y="591276"/>
                  </a:moveTo>
                  <a:cubicBezTo>
                    <a:pt x="885814" y="591276"/>
                    <a:pt x="874709" y="602432"/>
                    <a:pt x="872853" y="616931"/>
                  </a:cubicBezTo>
                  <a:lnTo>
                    <a:pt x="373097" y="616931"/>
                  </a:lnTo>
                  <a:lnTo>
                    <a:pt x="187324" y="408626"/>
                  </a:lnTo>
                  <a:lnTo>
                    <a:pt x="187324" y="200424"/>
                  </a:lnTo>
                  <a:cubicBezTo>
                    <a:pt x="187324" y="199298"/>
                    <a:pt x="186929" y="198206"/>
                    <a:pt x="186199" y="197422"/>
                  </a:cubicBezTo>
                  <a:lnTo>
                    <a:pt x="49957" y="44656"/>
                  </a:lnTo>
                  <a:cubicBezTo>
                    <a:pt x="52148" y="40323"/>
                    <a:pt x="53426" y="35309"/>
                    <a:pt x="53426" y="29953"/>
                  </a:cubicBezTo>
                  <a:cubicBezTo>
                    <a:pt x="53426" y="13407"/>
                    <a:pt x="41469" y="0"/>
                    <a:pt x="26713" y="0"/>
                  </a:cubicBezTo>
                  <a:cubicBezTo>
                    <a:pt x="11957" y="0"/>
                    <a:pt x="0" y="13407"/>
                    <a:pt x="0" y="29953"/>
                  </a:cubicBezTo>
                  <a:cubicBezTo>
                    <a:pt x="0" y="46498"/>
                    <a:pt x="11957" y="59905"/>
                    <a:pt x="26713" y="59905"/>
                  </a:cubicBezTo>
                  <a:cubicBezTo>
                    <a:pt x="33923" y="59905"/>
                    <a:pt x="40465" y="56699"/>
                    <a:pt x="45272" y="51479"/>
                  </a:cubicBezTo>
                  <a:lnTo>
                    <a:pt x="179718" y="202232"/>
                  </a:lnTo>
                  <a:lnTo>
                    <a:pt x="179718" y="410434"/>
                  </a:lnTo>
                  <a:cubicBezTo>
                    <a:pt x="179718" y="411560"/>
                    <a:pt x="180114" y="412652"/>
                    <a:pt x="180844" y="413470"/>
                  </a:cubicBezTo>
                  <a:lnTo>
                    <a:pt x="368838" y="624265"/>
                  </a:lnTo>
                  <a:cubicBezTo>
                    <a:pt x="369538" y="625050"/>
                    <a:pt x="370511" y="625528"/>
                    <a:pt x="371515" y="625528"/>
                  </a:cubicBezTo>
                  <a:lnTo>
                    <a:pt x="872853" y="625528"/>
                  </a:lnTo>
                  <a:cubicBezTo>
                    <a:pt x="874709" y="640026"/>
                    <a:pt x="885814" y="651182"/>
                    <a:pt x="899261" y="651182"/>
                  </a:cubicBezTo>
                  <a:cubicBezTo>
                    <a:pt x="914017" y="651182"/>
                    <a:pt x="925974" y="637775"/>
                    <a:pt x="925974" y="621229"/>
                  </a:cubicBezTo>
                  <a:cubicBezTo>
                    <a:pt x="925974" y="604684"/>
                    <a:pt x="914017" y="591276"/>
                    <a:pt x="899261" y="59127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4" name="Freeform 257">
              <a:extLst>
                <a:ext uri="{FF2B5EF4-FFF2-40B4-BE49-F238E27FC236}">
                  <a16:creationId xmlns:a16="http://schemas.microsoft.com/office/drawing/2014/main" id="{4F429AD7-E7A4-C3AF-3A0E-FA8E1CAAA612}"/>
                </a:ext>
              </a:extLst>
            </p:cNvPr>
            <p:cNvSpPr/>
            <p:nvPr userDrawn="1"/>
          </p:nvSpPr>
          <p:spPr>
            <a:xfrm>
              <a:off x="2601481" y="5097370"/>
              <a:ext cx="797429" cy="615668"/>
            </a:xfrm>
            <a:custGeom>
              <a:avLst/>
              <a:gdLst>
                <a:gd name="connsiteX0" fmla="*/ 770808 w 797429"/>
                <a:gd name="connsiteY0" fmla="*/ 46669 h 615668"/>
                <a:gd name="connsiteX1" fmla="*/ 744095 w 797429"/>
                <a:gd name="connsiteY1" fmla="*/ 76622 h 615668"/>
                <a:gd name="connsiteX2" fmla="*/ 766975 w 797429"/>
                <a:gd name="connsiteY2" fmla="*/ 106233 h 615668"/>
                <a:gd name="connsiteX3" fmla="*/ 766975 w 797429"/>
                <a:gd name="connsiteY3" fmla="*/ 327842 h 615668"/>
                <a:gd name="connsiteX4" fmla="*/ 517888 w 797429"/>
                <a:gd name="connsiteY4" fmla="*/ 607140 h 615668"/>
                <a:gd name="connsiteX5" fmla="*/ 129639 w 797429"/>
                <a:gd name="connsiteY5" fmla="*/ 607140 h 615668"/>
                <a:gd name="connsiteX6" fmla="*/ 30546 w 797429"/>
                <a:gd name="connsiteY6" fmla="*/ 496028 h 615668"/>
                <a:gd name="connsiteX7" fmla="*/ 30546 w 797429"/>
                <a:gd name="connsiteY7" fmla="*/ 59565 h 615668"/>
                <a:gd name="connsiteX8" fmla="*/ 53426 w 797429"/>
                <a:gd name="connsiteY8" fmla="*/ 29953 h 615668"/>
                <a:gd name="connsiteX9" fmla="*/ 26713 w 797429"/>
                <a:gd name="connsiteY9" fmla="*/ 0 h 615668"/>
                <a:gd name="connsiteX10" fmla="*/ 0 w 797429"/>
                <a:gd name="connsiteY10" fmla="*/ 29953 h 615668"/>
                <a:gd name="connsiteX11" fmla="*/ 22879 w 797429"/>
                <a:gd name="connsiteY11" fmla="*/ 59565 h 615668"/>
                <a:gd name="connsiteX12" fmla="*/ 22879 w 797429"/>
                <a:gd name="connsiteY12" fmla="*/ 497802 h 615668"/>
                <a:gd name="connsiteX13" fmla="*/ 24005 w 797429"/>
                <a:gd name="connsiteY13" fmla="*/ 500804 h 615668"/>
                <a:gd name="connsiteX14" fmla="*/ 125319 w 797429"/>
                <a:gd name="connsiteY14" fmla="*/ 614406 h 615668"/>
                <a:gd name="connsiteX15" fmla="*/ 127996 w 797429"/>
                <a:gd name="connsiteY15" fmla="*/ 615669 h 615668"/>
                <a:gd name="connsiteX16" fmla="*/ 519379 w 797429"/>
                <a:gd name="connsiteY16" fmla="*/ 615669 h 615668"/>
                <a:gd name="connsiteX17" fmla="*/ 522087 w 797429"/>
                <a:gd name="connsiteY17" fmla="*/ 614406 h 615668"/>
                <a:gd name="connsiteX18" fmla="*/ 773425 w 797429"/>
                <a:gd name="connsiteY18" fmla="*/ 332584 h 615668"/>
                <a:gd name="connsiteX19" fmla="*/ 774551 w 797429"/>
                <a:gd name="connsiteY19" fmla="*/ 329548 h 615668"/>
                <a:gd name="connsiteX20" fmla="*/ 774551 w 797429"/>
                <a:gd name="connsiteY20" fmla="*/ 106165 h 615668"/>
                <a:gd name="connsiteX21" fmla="*/ 797430 w 797429"/>
                <a:gd name="connsiteY21" fmla="*/ 76554 h 615668"/>
                <a:gd name="connsiteX22" fmla="*/ 770717 w 797429"/>
                <a:gd name="connsiteY22" fmla="*/ 46601 h 6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7429" h="615668">
                  <a:moveTo>
                    <a:pt x="770808" y="46669"/>
                  </a:moveTo>
                  <a:cubicBezTo>
                    <a:pt x="756053" y="46669"/>
                    <a:pt x="744095" y="60076"/>
                    <a:pt x="744095" y="76622"/>
                  </a:cubicBezTo>
                  <a:cubicBezTo>
                    <a:pt x="744095" y="91700"/>
                    <a:pt x="754044" y="104152"/>
                    <a:pt x="766975" y="106233"/>
                  </a:cubicBezTo>
                  <a:lnTo>
                    <a:pt x="766975" y="327842"/>
                  </a:lnTo>
                  <a:lnTo>
                    <a:pt x="517888" y="607140"/>
                  </a:lnTo>
                  <a:lnTo>
                    <a:pt x="129639" y="607140"/>
                  </a:lnTo>
                  <a:lnTo>
                    <a:pt x="30546" y="496028"/>
                  </a:lnTo>
                  <a:lnTo>
                    <a:pt x="30546" y="59565"/>
                  </a:lnTo>
                  <a:cubicBezTo>
                    <a:pt x="43477" y="57483"/>
                    <a:pt x="53426" y="45032"/>
                    <a:pt x="53426" y="29953"/>
                  </a:cubicBezTo>
                  <a:cubicBezTo>
                    <a:pt x="53426" y="13407"/>
                    <a:pt x="41469" y="0"/>
                    <a:pt x="26713" y="0"/>
                  </a:cubicBezTo>
                  <a:cubicBezTo>
                    <a:pt x="11957" y="0"/>
                    <a:pt x="0" y="13407"/>
                    <a:pt x="0" y="29953"/>
                  </a:cubicBezTo>
                  <a:cubicBezTo>
                    <a:pt x="0" y="45032"/>
                    <a:pt x="9949" y="57483"/>
                    <a:pt x="22879" y="59565"/>
                  </a:cubicBezTo>
                  <a:lnTo>
                    <a:pt x="22879" y="497802"/>
                  </a:lnTo>
                  <a:cubicBezTo>
                    <a:pt x="22879" y="498928"/>
                    <a:pt x="23275" y="500020"/>
                    <a:pt x="24005" y="500804"/>
                  </a:cubicBezTo>
                  <a:lnTo>
                    <a:pt x="125319" y="614406"/>
                  </a:lnTo>
                  <a:cubicBezTo>
                    <a:pt x="126019" y="615191"/>
                    <a:pt x="126992" y="615669"/>
                    <a:pt x="127996" y="615669"/>
                  </a:cubicBezTo>
                  <a:lnTo>
                    <a:pt x="519379" y="615669"/>
                  </a:lnTo>
                  <a:cubicBezTo>
                    <a:pt x="520383" y="615669"/>
                    <a:pt x="521357" y="615225"/>
                    <a:pt x="522087" y="614406"/>
                  </a:cubicBezTo>
                  <a:lnTo>
                    <a:pt x="773425" y="332584"/>
                  </a:lnTo>
                  <a:cubicBezTo>
                    <a:pt x="774125" y="331800"/>
                    <a:pt x="774551" y="330708"/>
                    <a:pt x="774551" y="329548"/>
                  </a:cubicBezTo>
                  <a:lnTo>
                    <a:pt x="774551" y="106165"/>
                  </a:lnTo>
                  <a:cubicBezTo>
                    <a:pt x="787481" y="104084"/>
                    <a:pt x="797430" y="91632"/>
                    <a:pt x="797430" y="76554"/>
                  </a:cubicBezTo>
                  <a:cubicBezTo>
                    <a:pt x="797430" y="60008"/>
                    <a:pt x="785473" y="46601"/>
                    <a:pt x="770717" y="46601"/>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5" name="Freeform 258">
              <a:extLst>
                <a:ext uri="{FF2B5EF4-FFF2-40B4-BE49-F238E27FC236}">
                  <a16:creationId xmlns:a16="http://schemas.microsoft.com/office/drawing/2014/main" id="{C4CBED5D-BAED-2A99-6D40-7E16428EA137}"/>
                </a:ext>
              </a:extLst>
            </p:cNvPr>
            <p:cNvSpPr/>
            <p:nvPr userDrawn="1"/>
          </p:nvSpPr>
          <p:spPr>
            <a:xfrm>
              <a:off x="2516414" y="5084168"/>
              <a:ext cx="968842" cy="715624"/>
            </a:xfrm>
            <a:custGeom>
              <a:avLst/>
              <a:gdLst>
                <a:gd name="connsiteX0" fmla="*/ 942251 w 968842"/>
                <a:gd name="connsiteY0" fmla="*/ 0 h 715624"/>
                <a:gd name="connsiteX1" fmla="*/ 915538 w 968842"/>
                <a:gd name="connsiteY1" fmla="*/ 29953 h 715624"/>
                <a:gd name="connsiteX2" fmla="*/ 938418 w 968842"/>
                <a:gd name="connsiteY2" fmla="*/ 59565 h 715624"/>
                <a:gd name="connsiteX3" fmla="*/ 938418 w 968842"/>
                <a:gd name="connsiteY3" fmla="*/ 373215 h 715624"/>
                <a:gd name="connsiteX4" fmla="*/ 640682 w 968842"/>
                <a:gd name="connsiteY4" fmla="*/ 707062 h 715624"/>
                <a:gd name="connsiteX5" fmla="*/ 163228 w 968842"/>
                <a:gd name="connsiteY5" fmla="*/ 707062 h 715624"/>
                <a:gd name="connsiteX6" fmla="*/ 30546 w 968842"/>
                <a:gd name="connsiteY6" fmla="*/ 558288 h 715624"/>
                <a:gd name="connsiteX7" fmla="*/ 30546 w 968842"/>
                <a:gd name="connsiteY7" fmla="*/ 59598 h 715624"/>
                <a:gd name="connsiteX8" fmla="*/ 53426 w 968842"/>
                <a:gd name="connsiteY8" fmla="*/ 29987 h 715624"/>
                <a:gd name="connsiteX9" fmla="*/ 26713 w 968842"/>
                <a:gd name="connsiteY9" fmla="*/ 34 h 715624"/>
                <a:gd name="connsiteX10" fmla="*/ 0 w 968842"/>
                <a:gd name="connsiteY10" fmla="*/ 29987 h 715624"/>
                <a:gd name="connsiteX11" fmla="*/ 22879 w 968842"/>
                <a:gd name="connsiteY11" fmla="*/ 59598 h 715624"/>
                <a:gd name="connsiteX12" fmla="*/ 22879 w 968842"/>
                <a:gd name="connsiteY12" fmla="*/ 560062 h 715624"/>
                <a:gd name="connsiteX13" fmla="*/ 24005 w 968842"/>
                <a:gd name="connsiteY13" fmla="*/ 563098 h 715624"/>
                <a:gd name="connsiteX14" fmla="*/ 158908 w 968842"/>
                <a:gd name="connsiteY14" fmla="*/ 714362 h 715624"/>
                <a:gd name="connsiteX15" fmla="*/ 161585 w 968842"/>
                <a:gd name="connsiteY15" fmla="*/ 715625 h 715624"/>
                <a:gd name="connsiteX16" fmla="*/ 642204 w 968842"/>
                <a:gd name="connsiteY16" fmla="*/ 715625 h 715624"/>
                <a:gd name="connsiteX17" fmla="*/ 644881 w 968842"/>
                <a:gd name="connsiteY17" fmla="*/ 714362 h 715624"/>
                <a:gd name="connsiteX18" fmla="*/ 944837 w 968842"/>
                <a:gd name="connsiteY18" fmla="*/ 378025 h 715624"/>
                <a:gd name="connsiteX19" fmla="*/ 945963 w 968842"/>
                <a:gd name="connsiteY19" fmla="*/ 374989 h 715624"/>
                <a:gd name="connsiteX20" fmla="*/ 945963 w 968842"/>
                <a:gd name="connsiteY20" fmla="*/ 59598 h 715624"/>
                <a:gd name="connsiteX21" fmla="*/ 968843 w 968842"/>
                <a:gd name="connsiteY21" fmla="*/ 29987 h 715624"/>
                <a:gd name="connsiteX22" fmla="*/ 942130 w 968842"/>
                <a:gd name="connsiteY22" fmla="*/ 34 h 715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68842" h="715624">
                  <a:moveTo>
                    <a:pt x="942251" y="0"/>
                  </a:moveTo>
                  <a:cubicBezTo>
                    <a:pt x="927496" y="0"/>
                    <a:pt x="915538" y="13407"/>
                    <a:pt x="915538" y="29953"/>
                  </a:cubicBezTo>
                  <a:cubicBezTo>
                    <a:pt x="915538" y="45032"/>
                    <a:pt x="925487" y="57483"/>
                    <a:pt x="938418" y="59565"/>
                  </a:cubicBezTo>
                  <a:lnTo>
                    <a:pt x="938418" y="373215"/>
                  </a:lnTo>
                  <a:lnTo>
                    <a:pt x="640682" y="707062"/>
                  </a:lnTo>
                  <a:lnTo>
                    <a:pt x="163228" y="707062"/>
                  </a:lnTo>
                  <a:lnTo>
                    <a:pt x="30546" y="558288"/>
                  </a:lnTo>
                  <a:lnTo>
                    <a:pt x="30546" y="59598"/>
                  </a:lnTo>
                  <a:cubicBezTo>
                    <a:pt x="43477" y="57517"/>
                    <a:pt x="53426" y="45066"/>
                    <a:pt x="53426" y="29987"/>
                  </a:cubicBezTo>
                  <a:cubicBezTo>
                    <a:pt x="53426" y="13441"/>
                    <a:pt x="41469" y="34"/>
                    <a:pt x="26713" y="34"/>
                  </a:cubicBezTo>
                  <a:cubicBezTo>
                    <a:pt x="11957" y="34"/>
                    <a:pt x="0" y="13441"/>
                    <a:pt x="0" y="29987"/>
                  </a:cubicBezTo>
                  <a:cubicBezTo>
                    <a:pt x="0" y="45066"/>
                    <a:pt x="9949" y="57517"/>
                    <a:pt x="22879" y="59598"/>
                  </a:cubicBezTo>
                  <a:lnTo>
                    <a:pt x="22879" y="560062"/>
                  </a:lnTo>
                  <a:cubicBezTo>
                    <a:pt x="22879" y="561187"/>
                    <a:pt x="23275" y="562279"/>
                    <a:pt x="24005" y="563098"/>
                  </a:cubicBezTo>
                  <a:lnTo>
                    <a:pt x="158908" y="714362"/>
                  </a:lnTo>
                  <a:cubicBezTo>
                    <a:pt x="159608" y="715147"/>
                    <a:pt x="160581" y="715625"/>
                    <a:pt x="161585" y="715625"/>
                  </a:cubicBezTo>
                  <a:lnTo>
                    <a:pt x="642204" y="715625"/>
                  </a:lnTo>
                  <a:cubicBezTo>
                    <a:pt x="643207" y="715625"/>
                    <a:pt x="644181" y="715181"/>
                    <a:pt x="644881" y="714362"/>
                  </a:cubicBezTo>
                  <a:lnTo>
                    <a:pt x="944837" y="378025"/>
                  </a:lnTo>
                  <a:cubicBezTo>
                    <a:pt x="945537" y="377241"/>
                    <a:pt x="945963" y="376149"/>
                    <a:pt x="945963" y="374989"/>
                  </a:cubicBezTo>
                  <a:lnTo>
                    <a:pt x="945963" y="59598"/>
                  </a:lnTo>
                  <a:cubicBezTo>
                    <a:pt x="958894" y="57517"/>
                    <a:pt x="968843" y="45066"/>
                    <a:pt x="968843" y="29987"/>
                  </a:cubicBezTo>
                  <a:cubicBezTo>
                    <a:pt x="968843" y="13441"/>
                    <a:pt x="956885" y="34"/>
                    <a:pt x="942130" y="3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6" name="Freeform 259">
              <a:extLst>
                <a:ext uri="{FF2B5EF4-FFF2-40B4-BE49-F238E27FC236}">
                  <a16:creationId xmlns:a16="http://schemas.microsoft.com/office/drawing/2014/main" id="{AF54FF68-BBCE-0AC7-6033-DA115B6475A7}"/>
                </a:ext>
              </a:extLst>
            </p:cNvPr>
            <p:cNvSpPr/>
            <p:nvPr userDrawn="1"/>
          </p:nvSpPr>
          <p:spPr>
            <a:xfrm>
              <a:off x="3524078" y="5086658"/>
              <a:ext cx="659119" cy="449666"/>
            </a:xfrm>
            <a:custGeom>
              <a:avLst/>
              <a:gdLst>
                <a:gd name="connsiteX0" fmla="*/ 636149 w 659119"/>
                <a:gd name="connsiteY0" fmla="*/ 390068 h 449666"/>
                <a:gd name="connsiteX1" fmla="*/ 636149 w 659119"/>
                <a:gd name="connsiteY1" fmla="*/ 266027 h 449666"/>
                <a:gd name="connsiteX2" fmla="*/ 635023 w 659119"/>
                <a:gd name="connsiteY2" fmla="*/ 263025 h 449666"/>
                <a:gd name="connsiteX3" fmla="*/ 401575 w 659119"/>
                <a:gd name="connsiteY3" fmla="*/ 1262 h 449666"/>
                <a:gd name="connsiteX4" fmla="*/ 398867 w 659119"/>
                <a:gd name="connsiteY4" fmla="*/ 0 h 449666"/>
                <a:gd name="connsiteX5" fmla="*/ 208804 w 659119"/>
                <a:gd name="connsiteY5" fmla="*/ 0 h 449666"/>
                <a:gd name="connsiteX6" fmla="*/ 206127 w 659119"/>
                <a:gd name="connsiteY6" fmla="*/ 1262 h 449666"/>
                <a:gd name="connsiteX7" fmla="*/ 38061 w 659119"/>
                <a:gd name="connsiteY7" fmla="*/ 189712 h 449666"/>
                <a:gd name="connsiteX8" fmla="*/ 26713 w 659119"/>
                <a:gd name="connsiteY8" fmla="*/ 186846 h 449666"/>
                <a:gd name="connsiteX9" fmla="*/ 0 w 659119"/>
                <a:gd name="connsiteY9" fmla="*/ 216799 h 449666"/>
                <a:gd name="connsiteX10" fmla="*/ 26713 w 659119"/>
                <a:gd name="connsiteY10" fmla="*/ 246752 h 449666"/>
                <a:gd name="connsiteX11" fmla="*/ 53425 w 659119"/>
                <a:gd name="connsiteY11" fmla="*/ 216799 h 449666"/>
                <a:gd name="connsiteX12" fmla="*/ 44542 w 659119"/>
                <a:gd name="connsiteY12" fmla="*/ 194556 h 449666"/>
                <a:gd name="connsiteX13" fmla="*/ 210417 w 659119"/>
                <a:gd name="connsiteY13" fmla="*/ 8563 h 449666"/>
                <a:gd name="connsiteX14" fmla="*/ 397346 w 659119"/>
                <a:gd name="connsiteY14" fmla="*/ 8563 h 449666"/>
                <a:gd name="connsiteX15" fmla="*/ 628573 w 659119"/>
                <a:gd name="connsiteY15" fmla="*/ 267835 h 449666"/>
                <a:gd name="connsiteX16" fmla="*/ 628573 w 659119"/>
                <a:gd name="connsiteY16" fmla="*/ 390102 h 449666"/>
                <a:gd name="connsiteX17" fmla="*/ 605694 w 659119"/>
                <a:gd name="connsiteY17" fmla="*/ 419714 h 449666"/>
                <a:gd name="connsiteX18" fmla="*/ 632407 w 659119"/>
                <a:gd name="connsiteY18" fmla="*/ 449666 h 449666"/>
                <a:gd name="connsiteX19" fmla="*/ 659120 w 659119"/>
                <a:gd name="connsiteY19" fmla="*/ 419714 h 449666"/>
                <a:gd name="connsiteX20" fmla="*/ 636240 w 659119"/>
                <a:gd name="connsiteY20" fmla="*/ 390102 h 449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59119" h="449666">
                  <a:moveTo>
                    <a:pt x="636149" y="390068"/>
                  </a:moveTo>
                  <a:lnTo>
                    <a:pt x="636149" y="266027"/>
                  </a:lnTo>
                  <a:cubicBezTo>
                    <a:pt x="636149" y="264901"/>
                    <a:pt x="635753" y="263809"/>
                    <a:pt x="635023" y="263025"/>
                  </a:cubicBezTo>
                  <a:lnTo>
                    <a:pt x="401575" y="1262"/>
                  </a:lnTo>
                  <a:cubicBezTo>
                    <a:pt x="400875" y="478"/>
                    <a:pt x="399901" y="0"/>
                    <a:pt x="398867" y="0"/>
                  </a:cubicBezTo>
                  <a:lnTo>
                    <a:pt x="208804" y="0"/>
                  </a:lnTo>
                  <a:cubicBezTo>
                    <a:pt x="207800" y="0"/>
                    <a:pt x="206827" y="444"/>
                    <a:pt x="206127" y="1262"/>
                  </a:cubicBezTo>
                  <a:lnTo>
                    <a:pt x="38061" y="189712"/>
                  </a:lnTo>
                  <a:cubicBezTo>
                    <a:pt x="34623" y="187904"/>
                    <a:pt x="30790" y="186846"/>
                    <a:pt x="26713" y="186846"/>
                  </a:cubicBezTo>
                  <a:cubicBezTo>
                    <a:pt x="11957" y="186846"/>
                    <a:pt x="0" y="200254"/>
                    <a:pt x="0" y="216799"/>
                  </a:cubicBezTo>
                  <a:cubicBezTo>
                    <a:pt x="0" y="233345"/>
                    <a:pt x="11957" y="246752"/>
                    <a:pt x="26713" y="246752"/>
                  </a:cubicBezTo>
                  <a:cubicBezTo>
                    <a:pt x="41469" y="246752"/>
                    <a:pt x="53425" y="233345"/>
                    <a:pt x="53425" y="216799"/>
                  </a:cubicBezTo>
                  <a:cubicBezTo>
                    <a:pt x="53425" y="207964"/>
                    <a:pt x="49987" y="200015"/>
                    <a:pt x="44542" y="194556"/>
                  </a:cubicBezTo>
                  <a:lnTo>
                    <a:pt x="210417" y="8563"/>
                  </a:lnTo>
                  <a:lnTo>
                    <a:pt x="397346" y="8563"/>
                  </a:lnTo>
                  <a:lnTo>
                    <a:pt x="628573" y="267835"/>
                  </a:lnTo>
                  <a:lnTo>
                    <a:pt x="628573" y="390102"/>
                  </a:lnTo>
                  <a:cubicBezTo>
                    <a:pt x="615643" y="392183"/>
                    <a:pt x="605694" y="404635"/>
                    <a:pt x="605694" y="419714"/>
                  </a:cubicBezTo>
                  <a:cubicBezTo>
                    <a:pt x="605694" y="436259"/>
                    <a:pt x="617651" y="449666"/>
                    <a:pt x="632407" y="449666"/>
                  </a:cubicBezTo>
                  <a:cubicBezTo>
                    <a:pt x="647163" y="449666"/>
                    <a:pt x="659120" y="436259"/>
                    <a:pt x="659120" y="419714"/>
                  </a:cubicBezTo>
                  <a:cubicBezTo>
                    <a:pt x="659120" y="404635"/>
                    <a:pt x="649171" y="392183"/>
                    <a:pt x="636240" y="390102"/>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7" name="Freeform 260">
              <a:extLst>
                <a:ext uri="{FF2B5EF4-FFF2-40B4-BE49-F238E27FC236}">
                  <a16:creationId xmlns:a16="http://schemas.microsoft.com/office/drawing/2014/main" id="{CF76441B-0158-E97B-618B-DE2233D68049}"/>
                </a:ext>
              </a:extLst>
            </p:cNvPr>
            <p:cNvSpPr/>
            <p:nvPr userDrawn="1"/>
          </p:nvSpPr>
          <p:spPr>
            <a:xfrm>
              <a:off x="3509201" y="5416513"/>
              <a:ext cx="886878" cy="267186"/>
            </a:xfrm>
            <a:custGeom>
              <a:avLst/>
              <a:gdLst>
                <a:gd name="connsiteX0" fmla="*/ 860135 w 886878"/>
                <a:gd name="connsiteY0" fmla="*/ 207315 h 267186"/>
                <a:gd name="connsiteX1" fmla="*/ 833727 w 886878"/>
                <a:gd name="connsiteY1" fmla="*/ 232970 h 267186"/>
                <a:gd name="connsiteX2" fmla="*/ 643755 w 886878"/>
                <a:gd name="connsiteY2" fmla="*/ 232970 h 267186"/>
                <a:gd name="connsiteX3" fmla="*/ 460173 w 886878"/>
                <a:gd name="connsiteY3" fmla="*/ 27121 h 267186"/>
                <a:gd name="connsiteX4" fmla="*/ 457495 w 886878"/>
                <a:gd name="connsiteY4" fmla="*/ 25859 h 267186"/>
                <a:gd name="connsiteX5" fmla="*/ 53121 w 886878"/>
                <a:gd name="connsiteY5" fmla="*/ 25859 h 267186"/>
                <a:gd name="connsiteX6" fmla="*/ 26713 w 886878"/>
                <a:gd name="connsiteY6" fmla="*/ 0 h 267186"/>
                <a:gd name="connsiteX7" fmla="*/ 0 w 886878"/>
                <a:gd name="connsiteY7" fmla="*/ 29953 h 267186"/>
                <a:gd name="connsiteX8" fmla="*/ 26713 w 886878"/>
                <a:gd name="connsiteY8" fmla="*/ 59905 h 267186"/>
                <a:gd name="connsiteX9" fmla="*/ 53091 w 886878"/>
                <a:gd name="connsiteY9" fmla="*/ 34422 h 267186"/>
                <a:gd name="connsiteX10" fmla="*/ 455944 w 886878"/>
                <a:gd name="connsiteY10" fmla="*/ 34422 h 267186"/>
                <a:gd name="connsiteX11" fmla="*/ 639526 w 886878"/>
                <a:gd name="connsiteY11" fmla="*/ 240270 h 267186"/>
                <a:gd name="connsiteX12" fmla="*/ 642203 w 886878"/>
                <a:gd name="connsiteY12" fmla="*/ 241532 h 267186"/>
                <a:gd name="connsiteX13" fmla="*/ 833757 w 886878"/>
                <a:gd name="connsiteY13" fmla="*/ 241532 h 267186"/>
                <a:gd name="connsiteX14" fmla="*/ 860166 w 886878"/>
                <a:gd name="connsiteY14" fmla="*/ 267186 h 267186"/>
                <a:gd name="connsiteX15" fmla="*/ 886879 w 886878"/>
                <a:gd name="connsiteY15" fmla="*/ 237234 h 267186"/>
                <a:gd name="connsiteX16" fmla="*/ 860166 w 886878"/>
                <a:gd name="connsiteY16" fmla="*/ 207281 h 26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6878" h="267186">
                  <a:moveTo>
                    <a:pt x="860135" y="207315"/>
                  </a:moveTo>
                  <a:cubicBezTo>
                    <a:pt x="846688" y="207315"/>
                    <a:pt x="835583" y="218471"/>
                    <a:pt x="833727" y="232970"/>
                  </a:cubicBezTo>
                  <a:lnTo>
                    <a:pt x="643755" y="232970"/>
                  </a:lnTo>
                  <a:lnTo>
                    <a:pt x="460173" y="27121"/>
                  </a:lnTo>
                  <a:cubicBezTo>
                    <a:pt x="459473" y="26336"/>
                    <a:pt x="458499" y="25859"/>
                    <a:pt x="457495" y="25859"/>
                  </a:cubicBezTo>
                  <a:lnTo>
                    <a:pt x="53121" y="25859"/>
                  </a:lnTo>
                  <a:cubicBezTo>
                    <a:pt x="51326" y="11258"/>
                    <a:pt x="40191" y="0"/>
                    <a:pt x="26713" y="0"/>
                  </a:cubicBezTo>
                  <a:cubicBezTo>
                    <a:pt x="11957" y="0"/>
                    <a:pt x="0" y="13407"/>
                    <a:pt x="0" y="29953"/>
                  </a:cubicBezTo>
                  <a:cubicBezTo>
                    <a:pt x="0" y="46498"/>
                    <a:pt x="11957" y="59905"/>
                    <a:pt x="26713" y="59905"/>
                  </a:cubicBezTo>
                  <a:cubicBezTo>
                    <a:pt x="40100" y="59905"/>
                    <a:pt x="51174" y="48852"/>
                    <a:pt x="53091" y="34422"/>
                  </a:cubicBezTo>
                  <a:lnTo>
                    <a:pt x="455944" y="34422"/>
                  </a:lnTo>
                  <a:lnTo>
                    <a:pt x="639526" y="240270"/>
                  </a:lnTo>
                  <a:cubicBezTo>
                    <a:pt x="640226" y="241055"/>
                    <a:pt x="641199" y="241532"/>
                    <a:pt x="642203" y="241532"/>
                  </a:cubicBezTo>
                  <a:lnTo>
                    <a:pt x="833757" y="241532"/>
                  </a:lnTo>
                  <a:cubicBezTo>
                    <a:pt x="835613" y="256031"/>
                    <a:pt x="846718" y="267186"/>
                    <a:pt x="860166" y="267186"/>
                  </a:cubicBezTo>
                  <a:cubicBezTo>
                    <a:pt x="874921" y="267186"/>
                    <a:pt x="886879" y="253779"/>
                    <a:pt x="886879" y="237234"/>
                  </a:cubicBezTo>
                  <a:cubicBezTo>
                    <a:pt x="886879" y="220688"/>
                    <a:pt x="874921" y="207281"/>
                    <a:pt x="860166" y="207281"/>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8" name="Freeform 261">
              <a:extLst>
                <a:ext uri="{FF2B5EF4-FFF2-40B4-BE49-F238E27FC236}">
                  <a16:creationId xmlns:a16="http://schemas.microsoft.com/office/drawing/2014/main" id="{528A69F2-1D82-D8C2-06B1-2A4401ADACBD}"/>
                </a:ext>
              </a:extLst>
            </p:cNvPr>
            <p:cNvSpPr/>
            <p:nvPr userDrawn="1"/>
          </p:nvSpPr>
          <p:spPr>
            <a:xfrm>
              <a:off x="4452212" y="5708740"/>
              <a:ext cx="480922" cy="737184"/>
            </a:xfrm>
            <a:custGeom>
              <a:avLst/>
              <a:gdLst>
                <a:gd name="connsiteX0" fmla="*/ 458013 w 480922"/>
                <a:gd name="connsiteY0" fmla="*/ 677621 h 737184"/>
                <a:gd name="connsiteX1" fmla="*/ 458013 w 480922"/>
                <a:gd name="connsiteY1" fmla="*/ 516497 h 737184"/>
                <a:gd name="connsiteX2" fmla="*/ 456887 w 480922"/>
                <a:gd name="connsiteY2" fmla="*/ 513461 h 737184"/>
                <a:gd name="connsiteX3" fmla="*/ 45059 w 480922"/>
                <a:gd name="connsiteY3" fmla="*/ 51683 h 737184"/>
                <a:gd name="connsiteX4" fmla="*/ 53426 w 480922"/>
                <a:gd name="connsiteY4" fmla="*/ 29952 h 737184"/>
                <a:gd name="connsiteX5" fmla="*/ 26713 w 480922"/>
                <a:gd name="connsiteY5" fmla="*/ 0 h 737184"/>
                <a:gd name="connsiteX6" fmla="*/ 0 w 480922"/>
                <a:gd name="connsiteY6" fmla="*/ 29952 h 737184"/>
                <a:gd name="connsiteX7" fmla="*/ 26713 w 480922"/>
                <a:gd name="connsiteY7" fmla="*/ 59905 h 737184"/>
                <a:gd name="connsiteX8" fmla="*/ 38731 w 480922"/>
                <a:gd name="connsiteY8" fmla="*/ 56665 h 737184"/>
                <a:gd name="connsiteX9" fmla="*/ 450376 w 480922"/>
                <a:gd name="connsiteY9" fmla="*/ 518236 h 737184"/>
                <a:gd name="connsiteX10" fmla="*/ 450376 w 480922"/>
                <a:gd name="connsiteY10" fmla="*/ 677621 h 737184"/>
                <a:gd name="connsiteX11" fmla="*/ 427497 w 480922"/>
                <a:gd name="connsiteY11" fmla="*/ 707232 h 737184"/>
                <a:gd name="connsiteX12" fmla="*/ 454210 w 480922"/>
                <a:gd name="connsiteY12" fmla="*/ 737185 h 737184"/>
                <a:gd name="connsiteX13" fmla="*/ 480923 w 480922"/>
                <a:gd name="connsiteY13" fmla="*/ 707232 h 737184"/>
                <a:gd name="connsiteX14" fmla="*/ 458043 w 480922"/>
                <a:gd name="connsiteY14" fmla="*/ 677621 h 73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0922" h="737184">
                  <a:moveTo>
                    <a:pt x="458013" y="677621"/>
                  </a:moveTo>
                  <a:lnTo>
                    <a:pt x="458013" y="516497"/>
                  </a:lnTo>
                  <a:cubicBezTo>
                    <a:pt x="458013" y="515371"/>
                    <a:pt x="457617" y="514279"/>
                    <a:pt x="456887" y="513461"/>
                  </a:cubicBezTo>
                  <a:lnTo>
                    <a:pt x="45059" y="51683"/>
                  </a:lnTo>
                  <a:cubicBezTo>
                    <a:pt x="50201" y="46225"/>
                    <a:pt x="53426" y="38515"/>
                    <a:pt x="53426" y="29952"/>
                  </a:cubicBezTo>
                  <a:cubicBezTo>
                    <a:pt x="53426" y="13407"/>
                    <a:pt x="41469" y="0"/>
                    <a:pt x="26713" y="0"/>
                  </a:cubicBezTo>
                  <a:cubicBezTo>
                    <a:pt x="11957" y="0"/>
                    <a:pt x="0" y="13407"/>
                    <a:pt x="0" y="29952"/>
                  </a:cubicBezTo>
                  <a:cubicBezTo>
                    <a:pt x="0" y="46498"/>
                    <a:pt x="11957" y="59905"/>
                    <a:pt x="26713" y="59905"/>
                  </a:cubicBezTo>
                  <a:cubicBezTo>
                    <a:pt x="31033" y="59905"/>
                    <a:pt x="35110" y="58711"/>
                    <a:pt x="38731" y="56665"/>
                  </a:cubicBezTo>
                  <a:lnTo>
                    <a:pt x="450376" y="518236"/>
                  </a:lnTo>
                  <a:lnTo>
                    <a:pt x="450376" y="677621"/>
                  </a:lnTo>
                  <a:cubicBezTo>
                    <a:pt x="437446" y="679702"/>
                    <a:pt x="427497" y="692153"/>
                    <a:pt x="427497" y="707232"/>
                  </a:cubicBezTo>
                  <a:cubicBezTo>
                    <a:pt x="427497" y="723778"/>
                    <a:pt x="439454" y="737185"/>
                    <a:pt x="454210" y="737185"/>
                  </a:cubicBezTo>
                  <a:cubicBezTo>
                    <a:pt x="468966" y="737185"/>
                    <a:pt x="480923" y="723778"/>
                    <a:pt x="480923" y="707232"/>
                  </a:cubicBezTo>
                  <a:cubicBezTo>
                    <a:pt x="480923" y="692153"/>
                    <a:pt x="470974" y="679702"/>
                    <a:pt x="458043" y="677621"/>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79" name="Freeform 262">
              <a:extLst>
                <a:ext uri="{FF2B5EF4-FFF2-40B4-BE49-F238E27FC236}">
                  <a16:creationId xmlns:a16="http://schemas.microsoft.com/office/drawing/2014/main" id="{975A15FA-169E-6039-8490-F6FE35C74ABB}"/>
                </a:ext>
              </a:extLst>
            </p:cNvPr>
            <p:cNvSpPr/>
            <p:nvPr userDrawn="1"/>
          </p:nvSpPr>
          <p:spPr>
            <a:xfrm>
              <a:off x="2460463" y="5084134"/>
              <a:ext cx="1866339" cy="865115"/>
            </a:xfrm>
            <a:custGeom>
              <a:avLst/>
              <a:gdLst>
                <a:gd name="connsiteX0" fmla="*/ 1839657 w 1866339"/>
                <a:gd name="connsiteY0" fmla="*/ 805210 h 865115"/>
                <a:gd name="connsiteX1" fmla="*/ 1823684 w 1866339"/>
                <a:gd name="connsiteY1" fmla="*/ 811214 h 865115"/>
                <a:gd name="connsiteX2" fmla="*/ 1475778 w 1866339"/>
                <a:gd name="connsiteY2" fmla="*/ 421112 h 865115"/>
                <a:gd name="connsiteX3" fmla="*/ 1473101 w 1866339"/>
                <a:gd name="connsiteY3" fmla="*/ 419850 h 865115"/>
                <a:gd name="connsiteX4" fmla="*/ 1002218 w 1866339"/>
                <a:gd name="connsiteY4" fmla="*/ 419850 h 865115"/>
                <a:gd name="connsiteX5" fmla="*/ 999541 w 1866339"/>
                <a:gd name="connsiteY5" fmla="*/ 421112 h 865115"/>
                <a:gd name="connsiteX6" fmla="*/ 696664 w 1866339"/>
                <a:gd name="connsiteY6" fmla="*/ 760690 h 865115"/>
                <a:gd name="connsiteX7" fmla="*/ 191219 w 1866339"/>
                <a:gd name="connsiteY7" fmla="*/ 760690 h 865115"/>
                <a:gd name="connsiteX8" fmla="*/ 30546 w 1866339"/>
                <a:gd name="connsiteY8" fmla="*/ 580530 h 865115"/>
                <a:gd name="connsiteX9" fmla="*/ 30546 w 1866339"/>
                <a:gd name="connsiteY9" fmla="*/ 59565 h 865115"/>
                <a:gd name="connsiteX10" fmla="*/ 53426 w 1866339"/>
                <a:gd name="connsiteY10" fmla="*/ 29953 h 865115"/>
                <a:gd name="connsiteX11" fmla="*/ 26713 w 1866339"/>
                <a:gd name="connsiteY11" fmla="*/ 0 h 865115"/>
                <a:gd name="connsiteX12" fmla="*/ 0 w 1866339"/>
                <a:gd name="connsiteY12" fmla="*/ 29953 h 865115"/>
                <a:gd name="connsiteX13" fmla="*/ 22879 w 1866339"/>
                <a:gd name="connsiteY13" fmla="*/ 59565 h 865115"/>
                <a:gd name="connsiteX14" fmla="*/ 22879 w 1866339"/>
                <a:gd name="connsiteY14" fmla="*/ 582304 h 865115"/>
                <a:gd name="connsiteX15" fmla="*/ 24005 w 1866339"/>
                <a:gd name="connsiteY15" fmla="*/ 585307 h 865115"/>
                <a:gd name="connsiteX16" fmla="*/ 186929 w 1866339"/>
                <a:gd name="connsiteY16" fmla="*/ 767991 h 865115"/>
                <a:gd name="connsiteX17" fmla="*/ 189606 w 1866339"/>
                <a:gd name="connsiteY17" fmla="*/ 769253 h 865115"/>
                <a:gd name="connsiteX18" fmla="*/ 698215 w 1866339"/>
                <a:gd name="connsiteY18" fmla="*/ 769253 h 865115"/>
                <a:gd name="connsiteX19" fmla="*/ 700893 w 1866339"/>
                <a:gd name="connsiteY19" fmla="*/ 767991 h 865115"/>
                <a:gd name="connsiteX20" fmla="*/ 1003770 w 1866339"/>
                <a:gd name="connsiteY20" fmla="*/ 428413 h 865115"/>
                <a:gd name="connsiteX21" fmla="*/ 1471488 w 1866339"/>
                <a:gd name="connsiteY21" fmla="*/ 428413 h 865115"/>
                <a:gd name="connsiteX22" fmla="*/ 1818268 w 1866339"/>
                <a:gd name="connsiteY22" fmla="*/ 817253 h 865115"/>
                <a:gd name="connsiteX23" fmla="*/ 1812914 w 1866339"/>
                <a:gd name="connsiteY23" fmla="*/ 835163 h 865115"/>
                <a:gd name="connsiteX24" fmla="*/ 1839626 w 1866339"/>
                <a:gd name="connsiteY24" fmla="*/ 865116 h 865115"/>
                <a:gd name="connsiteX25" fmla="*/ 1866339 w 1866339"/>
                <a:gd name="connsiteY25" fmla="*/ 835163 h 865115"/>
                <a:gd name="connsiteX26" fmla="*/ 1839626 w 1866339"/>
                <a:gd name="connsiteY26" fmla="*/ 805210 h 86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66339" h="865115">
                  <a:moveTo>
                    <a:pt x="1839657" y="805210"/>
                  </a:moveTo>
                  <a:cubicBezTo>
                    <a:pt x="1833663" y="805210"/>
                    <a:pt x="1828126" y="807462"/>
                    <a:pt x="1823684" y="811214"/>
                  </a:cubicBezTo>
                  <a:lnTo>
                    <a:pt x="1475778" y="421112"/>
                  </a:lnTo>
                  <a:cubicBezTo>
                    <a:pt x="1475078" y="420328"/>
                    <a:pt x="1474105" y="419850"/>
                    <a:pt x="1473101" y="419850"/>
                  </a:cubicBezTo>
                  <a:lnTo>
                    <a:pt x="1002218" y="419850"/>
                  </a:lnTo>
                  <a:cubicBezTo>
                    <a:pt x="1001214" y="419850"/>
                    <a:pt x="1000241" y="420294"/>
                    <a:pt x="999541" y="421112"/>
                  </a:cubicBezTo>
                  <a:lnTo>
                    <a:pt x="696664" y="760690"/>
                  </a:lnTo>
                  <a:lnTo>
                    <a:pt x="191219" y="760690"/>
                  </a:lnTo>
                  <a:lnTo>
                    <a:pt x="30546" y="580530"/>
                  </a:lnTo>
                  <a:lnTo>
                    <a:pt x="30546" y="59565"/>
                  </a:lnTo>
                  <a:cubicBezTo>
                    <a:pt x="43477" y="57484"/>
                    <a:pt x="53426" y="45032"/>
                    <a:pt x="53426" y="29953"/>
                  </a:cubicBezTo>
                  <a:cubicBezTo>
                    <a:pt x="53426" y="13407"/>
                    <a:pt x="41469" y="0"/>
                    <a:pt x="26713" y="0"/>
                  </a:cubicBezTo>
                  <a:cubicBezTo>
                    <a:pt x="11957" y="0"/>
                    <a:pt x="0" y="13407"/>
                    <a:pt x="0" y="29953"/>
                  </a:cubicBezTo>
                  <a:cubicBezTo>
                    <a:pt x="0" y="45032"/>
                    <a:pt x="9949" y="57484"/>
                    <a:pt x="22879" y="59565"/>
                  </a:cubicBezTo>
                  <a:lnTo>
                    <a:pt x="22879" y="582304"/>
                  </a:lnTo>
                  <a:cubicBezTo>
                    <a:pt x="22879" y="583430"/>
                    <a:pt x="23275" y="584522"/>
                    <a:pt x="24005" y="585307"/>
                  </a:cubicBezTo>
                  <a:lnTo>
                    <a:pt x="186929" y="767991"/>
                  </a:lnTo>
                  <a:cubicBezTo>
                    <a:pt x="187629" y="768776"/>
                    <a:pt x="188602" y="769253"/>
                    <a:pt x="189606" y="769253"/>
                  </a:cubicBezTo>
                  <a:lnTo>
                    <a:pt x="698215" y="769253"/>
                  </a:lnTo>
                  <a:cubicBezTo>
                    <a:pt x="699219" y="769253"/>
                    <a:pt x="700193" y="768809"/>
                    <a:pt x="700893" y="767991"/>
                  </a:cubicBezTo>
                  <a:lnTo>
                    <a:pt x="1003770" y="428413"/>
                  </a:lnTo>
                  <a:lnTo>
                    <a:pt x="1471488" y="428413"/>
                  </a:lnTo>
                  <a:lnTo>
                    <a:pt x="1818268" y="817253"/>
                  </a:lnTo>
                  <a:cubicBezTo>
                    <a:pt x="1814921" y="822267"/>
                    <a:pt x="1812914" y="828442"/>
                    <a:pt x="1812914" y="835163"/>
                  </a:cubicBezTo>
                  <a:cubicBezTo>
                    <a:pt x="1812914" y="851708"/>
                    <a:pt x="1824870" y="865116"/>
                    <a:pt x="1839626" y="865116"/>
                  </a:cubicBezTo>
                  <a:cubicBezTo>
                    <a:pt x="1854383" y="865116"/>
                    <a:pt x="1866339" y="851708"/>
                    <a:pt x="1866339" y="835163"/>
                  </a:cubicBezTo>
                  <a:cubicBezTo>
                    <a:pt x="1866339" y="818617"/>
                    <a:pt x="1854383" y="805210"/>
                    <a:pt x="1839626" y="80521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0" name="Freeform 263">
              <a:extLst>
                <a:ext uri="{FF2B5EF4-FFF2-40B4-BE49-F238E27FC236}">
                  <a16:creationId xmlns:a16="http://schemas.microsoft.com/office/drawing/2014/main" id="{C0AA4DD0-A22B-F5F1-D451-67583D5AA40B}"/>
                </a:ext>
              </a:extLst>
            </p:cNvPr>
            <p:cNvSpPr/>
            <p:nvPr userDrawn="1"/>
          </p:nvSpPr>
          <p:spPr>
            <a:xfrm>
              <a:off x="3182379" y="5555258"/>
              <a:ext cx="980616" cy="552521"/>
            </a:xfrm>
            <a:custGeom>
              <a:avLst/>
              <a:gdLst>
                <a:gd name="connsiteX0" fmla="*/ 957646 w 980616"/>
                <a:gd name="connsiteY0" fmla="*/ 492992 h 552521"/>
                <a:gd name="connsiteX1" fmla="*/ 957646 w 980616"/>
                <a:gd name="connsiteY1" fmla="*/ 253779 h 552521"/>
                <a:gd name="connsiteX2" fmla="*/ 956521 w 980616"/>
                <a:gd name="connsiteY2" fmla="*/ 250777 h 552521"/>
                <a:gd name="connsiteX3" fmla="*/ 733995 w 980616"/>
                <a:gd name="connsiteY3" fmla="*/ 1262 h 552521"/>
                <a:gd name="connsiteX4" fmla="*/ 731317 w 980616"/>
                <a:gd name="connsiteY4" fmla="*/ 0 h 552521"/>
                <a:gd name="connsiteX5" fmla="*/ 296884 w 980616"/>
                <a:gd name="connsiteY5" fmla="*/ 0 h 552521"/>
                <a:gd name="connsiteX6" fmla="*/ 294207 w 980616"/>
                <a:gd name="connsiteY6" fmla="*/ 1262 h 552521"/>
                <a:gd name="connsiteX7" fmla="*/ 41591 w 980616"/>
                <a:gd name="connsiteY7" fmla="*/ 284516 h 552521"/>
                <a:gd name="connsiteX8" fmla="*/ 26713 w 980616"/>
                <a:gd name="connsiteY8" fmla="*/ 279433 h 552521"/>
                <a:gd name="connsiteX9" fmla="*/ 0 w 980616"/>
                <a:gd name="connsiteY9" fmla="*/ 309386 h 552521"/>
                <a:gd name="connsiteX10" fmla="*/ 26713 w 980616"/>
                <a:gd name="connsiteY10" fmla="*/ 339339 h 552521"/>
                <a:gd name="connsiteX11" fmla="*/ 53426 w 980616"/>
                <a:gd name="connsiteY11" fmla="*/ 309386 h 552521"/>
                <a:gd name="connsiteX12" fmla="*/ 47250 w 980616"/>
                <a:gd name="connsiteY12" fmla="*/ 290248 h 552521"/>
                <a:gd name="connsiteX13" fmla="*/ 298496 w 980616"/>
                <a:gd name="connsiteY13" fmla="*/ 8529 h 552521"/>
                <a:gd name="connsiteX14" fmla="*/ 729796 w 980616"/>
                <a:gd name="connsiteY14" fmla="*/ 8529 h 552521"/>
                <a:gd name="connsiteX15" fmla="*/ 950071 w 980616"/>
                <a:gd name="connsiteY15" fmla="*/ 255519 h 552521"/>
                <a:gd name="connsiteX16" fmla="*/ 950071 w 980616"/>
                <a:gd name="connsiteY16" fmla="*/ 492958 h 552521"/>
                <a:gd name="connsiteX17" fmla="*/ 927191 w 980616"/>
                <a:gd name="connsiteY17" fmla="*/ 522569 h 552521"/>
                <a:gd name="connsiteX18" fmla="*/ 953904 w 980616"/>
                <a:gd name="connsiteY18" fmla="*/ 552522 h 552521"/>
                <a:gd name="connsiteX19" fmla="*/ 980617 w 980616"/>
                <a:gd name="connsiteY19" fmla="*/ 522569 h 552521"/>
                <a:gd name="connsiteX20" fmla="*/ 957738 w 980616"/>
                <a:gd name="connsiteY20" fmla="*/ 492958 h 552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0616" h="552521">
                  <a:moveTo>
                    <a:pt x="957646" y="492992"/>
                  </a:moveTo>
                  <a:lnTo>
                    <a:pt x="957646" y="253779"/>
                  </a:lnTo>
                  <a:cubicBezTo>
                    <a:pt x="957646" y="252653"/>
                    <a:pt x="957251" y="251562"/>
                    <a:pt x="956521" y="250777"/>
                  </a:cubicBezTo>
                  <a:lnTo>
                    <a:pt x="733995" y="1262"/>
                  </a:lnTo>
                  <a:cubicBezTo>
                    <a:pt x="733295" y="477"/>
                    <a:pt x="732322" y="0"/>
                    <a:pt x="731317" y="0"/>
                  </a:cubicBezTo>
                  <a:lnTo>
                    <a:pt x="296884" y="0"/>
                  </a:lnTo>
                  <a:cubicBezTo>
                    <a:pt x="295880" y="0"/>
                    <a:pt x="294906" y="443"/>
                    <a:pt x="294207" y="1262"/>
                  </a:cubicBezTo>
                  <a:lnTo>
                    <a:pt x="41591" y="284516"/>
                  </a:lnTo>
                  <a:cubicBezTo>
                    <a:pt x="37331" y="281310"/>
                    <a:pt x="32220" y="279433"/>
                    <a:pt x="26713" y="279433"/>
                  </a:cubicBezTo>
                  <a:cubicBezTo>
                    <a:pt x="11957" y="279433"/>
                    <a:pt x="0" y="292841"/>
                    <a:pt x="0" y="309386"/>
                  </a:cubicBezTo>
                  <a:cubicBezTo>
                    <a:pt x="0" y="325932"/>
                    <a:pt x="11957" y="339339"/>
                    <a:pt x="26713" y="339339"/>
                  </a:cubicBezTo>
                  <a:cubicBezTo>
                    <a:pt x="41469" y="339339"/>
                    <a:pt x="53426" y="325932"/>
                    <a:pt x="53426" y="309386"/>
                  </a:cubicBezTo>
                  <a:cubicBezTo>
                    <a:pt x="53426" y="302120"/>
                    <a:pt x="51114" y="295433"/>
                    <a:pt x="47250" y="290248"/>
                  </a:cubicBezTo>
                  <a:lnTo>
                    <a:pt x="298496" y="8529"/>
                  </a:lnTo>
                  <a:lnTo>
                    <a:pt x="729796" y="8529"/>
                  </a:lnTo>
                  <a:lnTo>
                    <a:pt x="950071" y="255519"/>
                  </a:lnTo>
                  <a:lnTo>
                    <a:pt x="950071" y="492958"/>
                  </a:lnTo>
                  <a:cubicBezTo>
                    <a:pt x="937140" y="495039"/>
                    <a:pt x="927191" y="507490"/>
                    <a:pt x="927191" y="522569"/>
                  </a:cubicBezTo>
                  <a:cubicBezTo>
                    <a:pt x="927191" y="539115"/>
                    <a:pt x="939148" y="552522"/>
                    <a:pt x="953904" y="552522"/>
                  </a:cubicBezTo>
                  <a:cubicBezTo>
                    <a:pt x="968660" y="552522"/>
                    <a:pt x="980617" y="539115"/>
                    <a:pt x="980617" y="522569"/>
                  </a:cubicBezTo>
                  <a:cubicBezTo>
                    <a:pt x="980617" y="507490"/>
                    <a:pt x="970668" y="495039"/>
                    <a:pt x="957738" y="492958"/>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1" name="Freeform 264">
              <a:extLst>
                <a:ext uri="{FF2B5EF4-FFF2-40B4-BE49-F238E27FC236}">
                  <a16:creationId xmlns:a16="http://schemas.microsoft.com/office/drawing/2014/main" id="{4FFD9FB3-5377-8E4E-E4A7-E032A31EFBD0}"/>
                </a:ext>
              </a:extLst>
            </p:cNvPr>
            <p:cNvSpPr/>
            <p:nvPr userDrawn="1"/>
          </p:nvSpPr>
          <p:spPr>
            <a:xfrm>
              <a:off x="4242647" y="5708842"/>
              <a:ext cx="452232" cy="807495"/>
            </a:xfrm>
            <a:custGeom>
              <a:avLst/>
              <a:gdLst>
                <a:gd name="connsiteX0" fmla="*/ 429323 w 452232"/>
                <a:gd name="connsiteY0" fmla="*/ 747829 h 807495"/>
                <a:gd name="connsiteX1" fmla="*/ 429323 w 452232"/>
                <a:gd name="connsiteY1" fmla="*/ 653706 h 807495"/>
                <a:gd name="connsiteX2" fmla="*/ 428196 w 452232"/>
                <a:gd name="connsiteY2" fmla="*/ 650704 h 807495"/>
                <a:gd name="connsiteX3" fmla="*/ 335888 w 452232"/>
                <a:gd name="connsiteY3" fmla="*/ 547200 h 807495"/>
                <a:gd name="connsiteX4" fmla="*/ 335888 w 452232"/>
                <a:gd name="connsiteY4" fmla="*/ 290180 h 807495"/>
                <a:gd name="connsiteX5" fmla="*/ 334763 w 452232"/>
                <a:gd name="connsiteY5" fmla="*/ 287178 h 807495"/>
                <a:gd name="connsiteX6" fmla="*/ 102653 w 452232"/>
                <a:gd name="connsiteY6" fmla="*/ 26917 h 807495"/>
                <a:gd name="connsiteX7" fmla="*/ 99945 w 452232"/>
                <a:gd name="connsiteY7" fmla="*/ 25654 h 807495"/>
                <a:gd name="connsiteX8" fmla="*/ 53122 w 452232"/>
                <a:gd name="connsiteY8" fmla="*/ 25654 h 807495"/>
                <a:gd name="connsiteX9" fmla="*/ 26713 w 452232"/>
                <a:gd name="connsiteY9" fmla="*/ 0 h 807495"/>
                <a:gd name="connsiteX10" fmla="*/ 0 w 452232"/>
                <a:gd name="connsiteY10" fmla="*/ 29953 h 807495"/>
                <a:gd name="connsiteX11" fmla="*/ 26713 w 452232"/>
                <a:gd name="connsiteY11" fmla="*/ 59906 h 807495"/>
                <a:gd name="connsiteX12" fmla="*/ 53122 w 452232"/>
                <a:gd name="connsiteY12" fmla="*/ 34251 h 807495"/>
                <a:gd name="connsiteX13" fmla="*/ 98363 w 452232"/>
                <a:gd name="connsiteY13" fmla="*/ 34251 h 807495"/>
                <a:gd name="connsiteX14" fmla="*/ 328252 w 452232"/>
                <a:gd name="connsiteY14" fmla="*/ 292022 h 807495"/>
                <a:gd name="connsiteX15" fmla="*/ 328252 w 452232"/>
                <a:gd name="connsiteY15" fmla="*/ 549043 h 807495"/>
                <a:gd name="connsiteX16" fmla="*/ 329377 w 452232"/>
                <a:gd name="connsiteY16" fmla="*/ 552079 h 807495"/>
                <a:gd name="connsiteX17" fmla="*/ 421686 w 452232"/>
                <a:gd name="connsiteY17" fmla="*/ 655583 h 807495"/>
                <a:gd name="connsiteX18" fmla="*/ 421686 w 452232"/>
                <a:gd name="connsiteY18" fmla="*/ 747931 h 807495"/>
                <a:gd name="connsiteX19" fmla="*/ 398807 w 452232"/>
                <a:gd name="connsiteY19" fmla="*/ 777543 h 807495"/>
                <a:gd name="connsiteX20" fmla="*/ 425519 w 452232"/>
                <a:gd name="connsiteY20" fmla="*/ 807496 h 807495"/>
                <a:gd name="connsiteX21" fmla="*/ 452232 w 452232"/>
                <a:gd name="connsiteY21" fmla="*/ 777543 h 807495"/>
                <a:gd name="connsiteX22" fmla="*/ 429353 w 452232"/>
                <a:gd name="connsiteY22" fmla="*/ 747931 h 80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2232" h="807495">
                  <a:moveTo>
                    <a:pt x="429323" y="747829"/>
                  </a:moveTo>
                  <a:lnTo>
                    <a:pt x="429323" y="653706"/>
                  </a:lnTo>
                  <a:cubicBezTo>
                    <a:pt x="429323" y="652581"/>
                    <a:pt x="428927" y="651489"/>
                    <a:pt x="428196" y="650704"/>
                  </a:cubicBezTo>
                  <a:lnTo>
                    <a:pt x="335888" y="547200"/>
                  </a:lnTo>
                  <a:lnTo>
                    <a:pt x="335888" y="290180"/>
                  </a:lnTo>
                  <a:cubicBezTo>
                    <a:pt x="335888" y="289054"/>
                    <a:pt x="335493" y="287963"/>
                    <a:pt x="334763" y="287178"/>
                  </a:cubicBezTo>
                  <a:lnTo>
                    <a:pt x="102653" y="26917"/>
                  </a:lnTo>
                  <a:cubicBezTo>
                    <a:pt x="101953" y="26132"/>
                    <a:pt x="100980" y="25654"/>
                    <a:pt x="99945" y="25654"/>
                  </a:cubicBezTo>
                  <a:lnTo>
                    <a:pt x="53122" y="25654"/>
                  </a:lnTo>
                  <a:cubicBezTo>
                    <a:pt x="51266" y="11156"/>
                    <a:pt x="40161" y="0"/>
                    <a:pt x="26713" y="0"/>
                  </a:cubicBezTo>
                  <a:cubicBezTo>
                    <a:pt x="11957" y="0"/>
                    <a:pt x="0" y="13407"/>
                    <a:pt x="0" y="29953"/>
                  </a:cubicBezTo>
                  <a:cubicBezTo>
                    <a:pt x="0" y="46498"/>
                    <a:pt x="11957" y="59906"/>
                    <a:pt x="26713" y="59906"/>
                  </a:cubicBezTo>
                  <a:cubicBezTo>
                    <a:pt x="40161" y="59906"/>
                    <a:pt x="51266" y="48750"/>
                    <a:pt x="53122" y="34251"/>
                  </a:cubicBezTo>
                  <a:lnTo>
                    <a:pt x="98363" y="34251"/>
                  </a:lnTo>
                  <a:lnTo>
                    <a:pt x="328252" y="292022"/>
                  </a:lnTo>
                  <a:lnTo>
                    <a:pt x="328252" y="549043"/>
                  </a:lnTo>
                  <a:cubicBezTo>
                    <a:pt x="328252" y="550168"/>
                    <a:pt x="328647" y="551260"/>
                    <a:pt x="329377" y="552079"/>
                  </a:cubicBezTo>
                  <a:lnTo>
                    <a:pt x="421686" y="655583"/>
                  </a:lnTo>
                  <a:lnTo>
                    <a:pt x="421686" y="747931"/>
                  </a:lnTo>
                  <a:cubicBezTo>
                    <a:pt x="408755" y="750013"/>
                    <a:pt x="398807" y="762464"/>
                    <a:pt x="398807" y="777543"/>
                  </a:cubicBezTo>
                  <a:cubicBezTo>
                    <a:pt x="398807" y="794089"/>
                    <a:pt x="410763" y="807496"/>
                    <a:pt x="425519" y="807496"/>
                  </a:cubicBezTo>
                  <a:cubicBezTo>
                    <a:pt x="440275" y="807496"/>
                    <a:pt x="452232" y="794089"/>
                    <a:pt x="452232" y="777543"/>
                  </a:cubicBezTo>
                  <a:cubicBezTo>
                    <a:pt x="452232" y="762464"/>
                    <a:pt x="442283" y="750013"/>
                    <a:pt x="429353" y="747931"/>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2" name="Freeform 265">
              <a:extLst>
                <a:ext uri="{FF2B5EF4-FFF2-40B4-BE49-F238E27FC236}">
                  <a16:creationId xmlns:a16="http://schemas.microsoft.com/office/drawing/2014/main" id="{4197B97B-8F80-EE7B-3078-63211CDB7349}"/>
                </a:ext>
              </a:extLst>
            </p:cNvPr>
            <p:cNvSpPr/>
            <p:nvPr userDrawn="1"/>
          </p:nvSpPr>
          <p:spPr>
            <a:xfrm>
              <a:off x="2059162" y="4402863"/>
              <a:ext cx="2123609" cy="460992"/>
            </a:xfrm>
            <a:custGeom>
              <a:avLst/>
              <a:gdLst>
                <a:gd name="connsiteX0" fmla="*/ 2096928 w 2123609"/>
                <a:gd name="connsiteY0" fmla="*/ 223486 h 460992"/>
                <a:gd name="connsiteX1" fmla="*/ 2070732 w 2123609"/>
                <a:gd name="connsiteY1" fmla="*/ 247707 h 460992"/>
                <a:gd name="connsiteX2" fmla="*/ 1699369 w 2123609"/>
                <a:gd name="connsiteY2" fmla="*/ 247707 h 460992"/>
                <a:gd name="connsiteX3" fmla="*/ 1696691 w 2123609"/>
                <a:gd name="connsiteY3" fmla="*/ 248969 h 460992"/>
                <a:gd name="connsiteX4" fmla="*/ 1515239 w 2123609"/>
                <a:gd name="connsiteY4" fmla="*/ 452429 h 460992"/>
                <a:gd name="connsiteX5" fmla="*/ 406747 w 2123609"/>
                <a:gd name="connsiteY5" fmla="*/ 452429 h 460992"/>
                <a:gd name="connsiteX6" fmla="*/ 47158 w 2123609"/>
                <a:gd name="connsiteY6" fmla="*/ 49227 h 460992"/>
                <a:gd name="connsiteX7" fmla="*/ 53426 w 2123609"/>
                <a:gd name="connsiteY7" fmla="*/ 29953 h 460992"/>
                <a:gd name="connsiteX8" fmla="*/ 26713 w 2123609"/>
                <a:gd name="connsiteY8" fmla="*/ 0 h 460992"/>
                <a:gd name="connsiteX9" fmla="*/ 0 w 2123609"/>
                <a:gd name="connsiteY9" fmla="*/ 29953 h 460992"/>
                <a:gd name="connsiteX10" fmla="*/ 26713 w 2123609"/>
                <a:gd name="connsiteY10" fmla="*/ 59905 h 460992"/>
                <a:gd name="connsiteX11" fmla="*/ 41438 w 2123609"/>
                <a:gd name="connsiteY11" fmla="*/ 54925 h 460992"/>
                <a:gd name="connsiteX12" fmla="*/ 402457 w 2123609"/>
                <a:gd name="connsiteY12" fmla="*/ 459730 h 460992"/>
                <a:gd name="connsiteX13" fmla="*/ 405135 w 2123609"/>
                <a:gd name="connsiteY13" fmla="*/ 460992 h 460992"/>
                <a:gd name="connsiteX14" fmla="*/ 1516790 w 2123609"/>
                <a:gd name="connsiteY14" fmla="*/ 460992 h 460992"/>
                <a:gd name="connsiteX15" fmla="*/ 1519468 w 2123609"/>
                <a:gd name="connsiteY15" fmla="*/ 459730 h 460992"/>
                <a:gd name="connsiteX16" fmla="*/ 1700920 w 2123609"/>
                <a:gd name="connsiteY16" fmla="*/ 256270 h 460992"/>
                <a:gd name="connsiteX17" fmla="*/ 2070336 w 2123609"/>
                <a:gd name="connsiteY17" fmla="*/ 256270 h 460992"/>
                <a:gd name="connsiteX18" fmla="*/ 2096897 w 2123609"/>
                <a:gd name="connsiteY18" fmla="*/ 283357 h 460992"/>
                <a:gd name="connsiteX19" fmla="*/ 2123610 w 2123609"/>
                <a:gd name="connsiteY19" fmla="*/ 253404 h 460992"/>
                <a:gd name="connsiteX20" fmla="*/ 2096897 w 2123609"/>
                <a:gd name="connsiteY20" fmla="*/ 223451 h 46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23609" h="460992">
                  <a:moveTo>
                    <a:pt x="2096928" y="223486"/>
                  </a:moveTo>
                  <a:cubicBezTo>
                    <a:pt x="2083936" y="223486"/>
                    <a:pt x="2073105" y="233924"/>
                    <a:pt x="2070732" y="247707"/>
                  </a:cubicBezTo>
                  <a:lnTo>
                    <a:pt x="1699369" y="247707"/>
                  </a:lnTo>
                  <a:cubicBezTo>
                    <a:pt x="1698365" y="247707"/>
                    <a:pt x="1697391" y="248150"/>
                    <a:pt x="1696691" y="248969"/>
                  </a:cubicBezTo>
                  <a:lnTo>
                    <a:pt x="1515239" y="452429"/>
                  </a:lnTo>
                  <a:lnTo>
                    <a:pt x="406747" y="452429"/>
                  </a:lnTo>
                  <a:lnTo>
                    <a:pt x="47158" y="49227"/>
                  </a:lnTo>
                  <a:cubicBezTo>
                    <a:pt x="51083" y="44008"/>
                    <a:pt x="53426" y="37287"/>
                    <a:pt x="53426" y="29953"/>
                  </a:cubicBezTo>
                  <a:cubicBezTo>
                    <a:pt x="53426" y="13407"/>
                    <a:pt x="41469" y="0"/>
                    <a:pt x="26713" y="0"/>
                  </a:cubicBezTo>
                  <a:cubicBezTo>
                    <a:pt x="11957" y="0"/>
                    <a:pt x="0" y="13407"/>
                    <a:pt x="0" y="29953"/>
                  </a:cubicBezTo>
                  <a:cubicBezTo>
                    <a:pt x="0" y="46498"/>
                    <a:pt x="11957" y="59905"/>
                    <a:pt x="26713" y="59905"/>
                  </a:cubicBezTo>
                  <a:cubicBezTo>
                    <a:pt x="32159" y="59905"/>
                    <a:pt x="37209" y="58063"/>
                    <a:pt x="41438" y="54925"/>
                  </a:cubicBezTo>
                  <a:lnTo>
                    <a:pt x="402457" y="459730"/>
                  </a:lnTo>
                  <a:cubicBezTo>
                    <a:pt x="403157" y="460515"/>
                    <a:pt x="404130" y="460992"/>
                    <a:pt x="405135" y="460992"/>
                  </a:cubicBezTo>
                  <a:lnTo>
                    <a:pt x="1516790" y="460992"/>
                  </a:lnTo>
                  <a:cubicBezTo>
                    <a:pt x="1517794" y="460992"/>
                    <a:pt x="1518768" y="460549"/>
                    <a:pt x="1519468" y="459730"/>
                  </a:cubicBezTo>
                  <a:lnTo>
                    <a:pt x="1700920" y="256270"/>
                  </a:lnTo>
                  <a:lnTo>
                    <a:pt x="2070336" y="256270"/>
                  </a:lnTo>
                  <a:cubicBezTo>
                    <a:pt x="2071614" y="271485"/>
                    <a:pt x="2083024" y="283357"/>
                    <a:pt x="2096897" y="283357"/>
                  </a:cubicBezTo>
                  <a:cubicBezTo>
                    <a:pt x="2111653" y="283357"/>
                    <a:pt x="2123610" y="269950"/>
                    <a:pt x="2123610" y="253404"/>
                  </a:cubicBezTo>
                  <a:cubicBezTo>
                    <a:pt x="2123610" y="236858"/>
                    <a:pt x="2111653" y="223451"/>
                    <a:pt x="2096897" y="223451"/>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3" name="Freeform 266">
              <a:extLst>
                <a:ext uri="{FF2B5EF4-FFF2-40B4-BE49-F238E27FC236}">
                  <a16:creationId xmlns:a16="http://schemas.microsoft.com/office/drawing/2014/main" id="{501513BF-6CD3-1051-66A0-4CDBE724B350}"/>
                </a:ext>
              </a:extLst>
            </p:cNvPr>
            <p:cNvSpPr/>
            <p:nvPr userDrawn="1"/>
          </p:nvSpPr>
          <p:spPr>
            <a:xfrm>
              <a:off x="4082646" y="4255972"/>
              <a:ext cx="1049802" cy="1179994"/>
            </a:xfrm>
            <a:custGeom>
              <a:avLst/>
              <a:gdLst>
                <a:gd name="connsiteX0" fmla="*/ 1023090 w 1049802"/>
                <a:gd name="connsiteY0" fmla="*/ 1120089 h 1179994"/>
                <a:gd name="connsiteX1" fmla="*/ 1008608 w 1049802"/>
                <a:gd name="connsiteY1" fmla="*/ 1124899 h 1179994"/>
                <a:gd name="connsiteX2" fmla="*/ 48071 w 1049802"/>
                <a:gd name="connsiteY2" fmla="*/ 47863 h 1179994"/>
                <a:gd name="connsiteX3" fmla="*/ 53426 w 1049802"/>
                <a:gd name="connsiteY3" fmla="*/ 29953 h 1179994"/>
                <a:gd name="connsiteX4" fmla="*/ 26713 w 1049802"/>
                <a:gd name="connsiteY4" fmla="*/ 0 h 1179994"/>
                <a:gd name="connsiteX5" fmla="*/ 0 w 1049802"/>
                <a:gd name="connsiteY5" fmla="*/ 29953 h 1179994"/>
                <a:gd name="connsiteX6" fmla="*/ 26713 w 1049802"/>
                <a:gd name="connsiteY6" fmla="*/ 59906 h 1179994"/>
                <a:gd name="connsiteX7" fmla="*/ 42686 w 1049802"/>
                <a:gd name="connsiteY7" fmla="*/ 53901 h 1179994"/>
                <a:gd name="connsiteX8" fmla="*/ 1002857 w 1049802"/>
                <a:gd name="connsiteY8" fmla="*/ 1130528 h 1179994"/>
                <a:gd name="connsiteX9" fmla="*/ 996377 w 1049802"/>
                <a:gd name="connsiteY9" fmla="*/ 1150041 h 1179994"/>
                <a:gd name="connsiteX10" fmla="*/ 1023090 w 1049802"/>
                <a:gd name="connsiteY10" fmla="*/ 1179994 h 1179994"/>
                <a:gd name="connsiteX11" fmla="*/ 1049803 w 1049802"/>
                <a:gd name="connsiteY11" fmla="*/ 1150041 h 1179994"/>
                <a:gd name="connsiteX12" fmla="*/ 1023090 w 1049802"/>
                <a:gd name="connsiteY12" fmla="*/ 1120089 h 117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802" h="1179994">
                  <a:moveTo>
                    <a:pt x="1023090" y="1120089"/>
                  </a:moveTo>
                  <a:cubicBezTo>
                    <a:pt x="1017765" y="1120089"/>
                    <a:pt x="1012776" y="1121863"/>
                    <a:pt x="1008608" y="1124899"/>
                  </a:cubicBezTo>
                  <a:lnTo>
                    <a:pt x="48071" y="47863"/>
                  </a:lnTo>
                  <a:cubicBezTo>
                    <a:pt x="51418" y="42848"/>
                    <a:pt x="53426" y="36673"/>
                    <a:pt x="53426" y="29953"/>
                  </a:cubicBezTo>
                  <a:cubicBezTo>
                    <a:pt x="53426" y="13407"/>
                    <a:pt x="41469" y="0"/>
                    <a:pt x="26713" y="0"/>
                  </a:cubicBezTo>
                  <a:cubicBezTo>
                    <a:pt x="11957" y="0"/>
                    <a:pt x="0" y="13407"/>
                    <a:pt x="0" y="29953"/>
                  </a:cubicBezTo>
                  <a:cubicBezTo>
                    <a:pt x="0" y="46498"/>
                    <a:pt x="11957" y="59906"/>
                    <a:pt x="26713" y="59906"/>
                  </a:cubicBezTo>
                  <a:cubicBezTo>
                    <a:pt x="32706" y="59906"/>
                    <a:pt x="38244" y="57654"/>
                    <a:pt x="42686" y="53901"/>
                  </a:cubicBezTo>
                  <a:lnTo>
                    <a:pt x="1002857" y="1130528"/>
                  </a:lnTo>
                  <a:cubicBezTo>
                    <a:pt x="998841" y="1135782"/>
                    <a:pt x="996377" y="1142571"/>
                    <a:pt x="996377" y="1150041"/>
                  </a:cubicBezTo>
                  <a:cubicBezTo>
                    <a:pt x="996377" y="1166587"/>
                    <a:pt x="1008334" y="1179994"/>
                    <a:pt x="1023090" y="1179994"/>
                  </a:cubicBezTo>
                  <a:cubicBezTo>
                    <a:pt x="1037846" y="1179994"/>
                    <a:pt x="1049803" y="1166587"/>
                    <a:pt x="1049803" y="1150041"/>
                  </a:cubicBezTo>
                  <a:cubicBezTo>
                    <a:pt x="1049803" y="1133496"/>
                    <a:pt x="1037846" y="1120089"/>
                    <a:pt x="1023090" y="1120089"/>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4" name="Freeform 267">
              <a:extLst>
                <a:ext uri="{FF2B5EF4-FFF2-40B4-BE49-F238E27FC236}">
                  <a16:creationId xmlns:a16="http://schemas.microsoft.com/office/drawing/2014/main" id="{0247CCCD-E8F3-C99D-3949-5CE1AE71F714}"/>
                </a:ext>
              </a:extLst>
            </p:cNvPr>
            <p:cNvSpPr/>
            <p:nvPr userDrawn="1"/>
          </p:nvSpPr>
          <p:spPr>
            <a:xfrm>
              <a:off x="5228711" y="6305100"/>
              <a:ext cx="732899" cy="61986"/>
            </a:xfrm>
            <a:custGeom>
              <a:avLst/>
              <a:gdLst>
                <a:gd name="connsiteX0" fmla="*/ 706186 w 732899"/>
                <a:gd name="connsiteY0" fmla="*/ 2115 h 61986"/>
                <a:gd name="connsiteX1" fmla="*/ 679778 w 732899"/>
                <a:gd name="connsiteY1" fmla="*/ 27769 h 61986"/>
                <a:gd name="connsiteX2" fmla="*/ 53304 w 732899"/>
                <a:gd name="connsiteY2" fmla="*/ 27769 h 61986"/>
                <a:gd name="connsiteX3" fmla="*/ 26713 w 732899"/>
                <a:gd name="connsiteY3" fmla="*/ 0 h 61986"/>
                <a:gd name="connsiteX4" fmla="*/ 0 w 732899"/>
                <a:gd name="connsiteY4" fmla="*/ 29953 h 61986"/>
                <a:gd name="connsiteX5" fmla="*/ 26713 w 732899"/>
                <a:gd name="connsiteY5" fmla="*/ 59906 h 61986"/>
                <a:gd name="connsiteX6" fmla="*/ 52787 w 732899"/>
                <a:gd name="connsiteY6" fmla="*/ 36332 h 61986"/>
                <a:gd name="connsiteX7" fmla="*/ 679778 w 732899"/>
                <a:gd name="connsiteY7" fmla="*/ 36332 h 61986"/>
                <a:gd name="connsiteX8" fmla="*/ 706186 w 732899"/>
                <a:gd name="connsiteY8" fmla="*/ 61987 h 61986"/>
                <a:gd name="connsiteX9" fmla="*/ 732899 w 732899"/>
                <a:gd name="connsiteY9" fmla="*/ 32034 h 61986"/>
                <a:gd name="connsiteX10" fmla="*/ 706186 w 732899"/>
                <a:gd name="connsiteY10" fmla="*/ 2081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2899" h="61986">
                  <a:moveTo>
                    <a:pt x="706186" y="2115"/>
                  </a:moveTo>
                  <a:cubicBezTo>
                    <a:pt x="692739" y="2115"/>
                    <a:pt x="681634" y="13271"/>
                    <a:pt x="679778" y="27769"/>
                  </a:cubicBezTo>
                  <a:lnTo>
                    <a:pt x="53304" y="27769"/>
                  </a:lnTo>
                  <a:cubicBezTo>
                    <a:pt x="52300" y="12247"/>
                    <a:pt x="40799" y="0"/>
                    <a:pt x="26713" y="0"/>
                  </a:cubicBezTo>
                  <a:cubicBezTo>
                    <a:pt x="12626" y="0"/>
                    <a:pt x="0" y="13407"/>
                    <a:pt x="0" y="29953"/>
                  </a:cubicBezTo>
                  <a:cubicBezTo>
                    <a:pt x="0" y="46498"/>
                    <a:pt x="11957" y="59906"/>
                    <a:pt x="26713" y="59906"/>
                  </a:cubicBezTo>
                  <a:cubicBezTo>
                    <a:pt x="39522" y="59906"/>
                    <a:pt x="50201" y="49807"/>
                    <a:pt x="52787" y="36332"/>
                  </a:cubicBezTo>
                  <a:lnTo>
                    <a:pt x="679778" y="36332"/>
                  </a:lnTo>
                  <a:cubicBezTo>
                    <a:pt x="681634" y="50831"/>
                    <a:pt x="692739" y="61987"/>
                    <a:pt x="706186" y="61987"/>
                  </a:cubicBezTo>
                  <a:cubicBezTo>
                    <a:pt x="720942" y="61987"/>
                    <a:pt x="732899" y="48579"/>
                    <a:pt x="732899" y="32034"/>
                  </a:cubicBezTo>
                  <a:cubicBezTo>
                    <a:pt x="732899" y="15488"/>
                    <a:pt x="720942" y="2081"/>
                    <a:pt x="706186" y="2081"/>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5" name="Freeform 268">
              <a:extLst>
                <a:ext uri="{FF2B5EF4-FFF2-40B4-BE49-F238E27FC236}">
                  <a16:creationId xmlns:a16="http://schemas.microsoft.com/office/drawing/2014/main" id="{6A641A2F-7713-8993-2C2C-AD36CE8B745D}"/>
                </a:ext>
              </a:extLst>
            </p:cNvPr>
            <p:cNvSpPr/>
            <p:nvPr userDrawn="1"/>
          </p:nvSpPr>
          <p:spPr>
            <a:xfrm>
              <a:off x="5106282" y="6197911"/>
              <a:ext cx="1023545" cy="59905"/>
            </a:xfrm>
            <a:custGeom>
              <a:avLst/>
              <a:gdLst>
                <a:gd name="connsiteX0" fmla="*/ 996833 w 1023545"/>
                <a:gd name="connsiteY0" fmla="*/ 0 h 59905"/>
                <a:gd name="connsiteX1" fmla="*/ 970424 w 1023545"/>
                <a:gd name="connsiteY1" fmla="*/ 25654 h 59905"/>
                <a:gd name="connsiteX2" fmla="*/ 53121 w 1023545"/>
                <a:gd name="connsiteY2" fmla="*/ 25654 h 59905"/>
                <a:gd name="connsiteX3" fmla="*/ 26713 w 1023545"/>
                <a:gd name="connsiteY3" fmla="*/ 0 h 59905"/>
                <a:gd name="connsiteX4" fmla="*/ 0 w 1023545"/>
                <a:gd name="connsiteY4" fmla="*/ 29953 h 59905"/>
                <a:gd name="connsiteX5" fmla="*/ 26713 w 1023545"/>
                <a:gd name="connsiteY5" fmla="*/ 59906 h 59905"/>
                <a:gd name="connsiteX6" fmla="*/ 53121 w 1023545"/>
                <a:gd name="connsiteY6" fmla="*/ 34251 h 59905"/>
                <a:gd name="connsiteX7" fmla="*/ 970424 w 1023545"/>
                <a:gd name="connsiteY7" fmla="*/ 34251 h 59905"/>
                <a:gd name="connsiteX8" fmla="*/ 996833 w 1023545"/>
                <a:gd name="connsiteY8" fmla="*/ 59906 h 59905"/>
                <a:gd name="connsiteX9" fmla="*/ 1023546 w 1023545"/>
                <a:gd name="connsiteY9" fmla="*/ 29953 h 59905"/>
                <a:gd name="connsiteX10" fmla="*/ 996833 w 1023545"/>
                <a:gd name="connsiteY10" fmla="*/ 0 h 5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3545" h="59905">
                  <a:moveTo>
                    <a:pt x="996833" y="0"/>
                  </a:moveTo>
                  <a:cubicBezTo>
                    <a:pt x="983385" y="0"/>
                    <a:pt x="972280" y="11156"/>
                    <a:pt x="970424" y="25654"/>
                  </a:cubicBezTo>
                  <a:lnTo>
                    <a:pt x="53121" y="25654"/>
                  </a:lnTo>
                  <a:cubicBezTo>
                    <a:pt x="51265" y="11156"/>
                    <a:pt x="40160" y="0"/>
                    <a:pt x="26713" y="0"/>
                  </a:cubicBezTo>
                  <a:cubicBezTo>
                    <a:pt x="11957" y="0"/>
                    <a:pt x="0" y="13407"/>
                    <a:pt x="0" y="29953"/>
                  </a:cubicBezTo>
                  <a:cubicBezTo>
                    <a:pt x="0" y="46498"/>
                    <a:pt x="11957" y="59906"/>
                    <a:pt x="26713" y="59906"/>
                  </a:cubicBezTo>
                  <a:cubicBezTo>
                    <a:pt x="40160" y="59906"/>
                    <a:pt x="51265" y="48750"/>
                    <a:pt x="53121" y="34251"/>
                  </a:cubicBezTo>
                  <a:lnTo>
                    <a:pt x="970424" y="34251"/>
                  </a:lnTo>
                  <a:cubicBezTo>
                    <a:pt x="972280" y="48750"/>
                    <a:pt x="983385" y="59906"/>
                    <a:pt x="996833" y="59906"/>
                  </a:cubicBezTo>
                  <a:cubicBezTo>
                    <a:pt x="1011589" y="59906"/>
                    <a:pt x="1023546" y="46498"/>
                    <a:pt x="1023546" y="29953"/>
                  </a:cubicBezTo>
                  <a:cubicBezTo>
                    <a:pt x="1023546" y="13407"/>
                    <a:pt x="1011589" y="0"/>
                    <a:pt x="996833" y="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6" name="Freeform 269">
              <a:extLst>
                <a:ext uri="{FF2B5EF4-FFF2-40B4-BE49-F238E27FC236}">
                  <a16:creationId xmlns:a16="http://schemas.microsoft.com/office/drawing/2014/main" id="{93FF1726-C326-92EA-8B39-93329C04BB1F}"/>
                </a:ext>
              </a:extLst>
            </p:cNvPr>
            <p:cNvSpPr/>
            <p:nvPr userDrawn="1"/>
          </p:nvSpPr>
          <p:spPr>
            <a:xfrm>
              <a:off x="1891248" y="5840355"/>
              <a:ext cx="528688" cy="597382"/>
            </a:xfrm>
            <a:custGeom>
              <a:avLst/>
              <a:gdLst>
                <a:gd name="connsiteX0" fmla="*/ 501976 w 528688"/>
                <a:gd name="connsiteY0" fmla="*/ 0 h 597382"/>
                <a:gd name="connsiteX1" fmla="*/ 475263 w 528688"/>
                <a:gd name="connsiteY1" fmla="*/ 29953 h 597382"/>
                <a:gd name="connsiteX2" fmla="*/ 480405 w 528688"/>
                <a:gd name="connsiteY2" fmla="*/ 47556 h 597382"/>
                <a:gd name="connsiteX3" fmla="*/ 39947 w 528688"/>
                <a:gd name="connsiteY3" fmla="*/ 541435 h 597382"/>
                <a:gd name="connsiteX4" fmla="*/ 26713 w 528688"/>
                <a:gd name="connsiteY4" fmla="*/ 537478 h 597382"/>
                <a:gd name="connsiteX5" fmla="*/ 0 w 528688"/>
                <a:gd name="connsiteY5" fmla="*/ 567430 h 597382"/>
                <a:gd name="connsiteX6" fmla="*/ 26713 w 528688"/>
                <a:gd name="connsiteY6" fmla="*/ 597383 h 597382"/>
                <a:gd name="connsiteX7" fmla="*/ 53426 w 528688"/>
                <a:gd name="connsiteY7" fmla="*/ 567430 h 597382"/>
                <a:gd name="connsiteX8" fmla="*/ 46002 w 528688"/>
                <a:gd name="connsiteY8" fmla="*/ 546757 h 597382"/>
                <a:gd name="connsiteX9" fmla="*/ 485729 w 528688"/>
                <a:gd name="connsiteY9" fmla="*/ 53697 h 597382"/>
                <a:gd name="connsiteX10" fmla="*/ 501976 w 528688"/>
                <a:gd name="connsiteY10" fmla="*/ 59939 h 597382"/>
                <a:gd name="connsiteX11" fmla="*/ 528689 w 528688"/>
                <a:gd name="connsiteY11" fmla="*/ 29987 h 597382"/>
                <a:gd name="connsiteX12" fmla="*/ 501976 w 528688"/>
                <a:gd name="connsiteY12" fmla="*/ 34 h 597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688" h="597382">
                  <a:moveTo>
                    <a:pt x="501976" y="0"/>
                  </a:moveTo>
                  <a:cubicBezTo>
                    <a:pt x="487220" y="0"/>
                    <a:pt x="475263" y="13407"/>
                    <a:pt x="475263" y="29953"/>
                  </a:cubicBezTo>
                  <a:cubicBezTo>
                    <a:pt x="475263" y="36537"/>
                    <a:pt x="477180" y="42609"/>
                    <a:pt x="480405" y="47556"/>
                  </a:cubicBezTo>
                  <a:lnTo>
                    <a:pt x="39947" y="541435"/>
                  </a:lnTo>
                  <a:cubicBezTo>
                    <a:pt x="36053" y="538944"/>
                    <a:pt x="31520" y="537478"/>
                    <a:pt x="26713" y="537478"/>
                  </a:cubicBezTo>
                  <a:cubicBezTo>
                    <a:pt x="11957" y="537478"/>
                    <a:pt x="0" y="550885"/>
                    <a:pt x="0" y="567430"/>
                  </a:cubicBezTo>
                  <a:cubicBezTo>
                    <a:pt x="0" y="583976"/>
                    <a:pt x="11957" y="597383"/>
                    <a:pt x="26713" y="597383"/>
                  </a:cubicBezTo>
                  <a:cubicBezTo>
                    <a:pt x="41469" y="597383"/>
                    <a:pt x="53426" y="583976"/>
                    <a:pt x="53426" y="567430"/>
                  </a:cubicBezTo>
                  <a:cubicBezTo>
                    <a:pt x="53426" y="559413"/>
                    <a:pt x="50596" y="552113"/>
                    <a:pt x="46002" y="546757"/>
                  </a:cubicBezTo>
                  <a:lnTo>
                    <a:pt x="485729" y="53697"/>
                  </a:lnTo>
                  <a:cubicBezTo>
                    <a:pt x="490232" y="57586"/>
                    <a:pt x="495861" y="59939"/>
                    <a:pt x="501976" y="59939"/>
                  </a:cubicBezTo>
                  <a:cubicBezTo>
                    <a:pt x="516732" y="59939"/>
                    <a:pt x="528689" y="46533"/>
                    <a:pt x="528689" y="29987"/>
                  </a:cubicBezTo>
                  <a:cubicBezTo>
                    <a:pt x="528689" y="13441"/>
                    <a:pt x="516732" y="34"/>
                    <a:pt x="501976" y="3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7" name="Freeform 270">
              <a:extLst>
                <a:ext uri="{FF2B5EF4-FFF2-40B4-BE49-F238E27FC236}">
                  <a16:creationId xmlns:a16="http://schemas.microsoft.com/office/drawing/2014/main" id="{F541A980-D771-9961-F357-0188EF7D3651}"/>
                </a:ext>
              </a:extLst>
            </p:cNvPr>
            <p:cNvSpPr/>
            <p:nvPr userDrawn="1"/>
          </p:nvSpPr>
          <p:spPr>
            <a:xfrm>
              <a:off x="2316676" y="5913974"/>
              <a:ext cx="204666" cy="583600"/>
            </a:xfrm>
            <a:custGeom>
              <a:avLst/>
              <a:gdLst>
                <a:gd name="connsiteX0" fmla="*/ 203511 w 204666"/>
                <a:gd name="connsiteY0" fmla="*/ 69116 h 583600"/>
                <a:gd name="connsiteX1" fmla="*/ 184556 w 204666"/>
                <a:gd name="connsiteY1" fmla="*/ 47863 h 583600"/>
                <a:gd name="connsiteX2" fmla="*/ 189911 w 204666"/>
                <a:gd name="connsiteY2" fmla="*/ 29953 h 583600"/>
                <a:gd name="connsiteX3" fmla="*/ 163198 w 204666"/>
                <a:gd name="connsiteY3" fmla="*/ 0 h 583600"/>
                <a:gd name="connsiteX4" fmla="*/ 136485 w 204666"/>
                <a:gd name="connsiteY4" fmla="*/ 29953 h 583600"/>
                <a:gd name="connsiteX5" fmla="*/ 163198 w 204666"/>
                <a:gd name="connsiteY5" fmla="*/ 59906 h 583600"/>
                <a:gd name="connsiteX6" fmla="*/ 179171 w 204666"/>
                <a:gd name="connsiteY6" fmla="*/ 53901 h 583600"/>
                <a:gd name="connsiteX7" fmla="*/ 197000 w 204666"/>
                <a:gd name="connsiteY7" fmla="*/ 73893 h 583600"/>
                <a:gd name="connsiteX8" fmla="*/ 197000 w 204666"/>
                <a:gd name="connsiteY8" fmla="*/ 271997 h 583600"/>
                <a:gd name="connsiteX9" fmla="*/ 24005 w 204666"/>
                <a:gd name="connsiteY9" fmla="*/ 465973 h 583600"/>
                <a:gd name="connsiteX10" fmla="*/ 22879 w 204666"/>
                <a:gd name="connsiteY10" fmla="*/ 468975 h 583600"/>
                <a:gd name="connsiteX11" fmla="*/ 22879 w 204666"/>
                <a:gd name="connsiteY11" fmla="*/ 524036 h 583600"/>
                <a:gd name="connsiteX12" fmla="*/ 0 w 204666"/>
                <a:gd name="connsiteY12" fmla="*/ 553648 h 583600"/>
                <a:gd name="connsiteX13" fmla="*/ 26713 w 204666"/>
                <a:gd name="connsiteY13" fmla="*/ 583601 h 583600"/>
                <a:gd name="connsiteX14" fmla="*/ 53426 w 204666"/>
                <a:gd name="connsiteY14" fmla="*/ 553648 h 583600"/>
                <a:gd name="connsiteX15" fmla="*/ 30546 w 204666"/>
                <a:gd name="connsiteY15" fmla="*/ 524036 h 583600"/>
                <a:gd name="connsiteX16" fmla="*/ 30546 w 204666"/>
                <a:gd name="connsiteY16" fmla="*/ 470749 h 583600"/>
                <a:gd name="connsiteX17" fmla="*/ 203541 w 204666"/>
                <a:gd name="connsiteY17" fmla="*/ 276773 h 583600"/>
                <a:gd name="connsiteX18" fmla="*/ 204667 w 204666"/>
                <a:gd name="connsiteY18" fmla="*/ 273771 h 583600"/>
                <a:gd name="connsiteX19" fmla="*/ 204667 w 204666"/>
                <a:gd name="connsiteY19" fmla="*/ 72153 h 583600"/>
                <a:gd name="connsiteX20" fmla="*/ 203541 w 204666"/>
                <a:gd name="connsiteY20" fmla="*/ 69151 h 58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4666" h="583600">
                  <a:moveTo>
                    <a:pt x="203511" y="69116"/>
                  </a:moveTo>
                  <a:lnTo>
                    <a:pt x="184556" y="47863"/>
                  </a:lnTo>
                  <a:cubicBezTo>
                    <a:pt x="187903" y="42848"/>
                    <a:pt x="189911" y="36673"/>
                    <a:pt x="189911" y="29953"/>
                  </a:cubicBezTo>
                  <a:cubicBezTo>
                    <a:pt x="189911" y="13407"/>
                    <a:pt x="177954" y="0"/>
                    <a:pt x="163198" y="0"/>
                  </a:cubicBezTo>
                  <a:cubicBezTo>
                    <a:pt x="148442" y="0"/>
                    <a:pt x="136485" y="13407"/>
                    <a:pt x="136485" y="29953"/>
                  </a:cubicBezTo>
                  <a:cubicBezTo>
                    <a:pt x="136485" y="46498"/>
                    <a:pt x="148442" y="59906"/>
                    <a:pt x="163198" y="59906"/>
                  </a:cubicBezTo>
                  <a:cubicBezTo>
                    <a:pt x="169192" y="59906"/>
                    <a:pt x="174698" y="57654"/>
                    <a:pt x="179171" y="53901"/>
                  </a:cubicBezTo>
                  <a:lnTo>
                    <a:pt x="197000" y="73893"/>
                  </a:lnTo>
                  <a:lnTo>
                    <a:pt x="197000" y="271997"/>
                  </a:lnTo>
                  <a:lnTo>
                    <a:pt x="24005" y="465973"/>
                  </a:lnTo>
                  <a:cubicBezTo>
                    <a:pt x="23305" y="466758"/>
                    <a:pt x="22879" y="467849"/>
                    <a:pt x="22879" y="468975"/>
                  </a:cubicBezTo>
                  <a:lnTo>
                    <a:pt x="22879" y="524036"/>
                  </a:lnTo>
                  <a:cubicBezTo>
                    <a:pt x="9949" y="526118"/>
                    <a:pt x="0" y="538569"/>
                    <a:pt x="0" y="553648"/>
                  </a:cubicBezTo>
                  <a:cubicBezTo>
                    <a:pt x="0" y="570194"/>
                    <a:pt x="11957" y="583601"/>
                    <a:pt x="26713" y="583601"/>
                  </a:cubicBezTo>
                  <a:cubicBezTo>
                    <a:pt x="41469" y="583601"/>
                    <a:pt x="53426" y="570194"/>
                    <a:pt x="53426" y="553648"/>
                  </a:cubicBezTo>
                  <a:cubicBezTo>
                    <a:pt x="53426" y="538569"/>
                    <a:pt x="43477" y="526118"/>
                    <a:pt x="30546" y="524036"/>
                  </a:cubicBezTo>
                  <a:lnTo>
                    <a:pt x="30546" y="470749"/>
                  </a:lnTo>
                  <a:lnTo>
                    <a:pt x="203541" y="276773"/>
                  </a:lnTo>
                  <a:cubicBezTo>
                    <a:pt x="204241" y="275988"/>
                    <a:pt x="204667" y="274897"/>
                    <a:pt x="204667" y="273771"/>
                  </a:cubicBezTo>
                  <a:lnTo>
                    <a:pt x="204667" y="72153"/>
                  </a:lnTo>
                  <a:cubicBezTo>
                    <a:pt x="204667" y="71027"/>
                    <a:pt x="204271" y="69935"/>
                    <a:pt x="203541" y="69151"/>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8" name="Freeform 271">
              <a:extLst>
                <a:ext uri="{FF2B5EF4-FFF2-40B4-BE49-F238E27FC236}">
                  <a16:creationId xmlns:a16="http://schemas.microsoft.com/office/drawing/2014/main" id="{33B4BC35-C188-718B-6D98-7FA2A5CEC5A1}"/>
                </a:ext>
              </a:extLst>
            </p:cNvPr>
            <p:cNvSpPr/>
            <p:nvPr userDrawn="1"/>
          </p:nvSpPr>
          <p:spPr>
            <a:xfrm>
              <a:off x="2224093" y="3478831"/>
              <a:ext cx="1023059" cy="921609"/>
            </a:xfrm>
            <a:custGeom>
              <a:avLst/>
              <a:gdLst>
                <a:gd name="connsiteX0" fmla="*/ 996316 w 1023059"/>
                <a:gd name="connsiteY0" fmla="*/ 0 h 921609"/>
                <a:gd name="connsiteX1" fmla="*/ 969603 w 1023059"/>
                <a:gd name="connsiteY1" fmla="*/ 29953 h 921609"/>
                <a:gd name="connsiteX2" fmla="*/ 974958 w 1023059"/>
                <a:gd name="connsiteY2" fmla="*/ 47863 h 921609"/>
                <a:gd name="connsiteX3" fmla="*/ 680752 w 1023059"/>
                <a:gd name="connsiteY3" fmla="*/ 377752 h 921609"/>
                <a:gd name="connsiteX4" fmla="*/ 472738 w 1023059"/>
                <a:gd name="connsiteY4" fmla="*/ 377752 h 921609"/>
                <a:gd name="connsiteX5" fmla="*/ 470061 w 1023059"/>
                <a:gd name="connsiteY5" fmla="*/ 379015 h 921609"/>
                <a:gd name="connsiteX6" fmla="*/ 37362 w 1023059"/>
                <a:gd name="connsiteY6" fmla="*/ 864194 h 921609"/>
                <a:gd name="connsiteX7" fmla="*/ 26713 w 1023059"/>
                <a:gd name="connsiteY7" fmla="*/ 861704 h 921609"/>
                <a:gd name="connsiteX8" fmla="*/ 0 w 1023059"/>
                <a:gd name="connsiteY8" fmla="*/ 891657 h 921609"/>
                <a:gd name="connsiteX9" fmla="*/ 26713 w 1023059"/>
                <a:gd name="connsiteY9" fmla="*/ 921609 h 921609"/>
                <a:gd name="connsiteX10" fmla="*/ 53426 w 1023059"/>
                <a:gd name="connsiteY10" fmla="*/ 891657 h 921609"/>
                <a:gd name="connsiteX11" fmla="*/ 43994 w 1023059"/>
                <a:gd name="connsiteY11" fmla="*/ 868868 h 921609"/>
                <a:gd name="connsiteX12" fmla="*/ 474320 w 1023059"/>
                <a:gd name="connsiteY12" fmla="*/ 386349 h 921609"/>
                <a:gd name="connsiteX13" fmla="*/ 682364 w 1023059"/>
                <a:gd name="connsiteY13" fmla="*/ 386349 h 921609"/>
                <a:gd name="connsiteX14" fmla="*/ 685041 w 1023059"/>
                <a:gd name="connsiteY14" fmla="*/ 385087 h 921609"/>
                <a:gd name="connsiteX15" fmla="*/ 980374 w 1023059"/>
                <a:gd name="connsiteY15" fmla="*/ 53935 h 921609"/>
                <a:gd name="connsiteX16" fmla="*/ 996347 w 1023059"/>
                <a:gd name="connsiteY16" fmla="*/ 59939 h 921609"/>
                <a:gd name="connsiteX17" fmla="*/ 1023059 w 1023059"/>
                <a:gd name="connsiteY17" fmla="*/ 29987 h 921609"/>
                <a:gd name="connsiteX18" fmla="*/ 996347 w 1023059"/>
                <a:gd name="connsiteY18" fmla="*/ 34 h 9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23059" h="921609">
                  <a:moveTo>
                    <a:pt x="996316" y="0"/>
                  </a:moveTo>
                  <a:cubicBezTo>
                    <a:pt x="981560" y="0"/>
                    <a:pt x="969603" y="13407"/>
                    <a:pt x="969603" y="29953"/>
                  </a:cubicBezTo>
                  <a:cubicBezTo>
                    <a:pt x="969603" y="36673"/>
                    <a:pt x="971611" y="42882"/>
                    <a:pt x="974958" y="47863"/>
                  </a:cubicBezTo>
                  <a:lnTo>
                    <a:pt x="680752" y="377752"/>
                  </a:lnTo>
                  <a:lnTo>
                    <a:pt x="472738" y="377752"/>
                  </a:lnTo>
                  <a:cubicBezTo>
                    <a:pt x="471734" y="377752"/>
                    <a:pt x="470761" y="378196"/>
                    <a:pt x="470061" y="379015"/>
                  </a:cubicBezTo>
                  <a:lnTo>
                    <a:pt x="37362" y="864194"/>
                  </a:lnTo>
                  <a:cubicBezTo>
                    <a:pt x="34106" y="862591"/>
                    <a:pt x="30486" y="861704"/>
                    <a:pt x="26713" y="861704"/>
                  </a:cubicBezTo>
                  <a:cubicBezTo>
                    <a:pt x="11957" y="861704"/>
                    <a:pt x="0" y="875111"/>
                    <a:pt x="0" y="891657"/>
                  </a:cubicBezTo>
                  <a:cubicBezTo>
                    <a:pt x="0" y="908202"/>
                    <a:pt x="11957" y="921609"/>
                    <a:pt x="26713" y="921609"/>
                  </a:cubicBezTo>
                  <a:cubicBezTo>
                    <a:pt x="41469" y="921609"/>
                    <a:pt x="53426" y="908202"/>
                    <a:pt x="53426" y="891657"/>
                  </a:cubicBezTo>
                  <a:cubicBezTo>
                    <a:pt x="53426" y="882514"/>
                    <a:pt x="49775" y="874360"/>
                    <a:pt x="43994" y="868868"/>
                  </a:cubicBezTo>
                  <a:lnTo>
                    <a:pt x="474320" y="386349"/>
                  </a:lnTo>
                  <a:lnTo>
                    <a:pt x="682364" y="386349"/>
                  </a:lnTo>
                  <a:cubicBezTo>
                    <a:pt x="683368" y="386349"/>
                    <a:pt x="684342" y="385906"/>
                    <a:pt x="685041" y="385087"/>
                  </a:cubicBezTo>
                  <a:lnTo>
                    <a:pt x="980374" y="53935"/>
                  </a:lnTo>
                  <a:cubicBezTo>
                    <a:pt x="984846" y="57688"/>
                    <a:pt x="990353" y="59939"/>
                    <a:pt x="996347" y="59939"/>
                  </a:cubicBezTo>
                  <a:cubicBezTo>
                    <a:pt x="1011102" y="59939"/>
                    <a:pt x="1023059" y="46533"/>
                    <a:pt x="1023059" y="29987"/>
                  </a:cubicBezTo>
                  <a:cubicBezTo>
                    <a:pt x="1023059" y="13441"/>
                    <a:pt x="1011102" y="34"/>
                    <a:pt x="996347" y="3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89" name="Freeform 272">
              <a:extLst>
                <a:ext uri="{FF2B5EF4-FFF2-40B4-BE49-F238E27FC236}">
                  <a16:creationId xmlns:a16="http://schemas.microsoft.com/office/drawing/2014/main" id="{DE7681B4-245F-58A9-526E-EC3D52071E05}"/>
                </a:ext>
              </a:extLst>
            </p:cNvPr>
            <p:cNvSpPr/>
            <p:nvPr userDrawn="1"/>
          </p:nvSpPr>
          <p:spPr>
            <a:xfrm>
              <a:off x="1829699" y="4949551"/>
              <a:ext cx="307623" cy="920756"/>
            </a:xfrm>
            <a:custGeom>
              <a:avLst/>
              <a:gdLst>
                <a:gd name="connsiteX0" fmla="*/ 306468 w 307623"/>
                <a:gd name="connsiteY0" fmla="*/ 221473 h 920756"/>
                <a:gd name="connsiteX1" fmla="*/ 152641 w 307623"/>
                <a:gd name="connsiteY1" fmla="*/ 48989 h 920756"/>
                <a:gd name="connsiteX2" fmla="*/ 158726 w 307623"/>
                <a:gd name="connsiteY2" fmla="*/ 29953 h 920756"/>
                <a:gd name="connsiteX3" fmla="*/ 132013 w 307623"/>
                <a:gd name="connsiteY3" fmla="*/ 0 h 920756"/>
                <a:gd name="connsiteX4" fmla="*/ 105300 w 307623"/>
                <a:gd name="connsiteY4" fmla="*/ 29953 h 920756"/>
                <a:gd name="connsiteX5" fmla="*/ 132013 w 307623"/>
                <a:gd name="connsiteY5" fmla="*/ 59905 h 920756"/>
                <a:gd name="connsiteX6" fmla="*/ 147012 w 307623"/>
                <a:gd name="connsiteY6" fmla="*/ 54754 h 920756"/>
                <a:gd name="connsiteX7" fmla="*/ 299987 w 307623"/>
                <a:gd name="connsiteY7" fmla="*/ 226283 h 920756"/>
                <a:gd name="connsiteX8" fmla="*/ 299987 w 307623"/>
                <a:gd name="connsiteY8" fmla="*/ 572002 h 920756"/>
                <a:gd name="connsiteX9" fmla="*/ 39248 w 307623"/>
                <a:gd name="connsiteY9" fmla="*/ 864365 h 920756"/>
                <a:gd name="connsiteX10" fmla="*/ 26713 w 307623"/>
                <a:gd name="connsiteY10" fmla="*/ 860851 h 920756"/>
                <a:gd name="connsiteX11" fmla="*/ 0 w 307623"/>
                <a:gd name="connsiteY11" fmla="*/ 890804 h 920756"/>
                <a:gd name="connsiteX12" fmla="*/ 26713 w 307623"/>
                <a:gd name="connsiteY12" fmla="*/ 920757 h 920756"/>
                <a:gd name="connsiteX13" fmla="*/ 53426 w 307623"/>
                <a:gd name="connsiteY13" fmla="*/ 890804 h 920756"/>
                <a:gd name="connsiteX14" fmla="*/ 45454 w 307623"/>
                <a:gd name="connsiteY14" fmla="*/ 869482 h 920756"/>
                <a:gd name="connsiteX15" fmla="*/ 306498 w 307623"/>
                <a:gd name="connsiteY15" fmla="*/ 576777 h 920756"/>
                <a:gd name="connsiteX16" fmla="*/ 307624 w 307623"/>
                <a:gd name="connsiteY16" fmla="*/ 573775 h 920756"/>
                <a:gd name="connsiteX17" fmla="*/ 307624 w 307623"/>
                <a:gd name="connsiteY17" fmla="*/ 224509 h 920756"/>
                <a:gd name="connsiteX18" fmla="*/ 306498 w 307623"/>
                <a:gd name="connsiteY18" fmla="*/ 221473 h 920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7623" h="920756">
                  <a:moveTo>
                    <a:pt x="306468" y="221473"/>
                  </a:moveTo>
                  <a:lnTo>
                    <a:pt x="152641" y="48989"/>
                  </a:lnTo>
                  <a:cubicBezTo>
                    <a:pt x="156444" y="43803"/>
                    <a:pt x="158726" y="37185"/>
                    <a:pt x="158726" y="29953"/>
                  </a:cubicBezTo>
                  <a:cubicBezTo>
                    <a:pt x="158726" y="13407"/>
                    <a:pt x="146768" y="0"/>
                    <a:pt x="132013" y="0"/>
                  </a:cubicBezTo>
                  <a:cubicBezTo>
                    <a:pt x="117257" y="0"/>
                    <a:pt x="105300" y="13407"/>
                    <a:pt x="105300" y="29953"/>
                  </a:cubicBezTo>
                  <a:cubicBezTo>
                    <a:pt x="105300" y="46498"/>
                    <a:pt x="117257" y="59905"/>
                    <a:pt x="132013" y="59905"/>
                  </a:cubicBezTo>
                  <a:cubicBezTo>
                    <a:pt x="137580" y="59905"/>
                    <a:pt x="142722" y="57995"/>
                    <a:pt x="147012" y="54754"/>
                  </a:cubicBezTo>
                  <a:lnTo>
                    <a:pt x="299987" y="226283"/>
                  </a:lnTo>
                  <a:lnTo>
                    <a:pt x="299987" y="572002"/>
                  </a:lnTo>
                  <a:lnTo>
                    <a:pt x="39248" y="864365"/>
                  </a:lnTo>
                  <a:cubicBezTo>
                    <a:pt x="35506" y="862113"/>
                    <a:pt x="31246" y="860851"/>
                    <a:pt x="26713" y="860851"/>
                  </a:cubicBezTo>
                  <a:cubicBezTo>
                    <a:pt x="11957" y="860851"/>
                    <a:pt x="0" y="874258"/>
                    <a:pt x="0" y="890804"/>
                  </a:cubicBezTo>
                  <a:cubicBezTo>
                    <a:pt x="0" y="907349"/>
                    <a:pt x="11957" y="920757"/>
                    <a:pt x="26713" y="920757"/>
                  </a:cubicBezTo>
                  <a:cubicBezTo>
                    <a:pt x="41469" y="920757"/>
                    <a:pt x="53426" y="907349"/>
                    <a:pt x="53426" y="890804"/>
                  </a:cubicBezTo>
                  <a:cubicBezTo>
                    <a:pt x="53426" y="882446"/>
                    <a:pt x="50383" y="874906"/>
                    <a:pt x="45454" y="869482"/>
                  </a:cubicBezTo>
                  <a:lnTo>
                    <a:pt x="306498" y="576777"/>
                  </a:lnTo>
                  <a:cubicBezTo>
                    <a:pt x="307198" y="575993"/>
                    <a:pt x="307624" y="574901"/>
                    <a:pt x="307624" y="573775"/>
                  </a:cubicBezTo>
                  <a:lnTo>
                    <a:pt x="307624" y="224509"/>
                  </a:lnTo>
                  <a:cubicBezTo>
                    <a:pt x="307624" y="223383"/>
                    <a:pt x="307228" y="222292"/>
                    <a:pt x="306498" y="221473"/>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0" name="Freeform 273">
              <a:extLst>
                <a:ext uri="{FF2B5EF4-FFF2-40B4-BE49-F238E27FC236}">
                  <a16:creationId xmlns:a16="http://schemas.microsoft.com/office/drawing/2014/main" id="{CE739501-B3EC-A555-178C-3A0FFB64D31D}"/>
                </a:ext>
              </a:extLst>
            </p:cNvPr>
            <p:cNvSpPr/>
            <p:nvPr userDrawn="1"/>
          </p:nvSpPr>
          <p:spPr>
            <a:xfrm>
              <a:off x="815433" y="4734867"/>
              <a:ext cx="1441337" cy="1239012"/>
            </a:xfrm>
            <a:custGeom>
              <a:avLst/>
              <a:gdLst>
                <a:gd name="connsiteX0" fmla="*/ 1440242 w 1441337"/>
                <a:gd name="connsiteY0" fmla="*/ 355748 h 1239012"/>
                <a:gd name="connsiteX1" fmla="*/ 1124100 w 1441337"/>
                <a:gd name="connsiteY1" fmla="*/ 1262 h 1239012"/>
                <a:gd name="connsiteX2" fmla="*/ 1121422 w 1441337"/>
                <a:gd name="connsiteY2" fmla="*/ 0 h 1239012"/>
                <a:gd name="connsiteX3" fmla="*/ 1023576 w 1441337"/>
                <a:gd name="connsiteY3" fmla="*/ 0 h 1239012"/>
                <a:gd name="connsiteX4" fmla="*/ 1020899 w 1441337"/>
                <a:gd name="connsiteY4" fmla="*/ 1262 h 1239012"/>
                <a:gd name="connsiteX5" fmla="*/ 776163 w 1441337"/>
                <a:gd name="connsiteY5" fmla="*/ 275681 h 1239012"/>
                <a:gd name="connsiteX6" fmla="*/ 235943 w 1441337"/>
                <a:gd name="connsiteY6" fmla="*/ 275681 h 1239012"/>
                <a:gd name="connsiteX7" fmla="*/ 48740 w 1441337"/>
                <a:gd name="connsiteY7" fmla="*/ 65773 h 1239012"/>
                <a:gd name="connsiteX8" fmla="*/ 53426 w 1441337"/>
                <a:gd name="connsiteY8" fmla="*/ 48818 h 1239012"/>
                <a:gd name="connsiteX9" fmla="*/ 26713 w 1441337"/>
                <a:gd name="connsiteY9" fmla="*/ 18866 h 1239012"/>
                <a:gd name="connsiteX10" fmla="*/ 0 w 1441337"/>
                <a:gd name="connsiteY10" fmla="*/ 48818 h 1239012"/>
                <a:gd name="connsiteX11" fmla="*/ 26713 w 1441337"/>
                <a:gd name="connsiteY11" fmla="*/ 78771 h 1239012"/>
                <a:gd name="connsiteX12" fmla="*/ 43538 w 1441337"/>
                <a:gd name="connsiteY12" fmla="*/ 72050 h 1239012"/>
                <a:gd name="connsiteX13" fmla="*/ 231623 w 1441337"/>
                <a:gd name="connsiteY13" fmla="*/ 282948 h 1239012"/>
                <a:gd name="connsiteX14" fmla="*/ 234300 w 1441337"/>
                <a:gd name="connsiteY14" fmla="*/ 284210 h 1239012"/>
                <a:gd name="connsiteX15" fmla="*/ 777684 w 1441337"/>
                <a:gd name="connsiteY15" fmla="*/ 284210 h 1239012"/>
                <a:gd name="connsiteX16" fmla="*/ 780362 w 1441337"/>
                <a:gd name="connsiteY16" fmla="*/ 282948 h 1239012"/>
                <a:gd name="connsiteX17" fmla="*/ 1025098 w 1441337"/>
                <a:gd name="connsiteY17" fmla="*/ 8529 h 1239012"/>
                <a:gd name="connsiteX18" fmla="*/ 1119779 w 1441337"/>
                <a:gd name="connsiteY18" fmla="*/ 8529 h 1239012"/>
                <a:gd name="connsiteX19" fmla="*/ 1433701 w 1441337"/>
                <a:gd name="connsiteY19" fmla="*/ 360525 h 1239012"/>
                <a:gd name="connsiteX20" fmla="*/ 1433701 w 1441337"/>
                <a:gd name="connsiteY20" fmla="*/ 822882 h 1239012"/>
                <a:gd name="connsiteX21" fmla="*/ 1113573 w 1441337"/>
                <a:gd name="connsiteY21" fmla="*/ 1181837 h 1239012"/>
                <a:gd name="connsiteX22" fmla="*/ 1102498 w 1441337"/>
                <a:gd name="connsiteY22" fmla="*/ 1179107 h 1239012"/>
                <a:gd name="connsiteX23" fmla="*/ 1075785 w 1441337"/>
                <a:gd name="connsiteY23" fmla="*/ 1209060 h 1239012"/>
                <a:gd name="connsiteX24" fmla="*/ 1102498 w 1441337"/>
                <a:gd name="connsiteY24" fmla="*/ 1239013 h 1239012"/>
                <a:gd name="connsiteX25" fmla="*/ 1129211 w 1441337"/>
                <a:gd name="connsiteY25" fmla="*/ 1209060 h 1239012"/>
                <a:gd name="connsiteX26" fmla="*/ 1120114 w 1441337"/>
                <a:gd name="connsiteY26" fmla="*/ 1186579 h 1239012"/>
                <a:gd name="connsiteX27" fmla="*/ 1440212 w 1441337"/>
                <a:gd name="connsiteY27" fmla="*/ 827657 h 1239012"/>
                <a:gd name="connsiteX28" fmla="*/ 1441337 w 1441337"/>
                <a:gd name="connsiteY28" fmla="*/ 824656 h 1239012"/>
                <a:gd name="connsiteX29" fmla="*/ 1441337 w 1441337"/>
                <a:gd name="connsiteY29" fmla="*/ 358785 h 1239012"/>
                <a:gd name="connsiteX30" fmla="*/ 1440212 w 1441337"/>
                <a:gd name="connsiteY30" fmla="*/ 355783 h 123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41337" h="1239012">
                  <a:moveTo>
                    <a:pt x="1440242" y="355748"/>
                  </a:moveTo>
                  <a:lnTo>
                    <a:pt x="1124100" y="1262"/>
                  </a:lnTo>
                  <a:cubicBezTo>
                    <a:pt x="1123400" y="478"/>
                    <a:pt x="1122426" y="0"/>
                    <a:pt x="1121422" y="0"/>
                  </a:cubicBezTo>
                  <a:lnTo>
                    <a:pt x="1023576" y="0"/>
                  </a:lnTo>
                  <a:cubicBezTo>
                    <a:pt x="1022573" y="0"/>
                    <a:pt x="1021599" y="444"/>
                    <a:pt x="1020899" y="1262"/>
                  </a:cubicBezTo>
                  <a:lnTo>
                    <a:pt x="776163" y="275681"/>
                  </a:lnTo>
                  <a:lnTo>
                    <a:pt x="235943" y="275681"/>
                  </a:lnTo>
                  <a:lnTo>
                    <a:pt x="48740" y="65773"/>
                  </a:lnTo>
                  <a:cubicBezTo>
                    <a:pt x="51692" y="60963"/>
                    <a:pt x="53426" y="55130"/>
                    <a:pt x="53426" y="48818"/>
                  </a:cubicBezTo>
                  <a:cubicBezTo>
                    <a:pt x="53426" y="32273"/>
                    <a:pt x="41469" y="18866"/>
                    <a:pt x="26713" y="18866"/>
                  </a:cubicBezTo>
                  <a:cubicBezTo>
                    <a:pt x="11957" y="18866"/>
                    <a:pt x="0" y="32273"/>
                    <a:pt x="0" y="48818"/>
                  </a:cubicBezTo>
                  <a:cubicBezTo>
                    <a:pt x="0" y="65364"/>
                    <a:pt x="11957" y="78771"/>
                    <a:pt x="26713" y="78771"/>
                  </a:cubicBezTo>
                  <a:cubicBezTo>
                    <a:pt x="33102" y="78771"/>
                    <a:pt x="38944" y="76247"/>
                    <a:pt x="43538" y="72050"/>
                  </a:cubicBezTo>
                  <a:lnTo>
                    <a:pt x="231623" y="282948"/>
                  </a:lnTo>
                  <a:cubicBezTo>
                    <a:pt x="232323" y="283732"/>
                    <a:pt x="233296" y="284210"/>
                    <a:pt x="234300" y="284210"/>
                  </a:cubicBezTo>
                  <a:lnTo>
                    <a:pt x="777684" y="284210"/>
                  </a:lnTo>
                  <a:cubicBezTo>
                    <a:pt x="778688" y="284210"/>
                    <a:pt x="779662" y="283766"/>
                    <a:pt x="780362" y="282948"/>
                  </a:cubicBezTo>
                  <a:lnTo>
                    <a:pt x="1025098" y="8529"/>
                  </a:lnTo>
                  <a:lnTo>
                    <a:pt x="1119779" y="8529"/>
                  </a:lnTo>
                  <a:lnTo>
                    <a:pt x="1433701" y="360525"/>
                  </a:lnTo>
                  <a:lnTo>
                    <a:pt x="1433701" y="822882"/>
                  </a:lnTo>
                  <a:lnTo>
                    <a:pt x="1113573" y="1181837"/>
                  </a:lnTo>
                  <a:cubicBezTo>
                    <a:pt x="1110196" y="1180097"/>
                    <a:pt x="1106453" y="1179107"/>
                    <a:pt x="1102498" y="1179107"/>
                  </a:cubicBezTo>
                  <a:cubicBezTo>
                    <a:pt x="1087742" y="1179107"/>
                    <a:pt x="1075785" y="1192515"/>
                    <a:pt x="1075785" y="1209060"/>
                  </a:cubicBezTo>
                  <a:cubicBezTo>
                    <a:pt x="1075785" y="1225606"/>
                    <a:pt x="1087742" y="1239013"/>
                    <a:pt x="1102498" y="1239013"/>
                  </a:cubicBezTo>
                  <a:cubicBezTo>
                    <a:pt x="1117254" y="1239013"/>
                    <a:pt x="1129211" y="1225606"/>
                    <a:pt x="1129211" y="1209060"/>
                  </a:cubicBezTo>
                  <a:cubicBezTo>
                    <a:pt x="1129211" y="1200088"/>
                    <a:pt x="1125682" y="1192071"/>
                    <a:pt x="1120114" y="1186579"/>
                  </a:cubicBezTo>
                  <a:lnTo>
                    <a:pt x="1440212" y="827657"/>
                  </a:lnTo>
                  <a:cubicBezTo>
                    <a:pt x="1440911" y="826873"/>
                    <a:pt x="1441337" y="825781"/>
                    <a:pt x="1441337" y="824656"/>
                  </a:cubicBezTo>
                  <a:lnTo>
                    <a:pt x="1441337" y="358785"/>
                  </a:lnTo>
                  <a:cubicBezTo>
                    <a:pt x="1441337" y="357659"/>
                    <a:pt x="1440942" y="356567"/>
                    <a:pt x="1440212" y="355783"/>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1" name="Freeform 274">
              <a:extLst>
                <a:ext uri="{FF2B5EF4-FFF2-40B4-BE49-F238E27FC236}">
                  <a16:creationId xmlns:a16="http://schemas.microsoft.com/office/drawing/2014/main" id="{C1428046-84D3-C9F0-28DB-4FCF43D99A48}"/>
                </a:ext>
              </a:extLst>
            </p:cNvPr>
            <p:cNvSpPr/>
            <p:nvPr userDrawn="1"/>
          </p:nvSpPr>
          <p:spPr>
            <a:xfrm>
              <a:off x="1063759" y="5130803"/>
              <a:ext cx="777623" cy="467610"/>
            </a:xfrm>
            <a:custGeom>
              <a:avLst/>
              <a:gdLst>
                <a:gd name="connsiteX0" fmla="*/ 754714 w 777623"/>
                <a:gd name="connsiteY0" fmla="*/ 408012 h 467610"/>
                <a:gd name="connsiteX1" fmla="*/ 754714 w 777623"/>
                <a:gd name="connsiteY1" fmla="*/ 193669 h 467610"/>
                <a:gd name="connsiteX2" fmla="*/ 753588 w 777623"/>
                <a:gd name="connsiteY2" fmla="*/ 190667 h 467610"/>
                <a:gd name="connsiteX3" fmla="*/ 607550 w 777623"/>
                <a:gd name="connsiteY3" fmla="*/ 26917 h 467610"/>
                <a:gd name="connsiteX4" fmla="*/ 604872 w 777623"/>
                <a:gd name="connsiteY4" fmla="*/ 25654 h 467610"/>
                <a:gd name="connsiteX5" fmla="*/ 53122 w 777623"/>
                <a:gd name="connsiteY5" fmla="*/ 25654 h 467610"/>
                <a:gd name="connsiteX6" fmla="*/ 26713 w 777623"/>
                <a:gd name="connsiteY6" fmla="*/ 0 h 467610"/>
                <a:gd name="connsiteX7" fmla="*/ 0 w 777623"/>
                <a:gd name="connsiteY7" fmla="*/ 29953 h 467610"/>
                <a:gd name="connsiteX8" fmla="*/ 26713 w 777623"/>
                <a:gd name="connsiteY8" fmla="*/ 59905 h 467610"/>
                <a:gd name="connsiteX9" fmla="*/ 53122 w 777623"/>
                <a:gd name="connsiteY9" fmla="*/ 34251 h 467610"/>
                <a:gd name="connsiteX10" fmla="*/ 603290 w 777623"/>
                <a:gd name="connsiteY10" fmla="*/ 34251 h 467610"/>
                <a:gd name="connsiteX11" fmla="*/ 747077 w 777623"/>
                <a:gd name="connsiteY11" fmla="*/ 195477 h 467610"/>
                <a:gd name="connsiteX12" fmla="*/ 747077 w 777623"/>
                <a:gd name="connsiteY12" fmla="*/ 408046 h 467610"/>
                <a:gd name="connsiteX13" fmla="*/ 724198 w 777623"/>
                <a:gd name="connsiteY13" fmla="*/ 437658 h 467610"/>
                <a:gd name="connsiteX14" fmla="*/ 750911 w 777623"/>
                <a:gd name="connsiteY14" fmla="*/ 467610 h 467610"/>
                <a:gd name="connsiteX15" fmla="*/ 777624 w 777623"/>
                <a:gd name="connsiteY15" fmla="*/ 437658 h 467610"/>
                <a:gd name="connsiteX16" fmla="*/ 754744 w 777623"/>
                <a:gd name="connsiteY16" fmla="*/ 408046 h 467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7623" h="467610">
                  <a:moveTo>
                    <a:pt x="754714" y="408012"/>
                  </a:moveTo>
                  <a:lnTo>
                    <a:pt x="754714" y="193669"/>
                  </a:lnTo>
                  <a:cubicBezTo>
                    <a:pt x="754714" y="192543"/>
                    <a:pt x="754318" y="191452"/>
                    <a:pt x="753588" y="190667"/>
                  </a:cubicBezTo>
                  <a:lnTo>
                    <a:pt x="607550" y="26917"/>
                  </a:lnTo>
                  <a:cubicBezTo>
                    <a:pt x="606850" y="26132"/>
                    <a:pt x="605877" y="25654"/>
                    <a:pt x="604872" y="25654"/>
                  </a:cubicBezTo>
                  <a:lnTo>
                    <a:pt x="53122" y="25654"/>
                  </a:lnTo>
                  <a:cubicBezTo>
                    <a:pt x="51266" y="11156"/>
                    <a:pt x="40161" y="0"/>
                    <a:pt x="26713" y="0"/>
                  </a:cubicBezTo>
                  <a:cubicBezTo>
                    <a:pt x="11957" y="0"/>
                    <a:pt x="0" y="13407"/>
                    <a:pt x="0" y="29953"/>
                  </a:cubicBezTo>
                  <a:cubicBezTo>
                    <a:pt x="0" y="46498"/>
                    <a:pt x="11957" y="59905"/>
                    <a:pt x="26713" y="59905"/>
                  </a:cubicBezTo>
                  <a:cubicBezTo>
                    <a:pt x="40161" y="59905"/>
                    <a:pt x="51266" y="48750"/>
                    <a:pt x="53122" y="34251"/>
                  </a:cubicBezTo>
                  <a:lnTo>
                    <a:pt x="603290" y="34251"/>
                  </a:lnTo>
                  <a:lnTo>
                    <a:pt x="747077" y="195477"/>
                  </a:lnTo>
                  <a:lnTo>
                    <a:pt x="747077" y="408046"/>
                  </a:lnTo>
                  <a:cubicBezTo>
                    <a:pt x="734147" y="410127"/>
                    <a:pt x="724198" y="422579"/>
                    <a:pt x="724198" y="437658"/>
                  </a:cubicBezTo>
                  <a:cubicBezTo>
                    <a:pt x="724198" y="454203"/>
                    <a:pt x="736155" y="467610"/>
                    <a:pt x="750911" y="467610"/>
                  </a:cubicBezTo>
                  <a:cubicBezTo>
                    <a:pt x="765667" y="467610"/>
                    <a:pt x="777624" y="454203"/>
                    <a:pt x="777624" y="437658"/>
                  </a:cubicBezTo>
                  <a:cubicBezTo>
                    <a:pt x="777624" y="422579"/>
                    <a:pt x="767675" y="410127"/>
                    <a:pt x="754744" y="40804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2" name="Freeform 275">
              <a:extLst>
                <a:ext uri="{FF2B5EF4-FFF2-40B4-BE49-F238E27FC236}">
                  <a16:creationId xmlns:a16="http://schemas.microsoft.com/office/drawing/2014/main" id="{87FD40F8-7BB5-AD6B-CC70-C272C3C536CE}"/>
                </a:ext>
              </a:extLst>
            </p:cNvPr>
            <p:cNvSpPr/>
            <p:nvPr userDrawn="1"/>
          </p:nvSpPr>
          <p:spPr>
            <a:xfrm>
              <a:off x="391100" y="3379899"/>
              <a:ext cx="777623" cy="467610"/>
            </a:xfrm>
            <a:custGeom>
              <a:avLst/>
              <a:gdLst>
                <a:gd name="connsiteX0" fmla="*/ 754714 w 777623"/>
                <a:gd name="connsiteY0" fmla="*/ 408012 h 467610"/>
                <a:gd name="connsiteX1" fmla="*/ 754714 w 777623"/>
                <a:gd name="connsiteY1" fmla="*/ 193669 h 467610"/>
                <a:gd name="connsiteX2" fmla="*/ 753588 w 777623"/>
                <a:gd name="connsiteY2" fmla="*/ 190667 h 467610"/>
                <a:gd name="connsiteX3" fmla="*/ 607550 w 777623"/>
                <a:gd name="connsiteY3" fmla="*/ 26917 h 467610"/>
                <a:gd name="connsiteX4" fmla="*/ 604872 w 777623"/>
                <a:gd name="connsiteY4" fmla="*/ 25654 h 467610"/>
                <a:gd name="connsiteX5" fmla="*/ 53121 w 777623"/>
                <a:gd name="connsiteY5" fmla="*/ 25654 h 467610"/>
                <a:gd name="connsiteX6" fmla="*/ 26713 w 777623"/>
                <a:gd name="connsiteY6" fmla="*/ 0 h 467610"/>
                <a:gd name="connsiteX7" fmla="*/ 0 w 777623"/>
                <a:gd name="connsiteY7" fmla="*/ 29953 h 467610"/>
                <a:gd name="connsiteX8" fmla="*/ 26713 w 777623"/>
                <a:gd name="connsiteY8" fmla="*/ 59905 h 467610"/>
                <a:gd name="connsiteX9" fmla="*/ 53121 w 777623"/>
                <a:gd name="connsiteY9" fmla="*/ 34251 h 467610"/>
                <a:gd name="connsiteX10" fmla="*/ 603290 w 777623"/>
                <a:gd name="connsiteY10" fmla="*/ 34251 h 467610"/>
                <a:gd name="connsiteX11" fmla="*/ 747077 w 777623"/>
                <a:gd name="connsiteY11" fmla="*/ 195477 h 467610"/>
                <a:gd name="connsiteX12" fmla="*/ 747077 w 777623"/>
                <a:gd name="connsiteY12" fmla="*/ 408046 h 467610"/>
                <a:gd name="connsiteX13" fmla="*/ 724198 w 777623"/>
                <a:gd name="connsiteY13" fmla="*/ 437658 h 467610"/>
                <a:gd name="connsiteX14" fmla="*/ 750911 w 777623"/>
                <a:gd name="connsiteY14" fmla="*/ 467610 h 467610"/>
                <a:gd name="connsiteX15" fmla="*/ 777624 w 777623"/>
                <a:gd name="connsiteY15" fmla="*/ 437658 h 467610"/>
                <a:gd name="connsiteX16" fmla="*/ 754744 w 777623"/>
                <a:gd name="connsiteY16" fmla="*/ 408046 h 467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7623" h="467610">
                  <a:moveTo>
                    <a:pt x="754714" y="408012"/>
                  </a:moveTo>
                  <a:lnTo>
                    <a:pt x="754714" y="193669"/>
                  </a:lnTo>
                  <a:cubicBezTo>
                    <a:pt x="754714" y="192543"/>
                    <a:pt x="754318" y="191452"/>
                    <a:pt x="753588" y="190667"/>
                  </a:cubicBezTo>
                  <a:lnTo>
                    <a:pt x="607550" y="26917"/>
                  </a:lnTo>
                  <a:cubicBezTo>
                    <a:pt x="606850" y="26132"/>
                    <a:pt x="605876" y="25654"/>
                    <a:pt x="604872" y="25654"/>
                  </a:cubicBezTo>
                  <a:lnTo>
                    <a:pt x="53121" y="25654"/>
                  </a:lnTo>
                  <a:cubicBezTo>
                    <a:pt x="51266" y="11156"/>
                    <a:pt x="40161" y="0"/>
                    <a:pt x="26713" y="0"/>
                  </a:cubicBezTo>
                  <a:cubicBezTo>
                    <a:pt x="11957" y="0"/>
                    <a:pt x="0" y="13407"/>
                    <a:pt x="0" y="29953"/>
                  </a:cubicBezTo>
                  <a:cubicBezTo>
                    <a:pt x="0" y="46498"/>
                    <a:pt x="11957" y="59905"/>
                    <a:pt x="26713" y="59905"/>
                  </a:cubicBezTo>
                  <a:cubicBezTo>
                    <a:pt x="40161" y="59905"/>
                    <a:pt x="51266" y="48750"/>
                    <a:pt x="53121" y="34251"/>
                  </a:cubicBezTo>
                  <a:lnTo>
                    <a:pt x="603290" y="34251"/>
                  </a:lnTo>
                  <a:lnTo>
                    <a:pt x="747077" y="195477"/>
                  </a:lnTo>
                  <a:lnTo>
                    <a:pt x="747077" y="408046"/>
                  </a:lnTo>
                  <a:cubicBezTo>
                    <a:pt x="734147" y="410127"/>
                    <a:pt x="724198" y="422579"/>
                    <a:pt x="724198" y="437658"/>
                  </a:cubicBezTo>
                  <a:cubicBezTo>
                    <a:pt x="724198" y="454203"/>
                    <a:pt x="736155" y="467610"/>
                    <a:pt x="750911" y="467610"/>
                  </a:cubicBezTo>
                  <a:cubicBezTo>
                    <a:pt x="765667" y="467610"/>
                    <a:pt x="777624" y="454203"/>
                    <a:pt x="777624" y="437658"/>
                  </a:cubicBezTo>
                  <a:cubicBezTo>
                    <a:pt x="777624" y="422579"/>
                    <a:pt x="767675" y="410127"/>
                    <a:pt x="754744" y="40804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3" name="Freeform 276">
              <a:extLst>
                <a:ext uri="{FF2B5EF4-FFF2-40B4-BE49-F238E27FC236}">
                  <a16:creationId xmlns:a16="http://schemas.microsoft.com/office/drawing/2014/main" id="{B54D14D4-0FD2-AEE7-6AE4-CE484D43AFD5}"/>
                </a:ext>
              </a:extLst>
            </p:cNvPr>
            <p:cNvSpPr/>
            <p:nvPr userDrawn="1"/>
          </p:nvSpPr>
          <p:spPr>
            <a:xfrm>
              <a:off x="344672" y="3441714"/>
              <a:ext cx="777623" cy="467610"/>
            </a:xfrm>
            <a:custGeom>
              <a:avLst/>
              <a:gdLst>
                <a:gd name="connsiteX0" fmla="*/ 754714 w 777623"/>
                <a:gd name="connsiteY0" fmla="*/ 408012 h 467610"/>
                <a:gd name="connsiteX1" fmla="*/ 754714 w 777623"/>
                <a:gd name="connsiteY1" fmla="*/ 193669 h 467610"/>
                <a:gd name="connsiteX2" fmla="*/ 753588 w 777623"/>
                <a:gd name="connsiteY2" fmla="*/ 190667 h 467610"/>
                <a:gd name="connsiteX3" fmla="*/ 607550 w 777623"/>
                <a:gd name="connsiteY3" fmla="*/ 26917 h 467610"/>
                <a:gd name="connsiteX4" fmla="*/ 604872 w 777623"/>
                <a:gd name="connsiteY4" fmla="*/ 25654 h 467610"/>
                <a:gd name="connsiteX5" fmla="*/ 53121 w 777623"/>
                <a:gd name="connsiteY5" fmla="*/ 25654 h 467610"/>
                <a:gd name="connsiteX6" fmla="*/ 26713 w 777623"/>
                <a:gd name="connsiteY6" fmla="*/ 0 h 467610"/>
                <a:gd name="connsiteX7" fmla="*/ 0 w 777623"/>
                <a:gd name="connsiteY7" fmla="*/ 29953 h 467610"/>
                <a:gd name="connsiteX8" fmla="*/ 26713 w 777623"/>
                <a:gd name="connsiteY8" fmla="*/ 59905 h 467610"/>
                <a:gd name="connsiteX9" fmla="*/ 53121 w 777623"/>
                <a:gd name="connsiteY9" fmla="*/ 34251 h 467610"/>
                <a:gd name="connsiteX10" fmla="*/ 603290 w 777623"/>
                <a:gd name="connsiteY10" fmla="*/ 34251 h 467610"/>
                <a:gd name="connsiteX11" fmla="*/ 747077 w 777623"/>
                <a:gd name="connsiteY11" fmla="*/ 195477 h 467610"/>
                <a:gd name="connsiteX12" fmla="*/ 747077 w 777623"/>
                <a:gd name="connsiteY12" fmla="*/ 408046 h 467610"/>
                <a:gd name="connsiteX13" fmla="*/ 724198 w 777623"/>
                <a:gd name="connsiteY13" fmla="*/ 437658 h 467610"/>
                <a:gd name="connsiteX14" fmla="*/ 750911 w 777623"/>
                <a:gd name="connsiteY14" fmla="*/ 467610 h 467610"/>
                <a:gd name="connsiteX15" fmla="*/ 777624 w 777623"/>
                <a:gd name="connsiteY15" fmla="*/ 437658 h 467610"/>
                <a:gd name="connsiteX16" fmla="*/ 754744 w 777623"/>
                <a:gd name="connsiteY16" fmla="*/ 408046 h 467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7623" h="467610">
                  <a:moveTo>
                    <a:pt x="754714" y="408012"/>
                  </a:moveTo>
                  <a:lnTo>
                    <a:pt x="754714" y="193669"/>
                  </a:lnTo>
                  <a:cubicBezTo>
                    <a:pt x="754714" y="192543"/>
                    <a:pt x="754318" y="191452"/>
                    <a:pt x="753588" y="190667"/>
                  </a:cubicBezTo>
                  <a:lnTo>
                    <a:pt x="607550" y="26917"/>
                  </a:lnTo>
                  <a:cubicBezTo>
                    <a:pt x="606850" y="26132"/>
                    <a:pt x="605876" y="25654"/>
                    <a:pt x="604872" y="25654"/>
                  </a:cubicBezTo>
                  <a:lnTo>
                    <a:pt x="53121" y="25654"/>
                  </a:lnTo>
                  <a:cubicBezTo>
                    <a:pt x="51266" y="11156"/>
                    <a:pt x="40161" y="0"/>
                    <a:pt x="26713" y="0"/>
                  </a:cubicBezTo>
                  <a:cubicBezTo>
                    <a:pt x="11957" y="0"/>
                    <a:pt x="0" y="13407"/>
                    <a:pt x="0" y="29953"/>
                  </a:cubicBezTo>
                  <a:cubicBezTo>
                    <a:pt x="0" y="46498"/>
                    <a:pt x="11957" y="59905"/>
                    <a:pt x="26713" y="59905"/>
                  </a:cubicBezTo>
                  <a:cubicBezTo>
                    <a:pt x="40161" y="59905"/>
                    <a:pt x="51266" y="48750"/>
                    <a:pt x="53121" y="34251"/>
                  </a:cubicBezTo>
                  <a:lnTo>
                    <a:pt x="603290" y="34251"/>
                  </a:lnTo>
                  <a:lnTo>
                    <a:pt x="747077" y="195477"/>
                  </a:lnTo>
                  <a:lnTo>
                    <a:pt x="747077" y="408046"/>
                  </a:lnTo>
                  <a:cubicBezTo>
                    <a:pt x="734147" y="410127"/>
                    <a:pt x="724198" y="422579"/>
                    <a:pt x="724198" y="437658"/>
                  </a:cubicBezTo>
                  <a:cubicBezTo>
                    <a:pt x="724198" y="454203"/>
                    <a:pt x="736155" y="467610"/>
                    <a:pt x="750911" y="467610"/>
                  </a:cubicBezTo>
                  <a:cubicBezTo>
                    <a:pt x="765667" y="467610"/>
                    <a:pt x="777624" y="454203"/>
                    <a:pt x="777624" y="437658"/>
                  </a:cubicBezTo>
                  <a:cubicBezTo>
                    <a:pt x="777624" y="422579"/>
                    <a:pt x="767675" y="410127"/>
                    <a:pt x="754744" y="40804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4" name="Freeform 277">
              <a:extLst>
                <a:ext uri="{FF2B5EF4-FFF2-40B4-BE49-F238E27FC236}">
                  <a16:creationId xmlns:a16="http://schemas.microsoft.com/office/drawing/2014/main" id="{6BE73978-85BF-22CD-B092-BBB3BC44F07C}"/>
                </a:ext>
              </a:extLst>
            </p:cNvPr>
            <p:cNvSpPr/>
            <p:nvPr userDrawn="1"/>
          </p:nvSpPr>
          <p:spPr>
            <a:xfrm>
              <a:off x="721999" y="4850107"/>
              <a:ext cx="295362" cy="1099176"/>
            </a:xfrm>
            <a:custGeom>
              <a:avLst/>
              <a:gdLst>
                <a:gd name="connsiteX0" fmla="*/ 272453 w 295362"/>
                <a:gd name="connsiteY0" fmla="*/ 1039578 h 1099176"/>
                <a:gd name="connsiteX1" fmla="*/ 272453 w 295362"/>
                <a:gd name="connsiteY1" fmla="*/ 292261 h 1099176"/>
                <a:gd name="connsiteX2" fmla="*/ 271327 w 295362"/>
                <a:gd name="connsiteY2" fmla="*/ 289259 h 1099176"/>
                <a:gd name="connsiteX3" fmla="*/ 51053 w 295362"/>
                <a:gd name="connsiteY3" fmla="*/ 42268 h 1099176"/>
                <a:gd name="connsiteX4" fmla="*/ 53426 w 295362"/>
                <a:gd name="connsiteY4" fmla="*/ 29953 h 1099176"/>
                <a:gd name="connsiteX5" fmla="*/ 26713 w 295362"/>
                <a:gd name="connsiteY5" fmla="*/ 0 h 1099176"/>
                <a:gd name="connsiteX6" fmla="*/ 0 w 295362"/>
                <a:gd name="connsiteY6" fmla="*/ 29953 h 1099176"/>
                <a:gd name="connsiteX7" fmla="*/ 26713 w 295362"/>
                <a:gd name="connsiteY7" fmla="*/ 59906 h 1099176"/>
                <a:gd name="connsiteX8" fmla="*/ 46824 w 295362"/>
                <a:gd name="connsiteY8" fmla="*/ 49637 h 1099176"/>
                <a:gd name="connsiteX9" fmla="*/ 264816 w 295362"/>
                <a:gd name="connsiteY9" fmla="*/ 294069 h 1099176"/>
                <a:gd name="connsiteX10" fmla="*/ 264816 w 295362"/>
                <a:gd name="connsiteY10" fmla="*/ 1039612 h 1099176"/>
                <a:gd name="connsiteX11" fmla="*/ 241937 w 295362"/>
                <a:gd name="connsiteY11" fmla="*/ 1069224 h 1099176"/>
                <a:gd name="connsiteX12" fmla="*/ 268650 w 295362"/>
                <a:gd name="connsiteY12" fmla="*/ 1099177 h 1099176"/>
                <a:gd name="connsiteX13" fmla="*/ 295362 w 295362"/>
                <a:gd name="connsiteY13" fmla="*/ 1069224 h 1099176"/>
                <a:gd name="connsiteX14" fmla="*/ 272483 w 295362"/>
                <a:gd name="connsiteY14" fmla="*/ 1039612 h 109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5362" h="1099176">
                  <a:moveTo>
                    <a:pt x="272453" y="1039578"/>
                  </a:moveTo>
                  <a:lnTo>
                    <a:pt x="272453" y="292261"/>
                  </a:lnTo>
                  <a:cubicBezTo>
                    <a:pt x="272453" y="291135"/>
                    <a:pt x="272057" y="290043"/>
                    <a:pt x="271327" y="289259"/>
                  </a:cubicBezTo>
                  <a:lnTo>
                    <a:pt x="51053" y="42268"/>
                  </a:lnTo>
                  <a:cubicBezTo>
                    <a:pt x="52574" y="38516"/>
                    <a:pt x="53426" y="34354"/>
                    <a:pt x="53426" y="29953"/>
                  </a:cubicBezTo>
                  <a:cubicBezTo>
                    <a:pt x="53426" y="13407"/>
                    <a:pt x="41469" y="0"/>
                    <a:pt x="26713" y="0"/>
                  </a:cubicBezTo>
                  <a:cubicBezTo>
                    <a:pt x="11957" y="0"/>
                    <a:pt x="0" y="13407"/>
                    <a:pt x="0" y="29953"/>
                  </a:cubicBezTo>
                  <a:cubicBezTo>
                    <a:pt x="0" y="46498"/>
                    <a:pt x="11957" y="59906"/>
                    <a:pt x="26713" y="59906"/>
                  </a:cubicBezTo>
                  <a:cubicBezTo>
                    <a:pt x="34745" y="59906"/>
                    <a:pt x="41925" y="55914"/>
                    <a:pt x="46824" y="49637"/>
                  </a:cubicBezTo>
                  <a:lnTo>
                    <a:pt x="264816" y="294069"/>
                  </a:lnTo>
                  <a:lnTo>
                    <a:pt x="264816" y="1039612"/>
                  </a:lnTo>
                  <a:cubicBezTo>
                    <a:pt x="251886" y="1041693"/>
                    <a:pt x="241937" y="1054145"/>
                    <a:pt x="241937" y="1069224"/>
                  </a:cubicBezTo>
                  <a:cubicBezTo>
                    <a:pt x="241937" y="1085769"/>
                    <a:pt x="253894" y="1099177"/>
                    <a:pt x="268650" y="1099177"/>
                  </a:cubicBezTo>
                  <a:cubicBezTo>
                    <a:pt x="283406" y="1099177"/>
                    <a:pt x="295362" y="1085769"/>
                    <a:pt x="295362" y="1069224"/>
                  </a:cubicBezTo>
                  <a:cubicBezTo>
                    <a:pt x="295362" y="1054145"/>
                    <a:pt x="285414" y="1041693"/>
                    <a:pt x="272483" y="1039612"/>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5" name="Freeform 278">
              <a:extLst>
                <a:ext uri="{FF2B5EF4-FFF2-40B4-BE49-F238E27FC236}">
                  <a16:creationId xmlns:a16="http://schemas.microsoft.com/office/drawing/2014/main" id="{E49E4DB3-A059-93B2-8435-642BAFFD57D3}"/>
                </a:ext>
              </a:extLst>
            </p:cNvPr>
            <p:cNvSpPr/>
            <p:nvPr userDrawn="1"/>
          </p:nvSpPr>
          <p:spPr>
            <a:xfrm>
              <a:off x="301530" y="4656267"/>
              <a:ext cx="2075295" cy="949685"/>
            </a:xfrm>
            <a:custGeom>
              <a:avLst/>
              <a:gdLst>
                <a:gd name="connsiteX0" fmla="*/ 2052356 w 2075295"/>
                <a:gd name="connsiteY0" fmla="*/ 890121 h 949685"/>
                <a:gd name="connsiteX1" fmla="*/ 2052356 w 2075295"/>
                <a:gd name="connsiteY1" fmla="*/ 477742 h 949685"/>
                <a:gd name="connsiteX2" fmla="*/ 2051230 w 2075295"/>
                <a:gd name="connsiteY2" fmla="*/ 474706 h 949685"/>
                <a:gd name="connsiteX3" fmla="*/ 1651876 w 2075295"/>
                <a:gd name="connsiteY3" fmla="*/ 26917 h 949685"/>
                <a:gd name="connsiteX4" fmla="*/ 1649199 w 2075295"/>
                <a:gd name="connsiteY4" fmla="*/ 25654 h 949685"/>
                <a:gd name="connsiteX5" fmla="*/ 53121 w 2075295"/>
                <a:gd name="connsiteY5" fmla="*/ 25654 h 949685"/>
                <a:gd name="connsiteX6" fmla="*/ 26713 w 2075295"/>
                <a:gd name="connsiteY6" fmla="*/ 0 h 949685"/>
                <a:gd name="connsiteX7" fmla="*/ 0 w 2075295"/>
                <a:gd name="connsiteY7" fmla="*/ 29952 h 949685"/>
                <a:gd name="connsiteX8" fmla="*/ 26713 w 2075295"/>
                <a:gd name="connsiteY8" fmla="*/ 59905 h 949685"/>
                <a:gd name="connsiteX9" fmla="*/ 53121 w 2075295"/>
                <a:gd name="connsiteY9" fmla="*/ 34251 h 949685"/>
                <a:gd name="connsiteX10" fmla="*/ 1647647 w 2075295"/>
                <a:gd name="connsiteY10" fmla="*/ 34251 h 949685"/>
                <a:gd name="connsiteX11" fmla="*/ 2044749 w 2075295"/>
                <a:gd name="connsiteY11" fmla="*/ 479516 h 949685"/>
                <a:gd name="connsiteX12" fmla="*/ 2044749 w 2075295"/>
                <a:gd name="connsiteY12" fmla="*/ 890121 h 949685"/>
                <a:gd name="connsiteX13" fmla="*/ 2021870 w 2075295"/>
                <a:gd name="connsiteY13" fmla="*/ 919733 h 949685"/>
                <a:gd name="connsiteX14" fmla="*/ 2048583 w 2075295"/>
                <a:gd name="connsiteY14" fmla="*/ 949686 h 949685"/>
                <a:gd name="connsiteX15" fmla="*/ 2075296 w 2075295"/>
                <a:gd name="connsiteY15" fmla="*/ 919733 h 949685"/>
                <a:gd name="connsiteX16" fmla="*/ 2052416 w 2075295"/>
                <a:gd name="connsiteY16" fmla="*/ 890121 h 949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75295" h="949685">
                  <a:moveTo>
                    <a:pt x="2052356" y="890121"/>
                  </a:moveTo>
                  <a:lnTo>
                    <a:pt x="2052356" y="477742"/>
                  </a:lnTo>
                  <a:cubicBezTo>
                    <a:pt x="2052356" y="476617"/>
                    <a:pt x="2051960" y="475525"/>
                    <a:pt x="2051230" y="474706"/>
                  </a:cubicBezTo>
                  <a:lnTo>
                    <a:pt x="1651876" y="26917"/>
                  </a:lnTo>
                  <a:cubicBezTo>
                    <a:pt x="1651176" y="26132"/>
                    <a:pt x="1650202" y="25654"/>
                    <a:pt x="1649199" y="25654"/>
                  </a:cubicBezTo>
                  <a:lnTo>
                    <a:pt x="53121" y="25654"/>
                  </a:lnTo>
                  <a:cubicBezTo>
                    <a:pt x="51266" y="11156"/>
                    <a:pt x="40161" y="0"/>
                    <a:pt x="26713" y="0"/>
                  </a:cubicBezTo>
                  <a:cubicBezTo>
                    <a:pt x="11957" y="0"/>
                    <a:pt x="0" y="13407"/>
                    <a:pt x="0" y="29952"/>
                  </a:cubicBezTo>
                  <a:cubicBezTo>
                    <a:pt x="0" y="46498"/>
                    <a:pt x="11957" y="59905"/>
                    <a:pt x="26713" y="59905"/>
                  </a:cubicBezTo>
                  <a:cubicBezTo>
                    <a:pt x="40161" y="59905"/>
                    <a:pt x="51266" y="48750"/>
                    <a:pt x="53121" y="34251"/>
                  </a:cubicBezTo>
                  <a:lnTo>
                    <a:pt x="1647647" y="34251"/>
                  </a:lnTo>
                  <a:lnTo>
                    <a:pt x="2044749" y="479516"/>
                  </a:lnTo>
                  <a:lnTo>
                    <a:pt x="2044749" y="890121"/>
                  </a:lnTo>
                  <a:cubicBezTo>
                    <a:pt x="2031819" y="892202"/>
                    <a:pt x="2021870" y="904654"/>
                    <a:pt x="2021870" y="919733"/>
                  </a:cubicBezTo>
                  <a:cubicBezTo>
                    <a:pt x="2021870" y="936278"/>
                    <a:pt x="2033827" y="949686"/>
                    <a:pt x="2048583" y="949686"/>
                  </a:cubicBezTo>
                  <a:cubicBezTo>
                    <a:pt x="2063339" y="949686"/>
                    <a:pt x="2075296" y="936278"/>
                    <a:pt x="2075296" y="919733"/>
                  </a:cubicBezTo>
                  <a:cubicBezTo>
                    <a:pt x="2075296" y="904654"/>
                    <a:pt x="2065347" y="892202"/>
                    <a:pt x="2052416" y="890121"/>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6" name="Freeform 279">
              <a:extLst>
                <a:ext uri="{FF2B5EF4-FFF2-40B4-BE49-F238E27FC236}">
                  <a16:creationId xmlns:a16="http://schemas.microsoft.com/office/drawing/2014/main" id="{13F4A696-675D-0F9D-6BE5-56BB862AAFCE}"/>
                </a:ext>
              </a:extLst>
            </p:cNvPr>
            <p:cNvSpPr/>
            <p:nvPr userDrawn="1"/>
          </p:nvSpPr>
          <p:spPr>
            <a:xfrm>
              <a:off x="56460" y="4763251"/>
              <a:ext cx="1860710" cy="318290"/>
            </a:xfrm>
            <a:custGeom>
              <a:avLst/>
              <a:gdLst>
                <a:gd name="connsiteX0" fmla="*/ 1834028 w 1860710"/>
                <a:gd name="connsiteY0" fmla="*/ 36434 h 318290"/>
                <a:gd name="connsiteX1" fmla="*/ 1807315 w 1860710"/>
                <a:gd name="connsiteY1" fmla="*/ 66387 h 318290"/>
                <a:gd name="connsiteX2" fmla="*/ 1812183 w 1860710"/>
                <a:gd name="connsiteY2" fmla="*/ 83615 h 318290"/>
                <a:gd name="connsiteX3" fmla="*/ 1610559 w 1860710"/>
                <a:gd name="connsiteY3" fmla="*/ 309694 h 318290"/>
                <a:gd name="connsiteX4" fmla="*/ 943164 w 1860710"/>
                <a:gd name="connsiteY4" fmla="*/ 309694 h 318290"/>
                <a:gd name="connsiteX5" fmla="*/ 690974 w 1860710"/>
                <a:gd name="connsiteY5" fmla="*/ 26917 h 318290"/>
                <a:gd name="connsiteX6" fmla="*/ 688297 w 1860710"/>
                <a:gd name="connsiteY6" fmla="*/ 25654 h 318290"/>
                <a:gd name="connsiteX7" fmla="*/ 53121 w 1860710"/>
                <a:gd name="connsiteY7" fmla="*/ 25654 h 318290"/>
                <a:gd name="connsiteX8" fmla="*/ 26713 w 1860710"/>
                <a:gd name="connsiteY8" fmla="*/ 0 h 318290"/>
                <a:gd name="connsiteX9" fmla="*/ 0 w 1860710"/>
                <a:gd name="connsiteY9" fmla="*/ 29953 h 318290"/>
                <a:gd name="connsiteX10" fmla="*/ 26713 w 1860710"/>
                <a:gd name="connsiteY10" fmla="*/ 59905 h 318290"/>
                <a:gd name="connsiteX11" fmla="*/ 53121 w 1860710"/>
                <a:gd name="connsiteY11" fmla="*/ 34251 h 318290"/>
                <a:gd name="connsiteX12" fmla="*/ 686745 w 1860710"/>
                <a:gd name="connsiteY12" fmla="*/ 34251 h 318290"/>
                <a:gd name="connsiteX13" fmla="*/ 938935 w 1860710"/>
                <a:gd name="connsiteY13" fmla="*/ 317028 h 318290"/>
                <a:gd name="connsiteX14" fmla="*/ 941612 w 1860710"/>
                <a:gd name="connsiteY14" fmla="*/ 318290 h 318290"/>
                <a:gd name="connsiteX15" fmla="*/ 1612141 w 1860710"/>
                <a:gd name="connsiteY15" fmla="*/ 318290 h 318290"/>
                <a:gd name="connsiteX16" fmla="*/ 1614819 w 1860710"/>
                <a:gd name="connsiteY16" fmla="*/ 317028 h 318290"/>
                <a:gd name="connsiteX17" fmla="*/ 1817416 w 1860710"/>
                <a:gd name="connsiteY17" fmla="*/ 89858 h 318290"/>
                <a:gd name="connsiteX18" fmla="*/ 1833998 w 1860710"/>
                <a:gd name="connsiteY18" fmla="*/ 96374 h 318290"/>
                <a:gd name="connsiteX19" fmla="*/ 1860711 w 1860710"/>
                <a:gd name="connsiteY19" fmla="*/ 66421 h 318290"/>
                <a:gd name="connsiteX20" fmla="*/ 1833998 w 1860710"/>
                <a:gd name="connsiteY20" fmla="*/ 36468 h 318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60710" h="318290">
                  <a:moveTo>
                    <a:pt x="1834028" y="36434"/>
                  </a:moveTo>
                  <a:cubicBezTo>
                    <a:pt x="1819272" y="36434"/>
                    <a:pt x="1807315" y="49842"/>
                    <a:pt x="1807315" y="66387"/>
                  </a:cubicBezTo>
                  <a:cubicBezTo>
                    <a:pt x="1807315" y="72801"/>
                    <a:pt x="1809141" y="78737"/>
                    <a:pt x="1812183" y="83615"/>
                  </a:cubicBezTo>
                  <a:lnTo>
                    <a:pt x="1610559" y="309694"/>
                  </a:lnTo>
                  <a:lnTo>
                    <a:pt x="943164" y="309694"/>
                  </a:lnTo>
                  <a:lnTo>
                    <a:pt x="690974" y="26917"/>
                  </a:lnTo>
                  <a:cubicBezTo>
                    <a:pt x="690274" y="26132"/>
                    <a:pt x="689301" y="25654"/>
                    <a:pt x="688297" y="25654"/>
                  </a:cubicBezTo>
                  <a:lnTo>
                    <a:pt x="53121" y="25654"/>
                  </a:lnTo>
                  <a:cubicBezTo>
                    <a:pt x="51266" y="11156"/>
                    <a:pt x="40161" y="0"/>
                    <a:pt x="26713" y="0"/>
                  </a:cubicBezTo>
                  <a:cubicBezTo>
                    <a:pt x="11957" y="0"/>
                    <a:pt x="0" y="13407"/>
                    <a:pt x="0" y="29953"/>
                  </a:cubicBezTo>
                  <a:cubicBezTo>
                    <a:pt x="0" y="46498"/>
                    <a:pt x="11957" y="59905"/>
                    <a:pt x="26713" y="59905"/>
                  </a:cubicBezTo>
                  <a:cubicBezTo>
                    <a:pt x="40161" y="59905"/>
                    <a:pt x="51266" y="48750"/>
                    <a:pt x="53121" y="34251"/>
                  </a:cubicBezTo>
                  <a:lnTo>
                    <a:pt x="686745" y="34251"/>
                  </a:lnTo>
                  <a:lnTo>
                    <a:pt x="938935" y="317028"/>
                  </a:lnTo>
                  <a:cubicBezTo>
                    <a:pt x="939635" y="317813"/>
                    <a:pt x="940608" y="318290"/>
                    <a:pt x="941612" y="318290"/>
                  </a:cubicBezTo>
                  <a:lnTo>
                    <a:pt x="1612141" y="318290"/>
                  </a:lnTo>
                  <a:cubicBezTo>
                    <a:pt x="1613145" y="318290"/>
                    <a:pt x="1614119" y="317847"/>
                    <a:pt x="1614819" y="317028"/>
                  </a:cubicBezTo>
                  <a:lnTo>
                    <a:pt x="1817416" y="89858"/>
                  </a:lnTo>
                  <a:cubicBezTo>
                    <a:pt x="1821980" y="93918"/>
                    <a:pt x="1827730" y="96374"/>
                    <a:pt x="1833998" y="96374"/>
                  </a:cubicBezTo>
                  <a:cubicBezTo>
                    <a:pt x="1848754" y="96374"/>
                    <a:pt x="1860711" y="82967"/>
                    <a:pt x="1860711" y="66421"/>
                  </a:cubicBezTo>
                  <a:cubicBezTo>
                    <a:pt x="1860711" y="49876"/>
                    <a:pt x="1848754" y="36468"/>
                    <a:pt x="1833998" y="36468"/>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7" name="Freeform 280">
              <a:extLst>
                <a:ext uri="{FF2B5EF4-FFF2-40B4-BE49-F238E27FC236}">
                  <a16:creationId xmlns:a16="http://schemas.microsoft.com/office/drawing/2014/main" id="{CD7388F9-A9DE-2CDB-F84B-1408102DC158}"/>
                </a:ext>
              </a:extLst>
            </p:cNvPr>
            <p:cNvSpPr/>
            <p:nvPr userDrawn="1"/>
          </p:nvSpPr>
          <p:spPr>
            <a:xfrm>
              <a:off x="3114136" y="2441914"/>
              <a:ext cx="297735" cy="1029138"/>
            </a:xfrm>
            <a:custGeom>
              <a:avLst/>
              <a:gdLst>
                <a:gd name="connsiteX0" fmla="*/ 270992 w 297735"/>
                <a:gd name="connsiteY0" fmla="*/ 0 h 1029138"/>
                <a:gd name="connsiteX1" fmla="*/ 244279 w 297735"/>
                <a:gd name="connsiteY1" fmla="*/ 29953 h 1029138"/>
                <a:gd name="connsiteX2" fmla="*/ 252463 w 297735"/>
                <a:gd name="connsiteY2" fmla="*/ 51479 h 1029138"/>
                <a:gd name="connsiteX3" fmla="*/ 24005 w 297735"/>
                <a:gd name="connsiteY3" fmla="*/ 307647 h 1029138"/>
                <a:gd name="connsiteX4" fmla="*/ 22879 w 297735"/>
                <a:gd name="connsiteY4" fmla="*/ 310649 h 1029138"/>
                <a:gd name="connsiteX5" fmla="*/ 22879 w 297735"/>
                <a:gd name="connsiteY5" fmla="*/ 969575 h 1029138"/>
                <a:gd name="connsiteX6" fmla="*/ 0 w 297735"/>
                <a:gd name="connsiteY6" fmla="*/ 999186 h 1029138"/>
                <a:gd name="connsiteX7" fmla="*/ 26713 w 297735"/>
                <a:gd name="connsiteY7" fmla="*/ 1029139 h 1029138"/>
                <a:gd name="connsiteX8" fmla="*/ 53426 w 297735"/>
                <a:gd name="connsiteY8" fmla="*/ 999186 h 1029138"/>
                <a:gd name="connsiteX9" fmla="*/ 30546 w 297735"/>
                <a:gd name="connsiteY9" fmla="*/ 969575 h 1029138"/>
                <a:gd name="connsiteX10" fmla="*/ 30546 w 297735"/>
                <a:gd name="connsiteY10" fmla="*/ 312423 h 1029138"/>
                <a:gd name="connsiteX11" fmla="*/ 258762 w 297735"/>
                <a:gd name="connsiteY11" fmla="*/ 56528 h 1029138"/>
                <a:gd name="connsiteX12" fmla="*/ 271023 w 297735"/>
                <a:gd name="connsiteY12" fmla="*/ 59905 h 1029138"/>
                <a:gd name="connsiteX13" fmla="*/ 297735 w 297735"/>
                <a:gd name="connsiteY13" fmla="*/ 29953 h 1029138"/>
                <a:gd name="connsiteX14" fmla="*/ 271023 w 297735"/>
                <a:gd name="connsiteY14" fmla="*/ 0 h 1029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7735" h="1029138">
                  <a:moveTo>
                    <a:pt x="270992" y="0"/>
                  </a:moveTo>
                  <a:cubicBezTo>
                    <a:pt x="256236" y="0"/>
                    <a:pt x="244279" y="13407"/>
                    <a:pt x="244279" y="29953"/>
                  </a:cubicBezTo>
                  <a:cubicBezTo>
                    <a:pt x="244279" y="38413"/>
                    <a:pt x="247413" y="46021"/>
                    <a:pt x="252463" y="51479"/>
                  </a:cubicBezTo>
                  <a:lnTo>
                    <a:pt x="24005" y="307647"/>
                  </a:lnTo>
                  <a:cubicBezTo>
                    <a:pt x="23305" y="308431"/>
                    <a:pt x="22879" y="309523"/>
                    <a:pt x="22879" y="310649"/>
                  </a:cubicBezTo>
                  <a:lnTo>
                    <a:pt x="22879" y="969575"/>
                  </a:lnTo>
                  <a:cubicBezTo>
                    <a:pt x="9949" y="971656"/>
                    <a:pt x="0" y="984108"/>
                    <a:pt x="0" y="999186"/>
                  </a:cubicBezTo>
                  <a:cubicBezTo>
                    <a:pt x="0" y="1015732"/>
                    <a:pt x="11957" y="1029139"/>
                    <a:pt x="26713" y="1029139"/>
                  </a:cubicBezTo>
                  <a:cubicBezTo>
                    <a:pt x="41469" y="1029139"/>
                    <a:pt x="53426" y="1015732"/>
                    <a:pt x="53426" y="999186"/>
                  </a:cubicBezTo>
                  <a:cubicBezTo>
                    <a:pt x="53426" y="984108"/>
                    <a:pt x="43477" y="971656"/>
                    <a:pt x="30546" y="969575"/>
                  </a:cubicBezTo>
                  <a:lnTo>
                    <a:pt x="30546" y="312423"/>
                  </a:lnTo>
                  <a:lnTo>
                    <a:pt x="258762" y="56528"/>
                  </a:lnTo>
                  <a:cubicBezTo>
                    <a:pt x="262443" y="58677"/>
                    <a:pt x="266611" y="59905"/>
                    <a:pt x="271023" y="59905"/>
                  </a:cubicBezTo>
                  <a:cubicBezTo>
                    <a:pt x="285779" y="59905"/>
                    <a:pt x="297735" y="46498"/>
                    <a:pt x="297735" y="29953"/>
                  </a:cubicBezTo>
                  <a:cubicBezTo>
                    <a:pt x="297735" y="13407"/>
                    <a:pt x="285779" y="0"/>
                    <a:pt x="271023" y="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8" name="Freeform 281">
              <a:extLst>
                <a:ext uri="{FF2B5EF4-FFF2-40B4-BE49-F238E27FC236}">
                  <a16:creationId xmlns:a16="http://schemas.microsoft.com/office/drawing/2014/main" id="{391F0072-7470-235F-64A6-CCBB36F3F406}"/>
                </a:ext>
              </a:extLst>
            </p:cNvPr>
            <p:cNvSpPr/>
            <p:nvPr userDrawn="1"/>
          </p:nvSpPr>
          <p:spPr>
            <a:xfrm>
              <a:off x="3180735" y="2452319"/>
              <a:ext cx="304307" cy="1004269"/>
            </a:xfrm>
            <a:custGeom>
              <a:avLst/>
              <a:gdLst>
                <a:gd name="connsiteX0" fmla="*/ 277534 w 304307"/>
                <a:gd name="connsiteY0" fmla="*/ 0 h 1004269"/>
                <a:gd name="connsiteX1" fmla="*/ 250821 w 304307"/>
                <a:gd name="connsiteY1" fmla="*/ 29953 h 1004269"/>
                <a:gd name="connsiteX2" fmla="*/ 254655 w 304307"/>
                <a:gd name="connsiteY2" fmla="*/ 45373 h 1004269"/>
                <a:gd name="connsiteX3" fmla="*/ 24066 w 304307"/>
                <a:gd name="connsiteY3" fmla="*/ 288474 h 1004269"/>
                <a:gd name="connsiteX4" fmla="*/ 22879 w 304307"/>
                <a:gd name="connsiteY4" fmla="*/ 291578 h 1004269"/>
                <a:gd name="connsiteX5" fmla="*/ 22879 w 304307"/>
                <a:gd name="connsiteY5" fmla="*/ 944705 h 1004269"/>
                <a:gd name="connsiteX6" fmla="*/ 0 w 304307"/>
                <a:gd name="connsiteY6" fmla="*/ 974316 h 1004269"/>
                <a:gd name="connsiteX7" fmla="*/ 26713 w 304307"/>
                <a:gd name="connsiteY7" fmla="*/ 1004269 h 1004269"/>
                <a:gd name="connsiteX8" fmla="*/ 53426 w 304307"/>
                <a:gd name="connsiteY8" fmla="*/ 974316 h 1004269"/>
                <a:gd name="connsiteX9" fmla="*/ 30546 w 304307"/>
                <a:gd name="connsiteY9" fmla="*/ 944705 h 1004269"/>
                <a:gd name="connsiteX10" fmla="*/ 30546 w 304307"/>
                <a:gd name="connsiteY10" fmla="*/ 293421 h 1004269"/>
                <a:gd name="connsiteX11" fmla="*/ 259553 w 304307"/>
                <a:gd name="connsiteY11" fmla="*/ 51991 h 1004269"/>
                <a:gd name="connsiteX12" fmla="*/ 277594 w 304307"/>
                <a:gd name="connsiteY12" fmla="*/ 59905 h 1004269"/>
                <a:gd name="connsiteX13" fmla="*/ 304307 w 304307"/>
                <a:gd name="connsiteY13" fmla="*/ 29953 h 1004269"/>
                <a:gd name="connsiteX14" fmla="*/ 277594 w 304307"/>
                <a:gd name="connsiteY14" fmla="*/ 0 h 1004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4307" h="1004269">
                  <a:moveTo>
                    <a:pt x="277534" y="0"/>
                  </a:moveTo>
                  <a:cubicBezTo>
                    <a:pt x="262778" y="0"/>
                    <a:pt x="250821" y="13407"/>
                    <a:pt x="250821" y="29953"/>
                  </a:cubicBezTo>
                  <a:cubicBezTo>
                    <a:pt x="250821" y="35582"/>
                    <a:pt x="252251" y="40869"/>
                    <a:pt x="254655" y="45373"/>
                  </a:cubicBezTo>
                  <a:lnTo>
                    <a:pt x="24066" y="288474"/>
                  </a:lnTo>
                  <a:cubicBezTo>
                    <a:pt x="23305" y="289293"/>
                    <a:pt x="22879" y="290419"/>
                    <a:pt x="22879" y="291578"/>
                  </a:cubicBezTo>
                  <a:lnTo>
                    <a:pt x="22879" y="944705"/>
                  </a:lnTo>
                  <a:cubicBezTo>
                    <a:pt x="9949" y="946786"/>
                    <a:pt x="0" y="959238"/>
                    <a:pt x="0" y="974316"/>
                  </a:cubicBezTo>
                  <a:cubicBezTo>
                    <a:pt x="0" y="990862"/>
                    <a:pt x="11957" y="1004269"/>
                    <a:pt x="26713" y="1004269"/>
                  </a:cubicBezTo>
                  <a:cubicBezTo>
                    <a:pt x="41469" y="1004269"/>
                    <a:pt x="53426" y="990862"/>
                    <a:pt x="53426" y="974316"/>
                  </a:cubicBezTo>
                  <a:cubicBezTo>
                    <a:pt x="53426" y="959238"/>
                    <a:pt x="43477" y="946786"/>
                    <a:pt x="30546" y="944705"/>
                  </a:cubicBezTo>
                  <a:lnTo>
                    <a:pt x="30546" y="293421"/>
                  </a:lnTo>
                  <a:lnTo>
                    <a:pt x="259553" y="51991"/>
                  </a:lnTo>
                  <a:cubicBezTo>
                    <a:pt x="264299" y="56869"/>
                    <a:pt x="270627" y="59905"/>
                    <a:pt x="277594" y="59905"/>
                  </a:cubicBezTo>
                  <a:cubicBezTo>
                    <a:pt x="292350" y="59905"/>
                    <a:pt x="304307" y="46498"/>
                    <a:pt x="304307" y="29953"/>
                  </a:cubicBezTo>
                  <a:cubicBezTo>
                    <a:pt x="304307" y="13407"/>
                    <a:pt x="292350" y="0"/>
                    <a:pt x="277594" y="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99" name="Freeform 282">
              <a:extLst>
                <a:ext uri="{FF2B5EF4-FFF2-40B4-BE49-F238E27FC236}">
                  <a16:creationId xmlns:a16="http://schemas.microsoft.com/office/drawing/2014/main" id="{DC341583-D362-EACC-FCDC-BCEE749E2E6F}"/>
                </a:ext>
              </a:extLst>
            </p:cNvPr>
            <p:cNvSpPr/>
            <p:nvPr userDrawn="1"/>
          </p:nvSpPr>
          <p:spPr>
            <a:xfrm>
              <a:off x="2330580" y="931485"/>
              <a:ext cx="1565986" cy="1135883"/>
            </a:xfrm>
            <a:custGeom>
              <a:avLst/>
              <a:gdLst>
                <a:gd name="connsiteX0" fmla="*/ 1565987 w 1565986"/>
                <a:gd name="connsiteY0" fmla="*/ 29953 h 1135883"/>
                <a:gd name="connsiteX1" fmla="*/ 1539274 w 1565986"/>
                <a:gd name="connsiteY1" fmla="*/ 0 h 1135883"/>
                <a:gd name="connsiteX2" fmla="*/ 1512561 w 1565986"/>
                <a:gd name="connsiteY2" fmla="*/ 29953 h 1135883"/>
                <a:gd name="connsiteX3" fmla="*/ 1535441 w 1565986"/>
                <a:gd name="connsiteY3" fmla="*/ 59564 h 1135883"/>
                <a:gd name="connsiteX4" fmla="*/ 1535441 w 1565986"/>
                <a:gd name="connsiteY4" fmla="*/ 442434 h 1135883"/>
                <a:gd name="connsiteX5" fmla="*/ 924636 w 1565986"/>
                <a:gd name="connsiteY5" fmla="*/ 1127321 h 1135883"/>
                <a:gd name="connsiteX6" fmla="*/ 463094 w 1565986"/>
                <a:gd name="connsiteY6" fmla="*/ 1127321 h 1135883"/>
                <a:gd name="connsiteX7" fmla="*/ 45485 w 1565986"/>
                <a:gd name="connsiteY7" fmla="*/ 659062 h 1135883"/>
                <a:gd name="connsiteX8" fmla="*/ 53426 w 1565986"/>
                <a:gd name="connsiteY8" fmla="*/ 637775 h 1135883"/>
                <a:gd name="connsiteX9" fmla="*/ 26713 w 1565986"/>
                <a:gd name="connsiteY9" fmla="*/ 607822 h 1135883"/>
                <a:gd name="connsiteX10" fmla="*/ 0 w 1565986"/>
                <a:gd name="connsiteY10" fmla="*/ 637775 h 1135883"/>
                <a:gd name="connsiteX11" fmla="*/ 26713 w 1565986"/>
                <a:gd name="connsiteY11" fmla="*/ 667727 h 1135883"/>
                <a:gd name="connsiteX12" fmla="*/ 39248 w 1565986"/>
                <a:gd name="connsiteY12" fmla="*/ 664214 h 1135883"/>
                <a:gd name="connsiteX13" fmla="*/ 458773 w 1565986"/>
                <a:gd name="connsiteY13" fmla="*/ 1134622 h 1135883"/>
                <a:gd name="connsiteX14" fmla="*/ 461451 w 1565986"/>
                <a:gd name="connsiteY14" fmla="*/ 1135884 h 1135883"/>
                <a:gd name="connsiteX15" fmla="*/ 926126 w 1565986"/>
                <a:gd name="connsiteY15" fmla="*/ 1135884 h 1135883"/>
                <a:gd name="connsiteX16" fmla="*/ 928834 w 1565986"/>
                <a:gd name="connsiteY16" fmla="*/ 1134622 h 1135883"/>
                <a:gd name="connsiteX17" fmla="*/ 1541860 w 1565986"/>
                <a:gd name="connsiteY17" fmla="*/ 447244 h 1135883"/>
                <a:gd name="connsiteX18" fmla="*/ 1542986 w 1565986"/>
                <a:gd name="connsiteY18" fmla="*/ 444242 h 1135883"/>
                <a:gd name="connsiteX19" fmla="*/ 1542986 w 1565986"/>
                <a:gd name="connsiteY19" fmla="*/ 59598 h 1135883"/>
                <a:gd name="connsiteX20" fmla="*/ 1565866 w 1565986"/>
                <a:gd name="connsiteY20" fmla="*/ 29987 h 11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65986" h="1135883">
                  <a:moveTo>
                    <a:pt x="1565987" y="29953"/>
                  </a:moveTo>
                  <a:cubicBezTo>
                    <a:pt x="1565987" y="13407"/>
                    <a:pt x="1554030" y="0"/>
                    <a:pt x="1539274" y="0"/>
                  </a:cubicBezTo>
                  <a:cubicBezTo>
                    <a:pt x="1524518" y="0"/>
                    <a:pt x="1512561" y="13407"/>
                    <a:pt x="1512561" y="29953"/>
                  </a:cubicBezTo>
                  <a:cubicBezTo>
                    <a:pt x="1512561" y="45031"/>
                    <a:pt x="1522510" y="57483"/>
                    <a:pt x="1535441" y="59564"/>
                  </a:cubicBezTo>
                  <a:lnTo>
                    <a:pt x="1535441" y="442434"/>
                  </a:lnTo>
                  <a:lnTo>
                    <a:pt x="924636" y="1127321"/>
                  </a:lnTo>
                  <a:lnTo>
                    <a:pt x="463094" y="1127321"/>
                  </a:lnTo>
                  <a:lnTo>
                    <a:pt x="45485" y="659062"/>
                  </a:lnTo>
                  <a:cubicBezTo>
                    <a:pt x="50383" y="653638"/>
                    <a:pt x="53426" y="646099"/>
                    <a:pt x="53426" y="637775"/>
                  </a:cubicBezTo>
                  <a:cubicBezTo>
                    <a:pt x="53426" y="621229"/>
                    <a:pt x="41469" y="607822"/>
                    <a:pt x="26713" y="607822"/>
                  </a:cubicBezTo>
                  <a:cubicBezTo>
                    <a:pt x="11957" y="607822"/>
                    <a:pt x="0" y="621229"/>
                    <a:pt x="0" y="637775"/>
                  </a:cubicBezTo>
                  <a:cubicBezTo>
                    <a:pt x="0" y="654320"/>
                    <a:pt x="11957" y="667727"/>
                    <a:pt x="26713" y="667727"/>
                  </a:cubicBezTo>
                  <a:cubicBezTo>
                    <a:pt x="31246" y="667727"/>
                    <a:pt x="35506" y="666465"/>
                    <a:pt x="39248" y="664214"/>
                  </a:cubicBezTo>
                  <a:lnTo>
                    <a:pt x="458773" y="1134622"/>
                  </a:lnTo>
                  <a:cubicBezTo>
                    <a:pt x="459473" y="1135406"/>
                    <a:pt x="460447" y="1135884"/>
                    <a:pt x="461451" y="1135884"/>
                  </a:cubicBezTo>
                  <a:lnTo>
                    <a:pt x="926126" y="1135884"/>
                  </a:lnTo>
                  <a:cubicBezTo>
                    <a:pt x="927130" y="1135884"/>
                    <a:pt x="928104" y="1135440"/>
                    <a:pt x="928834" y="1134622"/>
                  </a:cubicBezTo>
                  <a:lnTo>
                    <a:pt x="1541860" y="447244"/>
                  </a:lnTo>
                  <a:cubicBezTo>
                    <a:pt x="1542560" y="446459"/>
                    <a:pt x="1542986" y="445368"/>
                    <a:pt x="1542986" y="444242"/>
                  </a:cubicBezTo>
                  <a:lnTo>
                    <a:pt x="1542986" y="59598"/>
                  </a:lnTo>
                  <a:cubicBezTo>
                    <a:pt x="1555917" y="57517"/>
                    <a:pt x="1565866" y="45066"/>
                    <a:pt x="1565866" y="29987"/>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00" name="Freeform 283">
              <a:extLst>
                <a:ext uri="{FF2B5EF4-FFF2-40B4-BE49-F238E27FC236}">
                  <a16:creationId xmlns:a16="http://schemas.microsoft.com/office/drawing/2014/main" id="{0741EDE5-2082-B332-787B-F167FBC7CC7A}"/>
                </a:ext>
              </a:extLst>
            </p:cNvPr>
            <p:cNvSpPr/>
            <p:nvPr userDrawn="1"/>
          </p:nvSpPr>
          <p:spPr>
            <a:xfrm>
              <a:off x="607785" y="1145043"/>
              <a:ext cx="329498" cy="1344597"/>
            </a:xfrm>
            <a:custGeom>
              <a:avLst/>
              <a:gdLst>
                <a:gd name="connsiteX0" fmla="*/ 328434 w 329498"/>
                <a:gd name="connsiteY0" fmla="*/ 364175 h 1344597"/>
                <a:gd name="connsiteX1" fmla="*/ 47341 w 329498"/>
                <a:gd name="connsiteY1" fmla="*/ 48989 h 1344597"/>
                <a:gd name="connsiteX2" fmla="*/ 53426 w 329498"/>
                <a:gd name="connsiteY2" fmla="*/ 29953 h 1344597"/>
                <a:gd name="connsiteX3" fmla="*/ 26713 w 329498"/>
                <a:gd name="connsiteY3" fmla="*/ 0 h 1344597"/>
                <a:gd name="connsiteX4" fmla="*/ 0 w 329498"/>
                <a:gd name="connsiteY4" fmla="*/ 29953 h 1344597"/>
                <a:gd name="connsiteX5" fmla="*/ 26713 w 329498"/>
                <a:gd name="connsiteY5" fmla="*/ 59905 h 1344597"/>
                <a:gd name="connsiteX6" fmla="*/ 41682 w 329498"/>
                <a:gd name="connsiteY6" fmla="*/ 54754 h 1344597"/>
                <a:gd name="connsiteX7" fmla="*/ 321893 w 329498"/>
                <a:gd name="connsiteY7" fmla="*/ 368951 h 1344597"/>
                <a:gd name="connsiteX8" fmla="*/ 321893 w 329498"/>
                <a:gd name="connsiteY8" fmla="*/ 1344598 h 1344597"/>
                <a:gd name="connsiteX9" fmla="*/ 329499 w 329498"/>
                <a:gd name="connsiteY9" fmla="*/ 1344598 h 1344597"/>
                <a:gd name="connsiteX10" fmla="*/ 329499 w 329498"/>
                <a:gd name="connsiteY10" fmla="*/ 367177 h 1344597"/>
                <a:gd name="connsiteX11" fmla="*/ 328373 w 329498"/>
                <a:gd name="connsiteY11" fmla="*/ 364175 h 134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98" h="1344597">
                  <a:moveTo>
                    <a:pt x="328434" y="364175"/>
                  </a:moveTo>
                  <a:lnTo>
                    <a:pt x="47341" y="48989"/>
                  </a:lnTo>
                  <a:cubicBezTo>
                    <a:pt x="51144" y="43803"/>
                    <a:pt x="53426" y="37185"/>
                    <a:pt x="53426" y="29953"/>
                  </a:cubicBezTo>
                  <a:cubicBezTo>
                    <a:pt x="53426" y="13407"/>
                    <a:pt x="41469" y="0"/>
                    <a:pt x="26713" y="0"/>
                  </a:cubicBezTo>
                  <a:cubicBezTo>
                    <a:pt x="11957" y="0"/>
                    <a:pt x="0" y="13407"/>
                    <a:pt x="0" y="29953"/>
                  </a:cubicBezTo>
                  <a:cubicBezTo>
                    <a:pt x="0" y="46498"/>
                    <a:pt x="11957" y="59905"/>
                    <a:pt x="26713" y="59905"/>
                  </a:cubicBezTo>
                  <a:cubicBezTo>
                    <a:pt x="32281" y="59905"/>
                    <a:pt x="37422" y="57995"/>
                    <a:pt x="41682" y="54754"/>
                  </a:cubicBezTo>
                  <a:lnTo>
                    <a:pt x="321893" y="368951"/>
                  </a:lnTo>
                  <a:lnTo>
                    <a:pt x="321893" y="1344598"/>
                  </a:lnTo>
                  <a:lnTo>
                    <a:pt x="329499" y="1344598"/>
                  </a:lnTo>
                  <a:lnTo>
                    <a:pt x="329499" y="367177"/>
                  </a:lnTo>
                  <a:cubicBezTo>
                    <a:pt x="329499" y="366051"/>
                    <a:pt x="329103" y="364959"/>
                    <a:pt x="328373" y="36417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01" name="Freeform 284">
              <a:extLst>
                <a:ext uri="{FF2B5EF4-FFF2-40B4-BE49-F238E27FC236}">
                  <a16:creationId xmlns:a16="http://schemas.microsoft.com/office/drawing/2014/main" id="{88FB0824-586D-CA40-0A82-25FB02708CC9}"/>
                </a:ext>
              </a:extLst>
            </p:cNvPr>
            <p:cNvSpPr/>
            <p:nvPr userDrawn="1"/>
          </p:nvSpPr>
          <p:spPr>
            <a:xfrm>
              <a:off x="195561" y="1530983"/>
              <a:ext cx="683672" cy="177294"/>
            </a:xfrm>
            <a:custGeom>
              <a:avLst/>
              <a:gdLst>
                <a:gd name="connsiteX0" fmla="*/ 656929 w 683672"/>
                <a:gd name="connsiteY0" fmla="*/ 117389 h 177294"/>
                <a:gd name="connsiteX1" fmla="*/ 640956 w 683672"/>
                <a:gd name="connsiteY1" fmla="*/ 123393 h 177294"/>
                <a:gd name="connsiteX2" fmla="*/ 532036 w 683672"/>
                <a:gd name="connsiteY2" fmla="*/ 1262 h 177294"/>
                <a:gd name="connsiteX3" fmla="*/ 529358 w 683672"/>
                <a:gd name="connsiteY3" fmla="*/ 0 h 177294"/>
                <a:gd name="connsiteX4" fmla="*/ 98728 w 683672"/>
                <a:gd name="connsiteY4" fmla="*/ 0 h 177294"/>
                <a:gd name="connsiteX5" fmla="*/ 96051 w 683672"/>
                <a:gd name="connsiteY5" fmla="*/ 1262 h 177294"/>
                <a:gd name="connsiteX6" fmla="*/ 41438 w 683672"/>
                <a:gd name="connsiteY6" fmla="*/ 62498 h 177294"/>
                <a:gd name="connsiteX7" fmla="*/ 26713 w 683672"/>
                <a:gd name="connsiteY7" fmla="*/ 57517 h 177294"/>
                <a:gd name="connsiteX8" fmla="*/ 0 w 683672"/>
                <a:gd name="connsiteY8" fmla="*/ 87470 h 177294"/>
                <a:gd name="connsiteX9" fmla="*/ 26713 w 683672"/>
                <a:gd name="connsiteY9" fmla="*/ 117423 h 177294"/>
                <a:gd name="connsiteX10" fmla="*/ 53426 w 683672"/>
                <a:gd name="connsiteY10" fmla="*/ 87470 h 177294"/>
                <a:gd name="connsiteX11" fmla="*/ 47158 w 683672"/>
                <a:gd name="connsiteY11" fmla="*/ 68195 h 177294"/>
                <a:gd name="connsiteX12" fmla="*/ 100341 w 683672"/>
                <a:gd name="connsiteY12" fmla="*/ 8563 h 177294"/>
                <a:gd name="connsiteX13" fmla="*/ 527807 w 683672"/>
                <a:gd name="connsiteY13" fmla="*/ 8563 h 177294"/>
                <a:gd name="connsiteX14" fmla="*/ 635601 w 683672"/>
                <a:gd name="connsiteY14" fmla="*/ 129431 h 177294"/>
                <a:gd name="connsiteX15" fmla="*/ 630247 w 683672"/>
                <a:gd name="connsiteY15" fmla="*/ 147342 h 177294"/>
                <a:gd name="connsiteX16" fmla="*/ 656959 w 683672"/>
                <a:gd name="connsiteY16" fmla="*/ 177294 h 177294"/>
                <a:gd name="connsiteX17" fmla="*/ 683672 w 683672"/>
                <a:gd name="connsiteY17" fmla="*/ 147342 h 177294"/>
                <a:gd name="connsiteX18" fmla="*/ 656959 w 683672"/>
                <a:gd name="connsiteY18" fmla="*/ 117389 h 17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3672" h="177294">
                  <a:moveTo>
                    <a:pt x="656929" y="117389"/>
                  </a:moveTo>
                  <a:cubicBezTo>
                    <a:pt x="650935" y="117389"/>
                    <a:pt x="645398" y="119640"/>
                    <a:pt x="640956" y="123393"/>
                  </a:cubicBezTo>
                  <a:lnTo>
                    <a:pt x="532036" y="1262"/>
                  </a:lnTo>
                  <a:cubicBezTo>
                    <a:pt x="531336" y="478"/>
                    <a:pt x="530363" y="0"/>
                    <a:pt x="529358" y="0"/>
                  </a:cubicBezTo>
                  <a:lnTo>
                    <a:pt x="98728" y="0"/>
                  </a:lnTo>
                  <a:cubicBezTo>
                    <a:pt x="97724" y="0"/>
                    <a:pt x="96750" y="444"/>
                    <a:pt x="96051" y="1262"/>
                  </a:cubicBezTo>
                  <a:lnTo>
                    <a:pt x="41438" y="62498"/>
                  </a:lnTo>
                  <a:cubicBezTo>
                    <a:pt x="37209" y="59360"/>
                    <a:pt x="32159" y="57517"/>
                    <a:pt x="26713" y="57517"/>
                  </a:cubicBezTo>
                  <a:cubicBezTo>
                    <a:pt x="11957" y="57517"/>
                    <a:pt x="0" y="70924"/>
                    <a:pt x="0" y="87470"/>
                  </a:cubicBezTo>
                  <a:cubicBezTo>
                    <a:pt x="0" y="104016"/>
                    <a:pt x="11957" y="117423"/>
                    <a:pt x="26713" y="117423"/>
                  </a:cubicBezTo>
                  <a:cubicBezTo>
                    <a:pt x="41469" y="117423"/>
                    <a:pt x="53426" y="104016"/>
                    <a:pt x="53426" y="87470"/>
                  </a:cubicBezTo>
                  <a:cubicBezTo>
                    <a:pt x="53426" y="80135"/>
                    <a:pt x="51053" y="73415"/>
                    <a:pt x="47158" y="68195"/>
                  </a:cubicBezTo>
                  <a:lnTo>
                    <a:pt x="100341" y="8563"/>
                  </a:lnTo>
                  <a:lnTo>
                    <a:pt x="527807" y="8563"/>
                  </a:lnTo>
                  <a:lnTo>
                    <a:pt x="635601" y="129431"/>
                  </a:lnTo>
                  <a:cubicBezTo>
                    <a:pt x="632255" y="134446"/>
                    <a:pt x="630247" y="140621"/>
                    <a:pt x="630247" y="147342"/>
                  </a:cubicBezTo>
                  <a:cubicBezTo>
                    <a:pt x="630247" y="163887"/>
                    <a:pt x="642203" y="177294"/>
                    <a:pt x="656959" y="177294"/>
                  </a:cubicBezTo>
                  <a:cubicBezTo>
                    <a:pt x="671715" y="177294"/>
                    <a:pt x="683672" y="163887"/>
                    <a:pt x="683672" y="147342"/>
                  </a:cubicBezTo>
                  <a:cubicBezTo>
                    <a:pt x="683672" y="130796"/>
                    <a:pt x="671715" y="117389"/>
                    <a:pt x="656959" y="117389"/>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02" name="Freeform 285">
              <a:extLst>
                <a:ext uri="{FF2B5EF4-FFF2-40B4-BE49-F238E27FC236}">
                  <a16:creationId xmlns:a16="http://schemas.microsoft.com/office/drawing/2014/main" id="{8D26CC60-457E-D2CF-D73D-70BDAEFEE03F}"/>
                </a:ext>
              </a:extLst>
            </p:cNvPr>
            <p:cNvSpPr/>
            <p:nvPr userDrawn="1"/>
          </p:nvSpPr>
          <p:spPr>
            <a:xfrm>
              <a:off x="972363" y="991015"/>
              <a:ext cx="1110408" cy="466996"/>
            </a:xfrm>
            <a:custGeom>
              <a:avLst/>
              <a:gdLst>
                <a:gd name="connsiteX0" fmla="*/ 1083696 w 1110408"/>
                <a:gd name="connsiteY0" fmla="*/ 34 h 466996"/>
                <a:gd name="connsiteX1" fmla="*/ 1057287 w 1110408"/>
                <a:gd name="connsiteY1" fmla="*/ 25688 h 466996"/>
                <a:gd name="connsiteX2" fmla="*/ 389740 w 1110408"/>
                <a:gd name="connsiteY2" fmla="*/ 25688 h 466996"/>
                <a:gd name="connsiteX3" fmla="*/ 387062 w 1110408"/>
                <a:gd name="connsiteY3" fmla="*/ 26951 h 466996"/>
                <a:gd name="connsiteX4" fmla="*/ 42686 w 1110408"/>
                <a:gd name="connsiteY4" fmla="*/ 413095 h 466996"/>
                <a:gd name="connsiteX5" fmla="*/ 26713 w 1110408"/>
                <a:gd name="connsiteY5" fmla="*/ 407091 h 466996"/>
                <a:gd name="connsiteX6" fmla="*/ 0 w 1110408"/>
                <a:gd name="connsiteY6" fmla="*/ 437044 h 466996"/>
                <a:gd name="connsiteX7" fmla="*/ 26713 w 1110408"/>
                <a:gd name="connsiteY7" fmla="*/ 466997 h 466996"/>
                <a:gd name="connsiteX8" fmla="*/ 53426 w 1110408"/>
                <a:gd name="connsiteY8" fmla="*/ 437044 h 466996"/>
                <a:gd name="connsiteX9" fmla="*/ 48071 w 1110408"/>
                <a:gd name="connsiteY9" fmla="*/ 419134 h 466996"/>
                <a:gd name="connsiteX10" fmla="*/ 391322 w 1110408"/>
                <a:gd name="connsiteY10" fmla="*/ 34251 h 466996"/>
                <a:gd name="connsiteX11" fmla="*/ 1057287 w 1110408"/>
                <a:gd name="connsiteY11" fmla="*/ 34251 h 466996"/>
                <a:gd name="connsiteX12" fmla="*/ 1083696 w 1110408"/>
                <a:gd name="connsiteY12" fmla="*/ 59905 h 466996"/>
                <a:gd name="connsiteX13" fmla="*/ 1110408 w 1110408"/>
                <a:gd name="connsiteY13" fmla="*/ 29953 h 466996"/>
                <a:gd name="connsiteX14" fmla="*/ 1083696 w 1110408"/>
                <a:gd name="connsiteY14" fmla="*/ 0 h 466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10408" h="466996">
                  <a:moveTo>
                    <a:pt x="1083696" y="34"/>
                  </a:moveTo>
                  <a:cubicBezTo>
                    <a:pt x="1070248" y="34"/>
                    <a:pt x="1059143" y="11190"/>
                    <a:pt x="1057287" y="25688"/>
                  </a:cubicBezTo>
                  <a:lnTo>
                    <a:pt x="389740" y="25688"/>
                  </a:lnTo>
                  <a:cubicBezTo>
                    <a:pt x="388736" y="25688"/>
                    <a:pt x="387762" y="26132"/>
                    <a:pt x="387062" y="26951"/>
                  </a:cubicBezTo>
                  <a:lnTo>
                    <a:pt x="42686" y="413095"/>
                  </a:lnTo>
                  <a:cubicBezTo>
                    <a:pt x="38213" y="409343"/>
                    <a:pt x="32706" y="407091"/>
                    <a:pt x="26713" y="407091"/>
                  </a:cubicBezTo>
                  <a:cubicBezTo>
                    <a:pt x="11957" y="407091"/>
                    <a:pt x="0" y="420498"/>
                    <a:pt x="0" y="437044"/>
                  </a:cubicBezTo>
                  <a:cubicBezTo>
                    <a:pt x="0" y="453589"/>
                    <a:pt x="11957" y="466997"/>
                    <a:pt x="26713" y="466997"/>
                  </a:cubicBezTo>
                  <a:cubicBezTo>
                    <a:pt x="41469" y="466997"/>
                    <a:pt x="53426" y="453589"/>
                    <a:pt x="53426" y="437044"/>
                  </a:cubicBezTo>
                  <a:cubicBezTo>
                    <a:pt x="53426" y="430323"/>
                    <a:pt x="51418" y="424114"/>
                    <a:pt x="48071" y="419134"/>
                  </a:cubicBezTo>
                  <a:lnTo>
                    <a:pt x="391322" y="34251"/>
                  </a:lnTo>
                  <a:lnTo>
                    <a:pt x="1057287" y="34251"/>
                  </a:lnTo>
                  <a:cubicBezTo>
                    <a:pt x="1059143" y="48750"/>
                    <a:pt x="1070248" y="59905"/>
                    <a:pt x="1083696" y="59905"/>
                  </a:cubicBezTo>
                  <a:cubicBezTo>
                    <a:pt x="1098451" y="59905"/>
                    <a:pt x="1110408" y="46498"/>
                    <a:pt x="1110408" y="29953"/>
                  </a:cubicBezTo>
                  <a:cubicBezTo>
                    <a:pt x="1110408" y="13407"/>
                    <a:pt x="1098451" y="0"/>
                    <a:pt x="1083696" y="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03" name="Freeform 286">
              <a:extLst>
                <a:ext uri="{FF2B5EF4-FFF2-40B4-BE49-F238E27FC236}">
                  <a16:creationId xmlns:a16="http://schemas.microsoft.com/office/drawing/2014/main" id="{2DEAF522-6681-EBAF-620D-55BE272382A6}"/>
                </a:ext>
              </a:extLst>
            </p:cNvPr>
            <p:cNvSpPr/>
            <p:nvPr userDrawn="1"/>
          </p:nvSpPr>
          <p:spPr>
            <a:xfrm>
              <a:off x="1065797" y="1194748"/>
              <a:ext cx="1944712" cy="759120"/>
            </a:xfrm>
            <a:custGeom>
              <a:avLst/>
              <a:gdLst>
                <a:gd name="connsiteX0" fmla="*/ 1921742 w 1944712"/>
                <a:gd name="connsiteY0" fmla="*/ 699488 h 759120"/>
                <a:gd name="connsiteX1" fmla="*/ 1921742 w 1944712"/>
                <a:gd name="connsiteY1" fmla="*/ 605571 h 759120"/>
                <a:gd name="connsiteX2" fmla="*/ 1920617 w 1944712"/>
                <a:gd name="connsiteY2" fmla="*/ 602568 h 759120"/>
                <a:gd name="connsiteX3" fmla="*/ 1384352 w 1944712"/>
                <a:gd name="connsiteY3" fmla="*/ 1262 h 759120"/>
                <a:gd name="connsiteX4" fmla="*/ 1381675 w 1944712"/>
                <a:gd name="connsiteY4" fmla="*/ 0 h 759120"/>
                <a:gd name="connsiteX5" fmla="*/ 383077 w 1944712"/>
                <a:gd name="connsiteY5" fmla="*/ 0 h 759120"/>
                <a:gd name="connsiteX6" fmla="*/ 380399 w 1944712"/>
                <a:gd name="connsiteY6" fmla="*/ 1262 h 759120"/>
                <a:gd name="connsiteX7" fmla="*/ 43872 w 1944712"/>
                <a:gd name="connsiteY7" fmla="*/ 378605 h 759120"/>
                <a:gd name="connsiteX8" fmla="*/ 26713 w 1944712"/>
                <a:gd name="connsiteY8" fmla="*/ 371578 h 759120"/>
                <a:gd name="connsiteX9" fmla="*/ 0 w 1944712"/>
                <a:gd name="connsiteY9" fmla="*/ 401530 h 759120"/>
                <a:gd name="connsiteX10" fmla="*/ 26713 w 1944712"/>
                <a:gd name="connsiteY10" fmla="*/ 431483 h 759120"/>
                <a:gd name="connsiteX11" fmla="*/ 53426 w 1944712"/>
                <a:gd name="connsiteY11" fmla="*/ 401530 h 759120"/>
                <a:gd name="connsiteX12" fmla="*/ 48953 w 1944712"/>
                <a:gd name="connsiteY12" fmla="*/ 384985 h 759120"/>
                <a:gd name="connsiteX13" fmla="*/ 384659 w 1944712"/>
                <a:gd name="connsiteY13" fmla="*/ 8563 h 759120"/>
                <a:gd name="connsiteX14" fmla="*/ 1380123 w 1944712"/>
                <a:gd name="connsiteY14" fmla="*/ 8563 h 759120"/>
                <a:gd name="connsiteX15" fmla="*/ 1914167 w 1944712"/>
                <a:gd name="connsiteY15" fmla="*/ 607378 h 759120"/>
                <a:gd name="connsiteX16" fmla="*/ 1914167 w 1944712"/>
                <a:gd name="connsiteY16" fmla="*/ 699557 h 759120"/>
                <a:gd name="connsiteX17" fmla="*/ 1891287 w 1944712"/>
                <a:gd name="connsiteY17" fmla="*/ 729168 h 759120"/>
                <a:gd name="connsiteX18" fmla="*/ 1918000 w 1944712"/>
                <a:gd name="connsiteY18" fmla="*/ 759121 h 759120"/>
                <a:gd name="connsiteX19" fmla="*/ 1944713 w 1944712"/>
                <a:gd name="connsiteY19" fmla="*/ 729168 h 759120"/>
                <a:gd name="connsiteX20" fmla="*/ 1921834 w 1944712"/>
                <a:gd name="connsiteY20" fmla="*/ 699557 h 75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44712" h="759120">
                  <a:moveTo>
                    <a:pt x="1921742" y="699488"/>
                  </a:moveTo>
                  <a:lnTo>
                    <a:pt x="1921742" y="605571"/>
                  </a:lnTo>
                  <a:cubicBezTo>
                    <a:pt x="1921742" y="604445"/>
                    <a:pt x="1921347" y="603353"/>
                    <a:pt x="1920617" y="602568"/>
                  </a:cubicBezTo>
                  <a:lnTo>
                    <a:pt x="1384352" y="1262"/>
                  </a:lnTo>
                  <a:cubicBezTo>
                    <a:pt x="1383652" y="478"/>
                    <a:pt x="1382679" y="0"/>
                    <a:pt x="1381675" y="0"/>
                  </a:cubicBezTo>
                  <a:lnTo>
                    <a:pt x="383077" y="0"/>
                  </a:lnTo>
                  <a:cubicBezTo>
                    <a:pt x="382073" y="0"/>
                    <a:pt x="381099" y="444"/>
                    <a:pt x="380399" y="1262"/>
                  </a:cubicBezTo>
                  <a:lnTo>
                    <a:pt x="43872" y="378605"/>
                  </a:lnTo>
                  <a:cubicBezTo>
                    <a:pt x="39217" y="374239"/>
                    <a:pt x="33254" y="371578"/>
                    <a:pt x="26713" y="371578"/>
                  </a:cubicBezTo>
                  <a:cubicBezTo>
                    <a:pt x="11957" y="371578"/>
                    <a:pt x="0" y="384985"/>
                    <a:pt x="0" y="401530"/>
                  </a:cubicBezTo>
                  <a:cubicBezTo>
                    <a:pt x="0" y="418076"/>
                    <a:pt x="11957" y="431483"/>
                    <a:pt x="26713" y="431483"/>
                  </a:cubicBezTo>
                  <a:cubicBezTo>
                    <a:pt x="41469" y="431483"/>
                    <a:pt x="53426" y="418076"/>
                    <a:pt x="53426" y="401530"/>
                  </a:cubicBezTo>
                  <a:cubicBezTo>
                    <a:pt x="53426" y="395424"/>
                    <a:pt x="51783" y="389727"/>
                    <a:pt x="48953" y="384985"/>
                  </a:cubicBezTo>
                  <a:lnTo>
                    <a:pt x="384659" y="8563"/>
                  </a:lnTo>
                  <a:lnTo>
                    <a:pt x="1380123" y="8563"/>
                  </a:lnTo>
                  <a:lnTo>
                    <a:pt x="1914167" y="607378"/>
                  </a:lnTo>
                  <a:lnTo>
                    <a:pt x="1914167" y="699557"/>
                  </a:lnTo>
                  <a:cubicBezTo>
                    <a:pt x="1901236" y="701637"/>
                    <a:pt x="1891287" y="714089"/>
                    <a:pt x="1891287" y="729168"/>
                  </a:cubicBezTo>
                  <a:cubicBezTo>
                    <a:pt x="1891287" y="745714"/>
                    <a:pt x="1903244" y="759121"/>
                    <a:pt x="1918000" y="759121"/>
                  </a:cubicBezTo>
                  <a:cubicBezTo>
                    <a:pt x="1932756" y="759121"/>
                    <a:pt x="1944713" y="745714"/>
                    <a:pt x="1944713" y="729168"/>
                  </a:cubicBezTo>
                  <a:cubicBezTo>
                    <a:pt x="1944713" y="714089"/>
                    <a:pt x="1934764" y="701637"/>
                    <a:pt x="1921834" y="699557"/>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04" name="Freeform 287">
              <a:extLst>
                <a:ext uri="{FF2B5EF4-FFF2-40B4-BE49-F238E27FC236}">
                  <a16:creationId xmlns:a16="http://schemas.microsoft.com/office/drawing/2014/main" id="{68584A22-3CA6-7FAD-F071-D37B809749AD}"/>
                </a:ext>
              </a:extLst>
            </p:cNvPr>
            <p:cNvSpPr/>
            <p:nvPr userDrawn="1"/>
          </p:nvSpPr>
          <p:spPr>
            <a:xfrm>
              <a:off x="2327355" y="676273"/>
              <a:ext cx="1266912" cy="856040"/>
            </a:xfrm>
            <a:custGeom>
              <a:avLst/>
              <a:gdLst>
                <a:gd name="connsiteX0" fmla="*/ 1240230 w 1266912"/>
                <a:gd name="connsiteY0" fmla="*/ 460924 h 856040"/>
                <a:gd name="connsiteX1" fmla="*/ 1213518 w 1266912"/>
                <a:gd name="connsiteY1" fmla="*/ 490877 h 856040"/>
                <a:gd name="connsiteX2" fmla="*/ 1218020 w 1266912"/>
                <a:gd name="connsiteY2" fmla="*/ 507491 h 856040"/>
                <a:gd name="connsiteX3" fmla="*/ 914808 w 1266912"/>
                <a:gd name="connsiteY3" fmla="*/ 847478 h 856040"/>
                <a:gd name="connsiteX4" fmla="*/ 764967 w 1266912"/>
                <a:gd name="connsiteY4" fmla="*/ 847478 h 856040"/>
                <a:gd name="connsiteX5" fmla="*/ 49592 w 1266912"/>
                <a:gd name="connsiteY5" fmla="*/ 45338 h 856040"/>
                <a:gd name="connsiteX6" fmla="*/ 53426 w 1266912"/>
                <a:gd name="connsiteY6" fmla="*/ 29953 h 856040"/>
                <a:gd name="connsiteX7" fmla="*/ 26713 w 1266912"/>
                <a:gd name="connsiteY7" fmla="*/ 0 h 856040"/>
                <a:gd name="connsiteX8" fmla="*/ 0 w 1266912"/>
                <a:gd name="connsiteY8" fmla="*/ 29953 h 856040"/>
                <a:gd name="connsiteX9" fmla="*/ 26713 w 1266912"/>
                <a:gd name="connsiteY9" fmla="*/ 59906 h 856040"/>
                <a:gd name="connsiteX10" fmla="*/ 44755 w 1266912"/>
                <a:gd name="connsiteY10" fmla="*/ 51991 h 856040"/>
                <a:gd name="connsiteX11" fmla="*/ 760708 w 1266912"/>
                <a:gd name="connsiteY11" fmla="*/ 854779 h 856040"/>
                <a:gd name="connsiteX12" fmla="*/ 763385 w 1266912"/>
                <a:gd name="connsiteY12" fmla="*/ 856041 h 856040"/>
                <a:gd name="connsiteX13" fmla="*/ 916360 w 1266912"/>
                <a:gd name="connsiteY13" fmla="*/ 856041 h 856040"/>
                <a:gd name="connsiteX14" fmla="*/ 919037 w 1266912"/>
                <a:gd name="connsiteY14" fmla="*/ 854779 h 856040"/>
                <a:gd name="connsiteX15" fmla="*/ 1223101 w 1266912"/>
                <a:gd name="connsiteY15" fmla="*/ 513836 h 856040"/>
                <a:gd name="connsiteX16" fmla="*/ 1240200 w 1266912"/>
                <a:gd name="connsiteY16" fmla="*/ 520795 h 856040"/>
                <a:gd name="connsiteX17" fmla="*/ 1266913 w 1266912"/>
                <a:gd name="connsiteY17" fmla="*/ 490843 h 856040"/>
                <a:gd name="connsiteX18" fmla="*/ 1240200 w 1266912"/>
                <a:gd name="connsiteY18" fmla="*/ 460890 h 85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66912" h="856040">
                  <a:moveTo>
                    <a:pt x="1240230" y="460924"/>
                  </a:moveTo>
                  <a:cubicBezTo>
                    <a:pt x="1225474" y="460924"/>
                    <a:pt x="1213518" y="474331"/>
                    <a:pt x="1213518" y="490877"/>
                  </a:cubicBezTo>
                  <a:cubicBezTo>
                    <a:pt x="1213518" y="497017"/>
                    <a:pt x="1215191" y="502749"/>
                    <a:pt x="1218020" y="507491"/>
                  </a:cubicBezTo>
                  <a:lnTo>
                    <a:pt x="914808" y="847478"/>
                  </a:lnTo>
                  <a:lnTo>
                    <a:pt x="764967" y="847478"/>
                  </a:lnTo>
                  <a:lnTo>
                    <a:pt x="49592" y="45338"/>
                  </a:lnTo>
                  <a:cubicBezTo>
                    <a:pt x="51996" y="40835"/>
                    <a:pt x="53426" y="35582"/>
                    <a:pt x="53426" y="29953"/>
                  </a:cubicBezTo>
                  <a:cubicBezTo>
                    <a:pt x="53426" y="13407"/>
                    <a:pt x="41469" y="0"/>
                    <a:pt x="26713" y="0"/>
                  </a:cubicBezTo>
                  <a:cubicBezTo>
                    <a:pt x="11957" y="0"/>
                    <a:pt x="0" y="13407"/>
                    <a:pt x="0" y="29953"/>
                  </a:cubicBezTo>
                  <a:cubicBezTo>
                    <a:pt x="0" y="46498"/>
                    <a:pt x="11957" y="59906"/>
                    <a:pt x="26713" y="59906"/>
                  </a:cubicBezTo>
                  <a:cubicBezTo>
                    <a:pt x="33680" y="59906"/>
                    <a:pt x="40008" y="56903"/>
                    <a:pt x="44755" y="51991"/>
                  </a:cubicBezTo>
                  <a:lnTo>
                    <a:pt x="760708" y="854779"/>
                  </a:lnTo>
                  <a:cubicBezTo>
                    <a:pt x="761407" y="855563"/>
                    <a:pt x="762381" y="856041"/>
                    <a:pt x="763385" y="856041"/>
                  </a:cubicBezTo>
                  <a:lnTo>
                    <a:pt x="916360" y="856041"/>
                  </a:lnTo>
                  <a:cubicBezTo>
                    <a:pt x="917364" y="856041"/>
                    <a:pt x="918338" y="855597"/>
                    <a:pt x="919037" y="854779"/>
                  </a:cubicBezTo>
                  <a:lnTo>
                    <a:pt x="1223101" y="513836"/>
                  </a:lnTo>
                  <a:cubicBezTo>
                    <a:pt x="1227726" y="518169"/>
                    <a:pt x="1233689" y="520795"/>
                    <a:pt x="1240200" y="520795"/>
                  </a:cubicBezTo>
                  <a:cubicBezTo>
                    <a:pt x="1254956" y="520795"/>
                    <a:pt x="1266913" y="507388"/>
                    <a:pt x="1266913" y="490843"/>
                  </a:cubicBezTo>
                  <a:cubicBezTo>
                    <a:pt x="1266913" y="474297"/>
                    <a:pt x="1254956" y="460890"/>
                    <a:pt x="1240200" y="46089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05" name="Freeform 288">
              <a:extLst>
                <a:ext uri="{FF2B5EF4-FFF2-40B4-BE49-F238E27FC236}">
                  <a16:creationId xmlns:a16="http://schemas.microsoft.com/office/drawing/2014/main" id="{B8679978-6F38-F4F4-158A-0A8882CD2713}"/>
                </a:ext>
              </a:extLst>
            </p:cNvPr>
            <p:cNvSpPr/>
            <p:nvPr userDrawn="1"/>
          </p:nvSpPr>
          <p:spPr>
            <a:xfrm>
              <a:off x="1405823" y="1769376"/>
              <a:ext cx="703600" cy="2401983"/>
            </a:xfrm>
            <a:custGeom>
              <a:avLst/>
              <a:gdLst>
                <a:gd name="connsiteX0" fmla="*/ 703600 w 703600"/>
                <a:gd name="connsiteY0" fmla="*/ 29953 h 2401983"/>
                <a:gd name="connsiteX1" fmla="*/ 676888 w 703600"/>
                <a:gd name="connsiteY1" fmla="*/ 0 h 2401983"/>
                <a:gd name="connsiteX2" fmla="*/ 650175 w 703600"/>
                <a:gd name="connsiteY2" fmla="*/ 29953 h 2401983"/>
                <a:gd name="connsiteX3" fmla="*/ 673054 w 703600"/>
                <a:gd name="connsiteY3" fmla="*/ 59564 h 2401983"/>
                <a:gd name="connsiteX4" fmla="*/ 673054 w 703600"/>
                <a:gd name="connsiteY4" fmla="*/ 919972 h 2401983"/>
                <a:gd name="connsiteX5" fmla="*/ 320858 w 703600"/>
                <a:gd name="connsiteY5" fmla="*/ 1314884 h 2401983"/>
                <a:gd name="connsiteX6" fmla="*/ 319733 w 703600"/>
                <a:gd name="connsiteY6" fmla="*/ 1317886 h 2401983"/>
                <a:gd name="connsiteX7" fmla="*/ 319733 w 703600"/>
                <a:gd name="connsiteY7" fmla="*/ 2029758 h 2401983"/>
                <a:gd name="connsiteX8" fmla="*/ 38457 w 703600"/>
                <a:gd name="connsiteY8" fmla="*/ 2345149 h 2401983"/>
                <a:gd name="connsiteX9" fmla="*/ 26713 w 703600"/>
                <a:gd name="connsiteY9" fmla="*/ 2342078 h 2401983"/>
                <a:gd name="connsiteX10" fmla="*/ 0 w 703600"/>
                <a:gd name="connsiteY10" fmla="*/ 2372031 h 2401983"/>
                <a:gd name="connsiteX11" fmla="*/ 26713 w 703600"/>
                <a:gd name="connsiteY11" fmla="*/ 2401984 h 2401983"/>
                <a:gd name="connsiteX12" fmla="*/ 53426 w 703600"/>
                <a:gd name="connsiteY12" fmla="*/ 2372031 h 2401983"/>
                <a:gd name="connsiteX13" fmla="*/ 44846 w 703600"/>
                <a:gd name="connsiteY13" fmla="*/ 2350095 h 2401983"/>
                <a:gd name="connsiteX14" fmla="*/ 326244 w 703600"/>
                <a:gd name="connsiteY14" fmla="*/ 2034568 h 2401983"/>
                <a:gd name="connsiteX15" fmla="*/ 327369 w 703600"/>
                <a:gd name="connsiteY15" fmla="*/ 2031566 h 2401983"/>
                <a:gd name="connsiteX16" fmla="*/ 327369 w 703600"/>
                <a:gd name="connsiteY16" fmla="*/ 1319694 h 2401983"/>
                <a:gd name="connsiteX17" fmla="*/ 679565 w 703600"/>
                <a:gd name="connsiteY17" fmla="*/ 924782 h 2401983"/>
                <a:gd name="connsiteX18" fmla="*/ 680691 w 703600"/>
                <a:gd name="connsiteY18" fmla="*/ 921780 h 2401983"/>
                <a:gd name="connsiteX19" fmla="*/ 680691 w 703600"/>
                <a:gd name="connsiteY19" fmla="*/ 59599 h 2401983"/>
                <a:gd name="connsiteX20" fmla="*/ 703570 w 703600"/>
                <a:gd name="connsiteY20" fmla="*/ 29987 h 240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3600" h="2401983">
                  <a:moveTo>
                    <a:pt x="703600" y="29953"/>
                  </a:moveTo>
                  <a:cubicBezTo>
                    <a:pt x="703600" y="13407"/>
                    <a:pt x="691644" y="0"/>
                    <a:pt x="676888" y="0"/>
                  </a:cubicBezTo>
                  <a:cubicBezTo>
                    <a:pt x="662132" y="0"/>
                    <a:pt x="650175" y="13407"/>
                    <a:pt x="650175" y="29953"/>
                  </a:cubicBezTo>
                  <a:cubicBezTo>
                    <a:pt x="650175" y="45031"/>
                    <a:pt x="660124" y="57483"/>
                    <a:pt x="673054" y="59564"/>
                  </a:cubicBezTo>
                  <a:lnTo>
                    <a:pt x="673054" y="919972"/>
                  </a:lnTo>
                  <a:lnTo>
                    <a:pt x="320858" y="1314884"/>
                  </a:lnTo>
                  <a:cubicBezTo>
                    <a:pt x="320159" y="1315668"/>
                    <a:pt x="319733" y="1316760"/>
                    <a:pt x="319733" y="1317886"/>
                  </a:cubicBezTo>
                  <a:lnTo>
                    <a:pt x="319733" y="2029758"/>
                  </a:lnTo>
                  <a:lnTo>
                    <a:pt x="38457" y="2345149"/>
                  </a:lnTo>
                  <a:cubicBezTo>
                    <a:pt x="34897" y="2343204"/>
                    <a:pt x="30942" y="2342078"/>
                    <a:pt x="26713" y="2342078"/>
                  </a:cubicBezTo>
                  <a:cubicBezTo>
                    <a:pt x="11957" y="2342078"/>
                    <a:pt x="0" y="2355485"/>
                    <a:pt x="0" y="2372031"/>
                  </a:cubicBezTo>
                  <a:cubicBezTo>
                    <a:pt x="0" y="2388577"/>
                    <a:pt x="11957" y="2401984"/>
                    <a:pt x="26713" y="2401984"/>
                  </a:cubicBezTo>
                  <a:cubicBezTo>
                    <a:pt x="41469" y="2401984"/>
                    <a:pt x="53426" y="2388577"/>
                    <a:pt x="53426" y="2372031"/>
                  </a:cubicBezTo>
                  <a:cubicBezTo>
                    <a:pt x="53426" y="2363366"/>
                    <a:pt x="50109" y="2355554"/>
                    <a:pt x="44846" y="2350095"/>
                  </a:cubicBezTo>
                  <a:lnTo>
                    <a:pt x="326244" y="2034568"/>
                  </a:lnTo>
                  <a:cubicBezTo>
                    <a:pt x="326943" y="2033783"/>
                    <a:pt x="327369" y="2032692"/>
                    <a:pt x="327369" y="2031566"/>
                  </a:cubicBezTo>
                  <a:lnTo>
                    <a:pt x="327369" y="1319694"/>
                  </a:lnTo>
                  <a:lnTo>
                    <a:pt x="679565" y="924782"/>
                  </a:lnTo>
                  <a:cubicBezTo>
                    <a:pt x="680265" y="923997"/>
                    <a:pt x="680691" y="922906"/>
                    <a:pt x="680691" y="921780"/>
                  </a:cubicBezTo>
                  <a:lnTo>
                    <a:pt x="680691" y="59599"/>
                  </a:lnTo>
                  <a:cubicBezTo>
                    <a:pt x="693621" y="57517"/>
                    <a:pt x="703570" y="45066"/>
                    <a:pt x="703570" y="29987"/>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06" name="Freeform 290">
              <a:extLst>
                <a:ext uri="{FF2B5EF4-FFF2-40B4-BE49-F238E27FC236}">
                  <a16:creationId xmlns:a16="http://schemas.microsoft.com/office/drawing/2014/main" id="{8D349EFC-2408-BAB7-5834-D390C45C9888}"/>
                </a:ext>
              </a:extLst>
            </p:cNvPr>
            <p:cNvSpPr/>
            <p:nvPr userDrawn="1"/>
          </p:nvSpPr>
          <p:spPr>
            <a:xfrm>
              <a:off x="2171597" y="1779065"/>
              <a:ext cx="844679" cy="1079116"/>
            </a:xfrm>
            <a:custGeom>
              <a:avLst/>
              <a:gdLst>
                <a:gd name="connsiteX0" fmla="*/ 844679 w 844679"/>
                <a:gd name="connsiteY0" fmla="*/ 540445 h 1079116"/>
                <a:gd name="connsiteX1" fmla="*/ 817967 w 844679"/>
                <a:gd name="connsiteY1" fmla="*/ 510493 h 1079116"/>
                <a:gd name="connsiteX2" fmla="*/ 791254 w 844679"/>
                <a:gd name="connsiteY2" fmla="*/ 540445 h 1079116"/>
                <a:gd name="connsiteX3" fmla="*/ 814133 w 844679"/>
                <a:gd name="connsiteY3" fmla="*/ 570057 h 1079116"/>
                <a:gd name="connsiteX4" fmla="*/ 814133 w 844679"/>
                <a:gd name="connsiteY4" fmla="*/ 847512 h 1079116"/>
                <a:gd name="connsiteX5" fmla="*/ 615217 w 844679"/>
                <a:gd name="connsiteY5" fmla="*/ 1070554 h 1079116"/>
                <a:gd name="connsiteX6" fmla="*/ 444534 w 844679"/>
                <a:gd name="connsiteY6" fmla="*/ 1070554 h 1079116"/>
                <a:gd name="connsiteX7" fmla="*/ 30546 w 844679"/>
                <a:gd name="connsiteY7" fmla="*/ 606355 h 1079116"/>
                <a:gd name="connsiteX8" fmla="*/ 30546 w 844679"/>
                <a:gd name="connsiteY8" fmla="*/ 59564 h 1079116"/>
                <a:gd name="connsiteX9" fmla="*/ 53426 w 844679"/>
                <a:gd name="connsiteY9" fmla="*/ 29953 h 1079116"/>
                <a:gd name="connsiteX10" fmla="*/ 26713 w 844679"/>
                <a:gd name="connsiteY10" fmla="*/ 0 h 1079116"/>
                <a:gd name="connsiteX11" fmla="*/ 0 w 844679"/>
                <a:gd name="connsiteY11" fmla="*/ 29953 h 1079116"/>
                <a:gd name="connsiteX12" fmla="*/ 22879 w 844679"/>
                <a:gd name="connsiteY12" fmla="*/ 59564 h 1079116"/>
                <a:gd name="connsiteX13" fmla="*/ 22879 w 844679"/>
                <a:gd name="connsiteY13" fmla="*/ 608129 h 1079116"/>
                <a:gd name="connsiteX14" fmla="*/ 24005 w 844679"/>
                <a:gd name="connsiteY14" fmla="*/ 611131 h 1079116"/>
                <a:gd name="connsiteX15" fmla="*/ 440245 w 844679"/>
                <a:gd name="connsiteY15" fmla="*/ 1077855 h 1079116"/>
                <a:gd name="connsiteX16" fmla="*/ 442922 w 844679"/>
                <a:gd name="connsiteY16" fmla="*/ 1079117 h 1079116"/>
                <a:gd name="connsiteX17" fmla="*/ 616768 w 844679"/>
                <a:gd name="connsiteY17" fmla="*/ 1079117 h 1079116"/>
                <a:gd name="connsiteX18" fmla="*/ 619446 w 844679"/>
                <a:gd name="connsiteY18" fmla="*/ 1077855 h 1079116"/>
                <a:gd name="connsiteX19" fmla="*/ 820614 w 844679"/>
                <a:gd name="connsiteY19" fmla="*/ 852288 h 1079116"/>
                <a:gd name="connsiteX20" fmla="*/ 821739 w 844679"/>
                <a:gd name="connsiteY20" fmla="*/ 849286 h 1079116"/>
                <a:gd name="connsiteX21" fmla="*/ 821739 w 844679"/>
                <a:gd name="connsiteY21" fmla="*/ 570057 h 1079116"/>
                <a:gd name="connsiteX22" fmla="*/ 844619 w 844679"/>
                <a:gd name="connsiteY22" fmla="*/ 540445 h 107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44679" h="1079116">
                  <a:moveTo>
                    <a:pt x="844679" y="540445"/>
                  </a:moveTo>
                  <a:cubicBezTo>
                    <a:pt x="844679" y="523900"/>
                    <a:pt x="832723" y="510493"/>
                    <a:pt x="817967" y="510493"/>
                  </a:cubicBezTo>
                  <a:cubicBezTo>
                    <a:pt x="803211" y="510493"/>
                    <a:pt x="791254" y="523900"/>
                    <a:pt x="791254" y="540445"/>
                  </a:cubicBezTo>
                  <a:cubicBezTo>
                    <a:pt x="791254" y="555524"/>
                    <a:pt x="801203" y="567976"/>
                    <a:pt x="814133" y="570057"/>
                  </a:cubicBezTo>
                  <a:lnTo>
                    <a:pt x="814133" y="847512"/>
                  </a:lnTo>
                  <a:lnTo>
                    <a:pt x="615217" y="1070554"/>
                  </a:lnTo>
                  <a:lnTo>
                    <a:pt x="444534" y="1070554"/>
                  </a:lnTo>
                  <a:lnTo>
                    <a:pt x="30546" y="606355"/>
                  </a:lnTo>
                  <a:lnTo>
                    <a:pt x="30546" y="59564"/>
                  </a:lnTo>
                  <a:cubicBezTo>
                    <a:pt x="43477" y="57483"/>
                    <a:pt x="53426" y="45031"/>
                    <a:pt x="53426" y="29953"/>
                  </a:cubicBezTo>
                  <a:cubicBezTo>
                    <a:pt x="53426" y="13407"/>
                    <a:pt x="41469" y="0"/>
                    <a:pt x="26713" y="0"/>
                  </a:cubicBezTo>
                  <a:cubicBezTo>
                    <a:pt x="11957" y="0"/>
                    <a:pt x="0" y="13407"/>
                    <a:pt x="0" y="29953"/>
                  </a:cubicBezTo>
                  <a:cubicBezTo>
                    <a:pt x="0" y="45031"/>
                    <a:pt x="9949" y="57483"/>
                    <a:pt x="22879" y="59564"/>
                  </a:cubicBezTo>
                  <a:lnTo>
                    <a:pt x="22879" y="608129"/>
                  </a:lnTo>
                  <a:cubicBezTo>
                    <a:pt x="22879" y="609255"/>
                    <a:pt x="23275" y="610346"/>
                    <a:pt x="24005" y="611131"/>
                  </a:cubicBezTo>
                  <a:lnTo>
                    <a:pt x="440245" y="1077855"/>
                  </a:lnTo>
                  <a:cubicBezTo>
                    <a:pt x="440944" y="1078639"/>
                    <a:pt x="441918" y="1079117"/>
                    <a:pt x="442922" y="1079117"/>
                  </a:cubicBezTo>
                  <a:lnTo>
                    <a:pt x="616768" y="1079117"/>
                  </a:lnTo>
                  <a:cubicBezTo>
                    <a:pt x="617773" y="1079117"/>
                    <a:pt x="618746" y="1078674"/>
                    <a:pt x="619446" y="1077855"/>
                  </a:cubicBezTo>
                  <a:lnTo>
                    <a:pt x="820614" y="852288"/>
                  </a:lnTo>
                  <a:cubicBezTo>
                    <a:pt x="821313" y="851503"/>
                    <a:pt x="821739" y="850412"/>
                    <a:pt x="821739" y="849286"/>
                  </a:cubicBezTo>
                  <a:lnTo>
                    <a:pt x="821739" y="570057"/>
                  </a:lnTo>
                  <a:cubicBezTo>
                    <a:pt x="834670" y="567976"/>
                    <a:pt x="844619" y="555524"/>
                    <a:pt x="844619" y="54044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07" name="Freeform 291">
              <a:extLst>
                <a:ext uri="{FF2B5EF4-FFF2-40B4-BE49-F238E27FC236}">
                  <a16:creationId xmlns:a16="http://schemas.microsoft.com/office/drawing/2014/main" id="{2626E7D8-33F1-3397-1404-87B1F736CF2D}"/>
                </a:ext>
              </a:extLst>
            </p:cNvPr>
            <p:cNvSpPr/>
            <p:nvPr userDrawn="1"/>
          </p:nvSpPr>
          <p:spPr>
            <a:xfrm>
              <a:off x="1114560" y="2006692"/>
              <a:ext cx="383746" cy="902266"/>
            </a:xfrm>
            <a:custGeom>
              <a:avLst/>
              <a:gdLst>
                <a:gd name="connsiteX0" fmla="*/ 357033 w 383746"/>
                <a:gd name="connsiteY0" fmla="*/ 842395 h 902266"/>
                <a:gd name="connsiteX1" fmla="*/ 340939 w 383746"/>
                <a:gd name="connsiteY1" fmla="*/ 848502 h 902266"/>
                <a:gd name="connsiteX2" fmla="*/ 30546 w 383746"/>
                <a:gd name="connsiteY2" fmla="*/ 500463 h 902266"/>
                <a:gd name="connsiteX3" fmla="*/ 30546 w 383746"/>
                <a:gd name="connsiteY3" fmla="*/ 59564 h 902266"/>
                <a:gd name="connsiteX4" fmla="*/ 53426 w 383746"/>
                <a:gd name="connsiteY4" fmla="*/ 29953 h 902266"/>
                <a:gd name="connsiteX5" fmla="*/ 26713 w 383746"/>
                <a:gd name="connsiteY5" fmla="*/ 0 h 902266"/>
                <a:gd name="connsiteX6" fmla="*/ 0 w 383746"/>
                <a:gd name="connsiteY6" fmla="*/ 29953 h 902266"/>
                <a:gd name="connsiteX7" fmla="*/ 22879 w 383746"/>
                <a:gd name="connsiteY7" fmla="*/ 59564 h 902266"/>
                <a:gd name="connsiteX8" fmla="*/ 22879 w 383746"/>
                <a:gd name="connsiteY8" fmla="*/ 502203 h 902266"/>
                <a:gd name="connsiteX9" fmla="*/ 24005 w 383746"/>
                <a:gd name="connsiteY9" fmla="*/ 505205 h 902266"/>
                <a:gd name="connsiteX10" fmla="*/ 335553 w 383746"/>
                <a:gd name="connsiteY10" fmla="*/ 854540 h 902266"/>
                <a:gd name="connsiteX11" fmla="*/ 330320 w 383746"/>
                <a:gd name="connsiteY11" fmla="*/ 872314 h 902266"/>
                <a:gd name="connsiteX12" fmla="*/ 357033 w 383746"/>
                <a:gd name="connsiteY12" fmla="*/ 902266 h 902266"/>
                <a:gd name="connsiteX13" fmla="*/ 383746 w 383746"/>
                <a:gd name="connsiteY13" fmla="*/ 872314 h 902266"/>
                <a:gd name="connsiteX14" fmla="*/ 357033 w 383746"/>
                <a:gd name="connsiteY14" fmla="*/ 842361 h 90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3746" h="902266">
                  <a:moveTo>
                    <a:pt x="357033" y="842395"/>
                  </a:moveTo>
                  <a:cubicBezTo>
                    <a:pt x="350979" y="842395"/>
                    <a:pt x="345411" y="844681"/>
                    <a:pt x="340939" y="848502"/>
                  </a:cubicBezTo>
                  <a:lnTo>
                    <a:pt x="30546" y="500463"/>
                  </a:lnTo>
                  <a:lnTo>
                    <a:pt x="30546" y="59564"/>
                  </a:lnTo>
                  <a:cubicBezTo>
                    <a:pt x="43477" y="57483"/>
                    <a:pt x="53426" y="45031"/>
                    <a:pt x="53426" y="29953"/>
                  </a:cubicBezTo>
                  <a:cubicBezTo>
                    <a:pt x="53426" y="13407"/>
                    <a:pt x="41469" y="0"/>
                    <a:pt x="26713" y="0"/>
                  </a:cubicBezTo>
                  <a:cubicBezTo>
                    <a:pt x="11957" y="0"/>
                    <a:pt x="0" y="13407"/>
                    <a:pt x="0" y="29953"/>
                  </a:cubicBezTo>
                  <a:cubicBezTo>
                    <a:pt x="0" y="45031"/>
                    <a:pt x="9949" y="57483"/>
                    <a:pt x="22879" y="59564"/>
                  </a:cubicBezTo>
                  <a:lnTo>
                    <a:pt x="22879" y="502203"/>
                  </a:lnTo>
                  <a:cubicBezTo>
                    <a:pt x="22879" y="503329"/>
                    <a:pt x="23275" y="504420"/>
                    <a:pt x="24005" y="505205"/>
                  </a:cubicBezTo>
                  <a:lnTo>
                    <a:pt x="335553" y="854540"/>
                  </a:lnTo>
                  <a:cubicBezTo>
                    <a:pt x="332268" y="859521"/>
                    <a:pt x="330320" y="865661"/>
                    <a:pt x="330320" y="872314"/>
                  </a:cubicBezTo>
                  <a:cubicBezTo>
                    <a:pt x="330320" y="888859"/>
                    <a:pt x="342277" y="902266"/>
                    <a:pt x="357033" y="902266"/>
                  </a:cubicBezTo>
                  <a:cubicBezTo>
                    <a:pt x="371789" y="902266"/>
                    <a:pt x="383746" y="888859"/>
                    <a:pt x="383746" y="872314"/>
                  </a:cubicBezTo>
                  <a:cubicBezTo>
                    <a:pt x="383746" y="855768"/>
                    <a:pt x="371789" y="842361"/>
                    <a:pt x="357033" y="842361"/>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08" name="Freeform 293">
              <a:extLst>
                <a:ext uri="{FF2B5EF4-FFF2-40B4-BE49-F238E27FC236}">
                  <a16:creationId xmlns:a16="http://schemas.microsoft.com/office/drawing/2014/main" id="{6ED0D011-2CAD-27F6-8118-3E6A74080BC8}"/>
                </a:ext>
              </a:extLst>
            </p:cNvPr>
            <p:cNvSpPr/>
            <p:nvPr userDrawn="1"/>
          </p:nvSpPr>
          <p:spPr>
            <a:xfrm rot="16927200">
              <a:off x="906780" y="2464326"/>
              <a:ext cx="53425" cy="59905"/>
            </a:xfrm>
            <a:custGeom>
              <a:avLst/>
              <a:gdLst>
                <a:gd name="connsiteX0" fmla="*/ 53426 w 53425"/>
                <a:gd name="connsiteY0" fmla="*/ 29953 h 59905"/>
                <a:gd name="connsiteX1" fmla="*/ 26713 w 53425"/>
                <a:gd name="connsiteY1" fmla="*/ 59906 h 59905"/>
                <a:gd name="connsiteX2" fmla="*/ 0 w 53425"/>
                <a:gd name="connsiteY2" fmla="*/ 29953 h 59905"/>
                <a:gd name="connsiteX3" fmla="*/ 26713 w 53425"/>
                <a:gd name="connsiteY3" fmla="*/ 0 h 59905"/>
                <a:gd name="connsiteX4" fmla="*/ 53426 w 53425"/>
                <a:gd name="connsiteY4" fmla="*/ 29953 h 59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25" h="59905">
                  <a:moveTo>
                    <a:pt x="53426" y="29953"/>
                  </a:moveTo>
                  <a:cubicBezTo>
                    <a:pt x="53426" y="46495"/>
                    <a:pt x="41466" y="59906"/>
                    <a:pt x="26713" y="59906"/>
                  </a:cubicBezTo>
                  <a:cubicBezTo>
                    <a:pt x="11960" y="59906"/>
                    <a:pt x="0" y="46495"/>
                    <a:pt x="0" y="29953"/>
                  </a:cubicBezTo>
                  <a:cubicBezTo>
                    <a:pt x="0" y="13410"/>
                    <a:pt x="11960" y="0"/>
                    <a:pt x="26713" y="0"/>
                  </a:cubicBezTo>
                  <a:cubicBezTo>
                    <a:pt x="41466" y="0"/>
                    <a:pt x="53426" y="13410"/>
                    <a:pt x="53426" y="29953"/>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09" name="Freeform 294">
              <a:extLst>
                <a:ext uri="{FF2B5EF4-FFF2-40B4-BE49-F238E27FC236}">
                  <a16:creationId xmlns:a16="http://schemas.microsoft.com/office/drawing/2014/main" id="{56D95B5D-837D-EDE3-CE3D-643B21CC66B4}"/>
                </a:ext>
              </a:extLst>
            </p:cNvPr>
            <p:cNvSpPr/>
            <p:nvPr userDrawn="1"/>
          </p:nvSpPr>
          <p:spPr>
            <a:xfrm>
              <a:off x="345555" y="2579192"/>
              <a:ext cx="736837" cy="568010"/>
            </a:xfrm>
            <a:custGeom>
              <a:avLst/>
              <a:gdLst>
                <a:gd name="connsiteX0" fmla="*/ 735698 w 736837"/>
                <a:gd name="connsiteY0" fmla="*/ 118003 h 568010"/>
                <a:gd name="connsiteX1" fmla="*/ 673297 w 736837"/>
                <a:gd name="connsiteY1" fmla="*/ 48034 h 568010"/>
                <a:gd name="connsiteX2" fmla="*/ 678744 w 736837"/>
                <a:gd name="connsiteY2" fmla="*/ 29953 h 568010"/>
                <a:gd name="connsiteX3" fmla="*/ 652031 w 736837"/>
                <a:gd name="connsiteY3" fmla="*/ 0 h 568010"/>
                <a:gd name="connsiteX4" fmla="*/ 625318 w 736837"/>
                <a:gd name="connsiteY4" fmla="*/ 29953 h 568010"/>
                <a:gd name="connsiteX5" fmla="*/ 652031 w 736837"/>
                <a:gd name="connsiteY5" fmla="*/ 59905 h 568010"/>
                <a:gd name="connsiteX6" fmla="*/ 667851 w 736837"/>
                <a:gd name="connsiteY6" fmla="*/ 54038 h 568010"/>
                <a:gd name="connsiteX7" fmla="*/ 723802 w 736837"/>
                <a:gd name="connsiteY7" fmla="*/ 116775 h 568010"/>
                <a:gd name="connsiteX8" fmla="*/ 394243 w 736837"/>
                <a:gd name="connsiteY8" fmla="*/ 116775 h 568010"/>
                <a:gd name="connsiteX9" fmla="*/ 391565 w 736837"/>
                <a:gd name="connsiteY9" fmla="*/ 118037 h 568010"/>
                <a:gd name="connsiteX10" fmla="*/ 40069 w 736837"/>
                <a:gd name="connsiteY10" fmla="*/ 512164 h 568010"/>
                <a:gd name="connsiteX11" fmla="*/ 26713 w 736837"/>
                <a:gd name="connsiteY11" fmla="*/ 508105 h 568010"/>
                <a:gd name="connsiteX12" fmla="*/ 0 w 736837"/>
                <a:gd name="connsiteY12" fmla="*/ 538057 h 568010"/>
                <a:gd name="connsiteX13" fmla="*/ 26713 w 736837"/>
                <a:gd name="connsiteY13" fmla="*/ 568010 h 568010"/>
                <a:gd name="connsiteX14" fmla="*/ 53426 w 736837"/>
                <a:gd name="connsiteY14" fmla="*/ 538057 h 568010"/>
                <a:gd name="connsiteX15" fmla="*/ 46093 w 736837"/>
                <a:gd name="connsiteY15" fmla="*/ 517486 h 568010"/>
                <a:gd name="connsiteX16" fmla="*/ 395855 w 736837"/>
                <a:gd name="connsiteY16" fmla="*/ 125303 h 568010"/>
                <a:gd name="connsiteX17" fmla="*/ 733021 w 736837"/>
                <a:gd name="connsiteY17" fmla="*/ 125303 h 568010"/>
                <a:gd name="connsiteX18" fmla="*/ 736550 w 736837"/>
                <a:gd name="connsiteY18" fmla="*/ 122677 h 568010"/>
                <a:gd name="connsiteX19" fmla="*/ 735729 w 736837"/>
                <a:gd name="connsiteY19" fmla="*/ 118037 h 56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6837" h="568010">
                  <a:moveTo>
                    <a:pt x="735698" y="118003"/>
                  </a:moveTo>
                  <a:lnTo>
                    <a:pt x="673297" y="48034"/>
                  </a:lnTo>
                  <a:cubicBezTo>
                    <a:pt x="676705" y="43019"/>
                    <a:pt x="678744" y="36742"/>
                    <a:pt x="678744" y="29953"/>
                  </a:cubicBezTo>
                  <a:cubicBezTo>
                    <a:pt x="678744" y="13407"/>
                    <a:pt x="666787" y="0"/>
                    <a:pt x="652031" y="0"/>
                  </a:cubicBezTo>
                  <a:cubicBezTo>
                    <a:pt x="637275" y="0"/>
                    <a:pt x="625318" y="13407"/>
                    <a:pt x="625318" y="29953"/>
                  </a:cubicBezTo>
                  <a:cubicBezTo>
                    <a:pt x="625318" y="46498"/>
                    <a:pt x="637275" y="59905"/>
                    <a:pt x="652031" y="59905"/>
                  </a:cubicBezTo>
                  <a:cubicBezTo>
                    <a:pt x="657963" y="59905"/>
                    <a:pt x="663440" y="57722"/>
                    <a:pt x="667851" y="54038"/>
                  </a:cubicBezTo>
                  <a:lnTo>
                    <a:pt x="723802" y="116775"/>
                  </a:lnTo>
                  <a:lnTo>
                    <a:pt x="394243" y="116775"/>
                  </a:lnTo>
                  <a:cubicBezTo>
                    <a:pt x="393239" y="116775"/>
                    <a:pt x="392265" y="117218"/>
                    <a:pt x="391565" y="118037"/>
                  </a:cubicBezTo>
                  <a:lnTo>
                    <a:pt x="40069" y="512164"/>
                  </a:lnTo>
                  <a:cubicBezTo>
                    <a:pt x="36144" y="509606"/>
                    <a:pt x="31581" y="508105"/>
                    <a:pt x="26713" y="508105"/>
                  </a:cubicBezTo>
                  <a:cubicBezTo>
                    <a:pt x="11957" y="508105"/>
                    <a:pt x="0" y="521512"/>
                    <a:pt x="0" y="538057"/>
                  </a:cubicBezTo>
                  <a:cubicBezTo>
                    <a:pt x="0" y="554603"/>
                    <a:pt x="11957" y="568010"/>
                    <a:pt x="26713" y="568010"/>
                  </a:cubicBezTo>
                  <a:cubicBezTo>
                    <a:pt x="41469" y="568010"/>
                    <a:pt x="53426" y="554603"/>
                    <a:pt x="53426" y="538057"/>
                  </a:cubicBezTo>
                  <a:cubicBezTo>
                    <a:pt x="53426" y="530075"/>
                    <a:pt x="50627" y="522876"/>
                    <a:pt x="46093" y="517486"/>
                  </a:cubicBezTo>
                  <a:lnTo>
                    <a:pt x="395855" y="125303"/>
                  </a:lnTo>
                  <a:lnTo>
                    <a:pt x="733021" y="125303"/>
                  </a:lnTo>
                  <a:cubicBezTo>
                    <a:pt x="734573" y="125303"/>
                    <a:pt x="735942" y="124280"/>
                    <a:pt x="736550" y="122677"/>
                  </a:cubicBezTo>
                  <a:cubicBezTo>
                    <a:pt x="737128" y="121073"/>
                    <a:pt x="736824" y="119231"/>
                    <a:pt x="735729" y="118037"/>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0" name="Freeform 295">
              <a:extLst>
                <a:ext uri="{FF2B5EF4-FFF2-40B4-BE49-F238E27FC236}">
                  <a16:creationId xmlns:a16="http://schemas.microsoft.com/office/drawing/2014/main" id="{9D337C3A-E6C3-8590-48FA-AE44511FAB09}"/>
                </a:ext>
              </a:extLst>
            </p:cNvPr>
            <p:cNvSpPr/>
            <p:nvPr userDrawn="1"/>
          </p:nvSpPr>
          <p:spPr>
            <a:xfrm>
              <a:off x="41217" y="2796161"/>
              <a:ext cx="1450403" cy="1242833"/>
            </a:xfrm>
            <a:custGeom>
              <a:avLst/>
              <a:gdLst>
                <a:gd name="connsiteX0" fmla="*/ 1449309 w 1450403"/>
                <a:gd name="connsiteY0" fmla="*/ 332073 h 1242833"/>
                <a:gd name="connsiteX1" fmla="*/ 1154281 w 1450403"/>
                <a:gd name="connsiteY1" fmla="*/ 1262 h 1242833"/>
                <a:gd name="connsiteX2" fmla="*/ 1151603 w 1450403"/>
                <a:gd name="connsiteY2" fmla="*/ 0 h 1242833"/>
                <a:gd name="connsiteX3" fmla="*/ 744309 w 1450403"/>
                <a:gd name="connsiteY3" fmla="*/ 0 h 1242833"/>
                <a:gd name="connsiteX4" fmla="*/ 741631 w 1450403"/>
                <a:gd name="connsiteY4" fmla="*/ 1262 h 1242833"/>
                <a:gd name="connsiteX5" fmla="*/ 406443 w 1450403"/>
                <a:gd name="connsiteY5" fmla="*/ 377104 h 1242833"/>
                <a:gd name="connsiteX6" fmla="*/ 390683 w 1450403"/>
                <a:gd name="connsiteY6" fmla="*/ 371305 h 1242833"/>
                <a:gd name="connsiteX7" fmla="*/ 363970 w 1450403"/>
                <a:gd name="connsiteY7" fmla="*/ 401257 h 1242833"/>
                <a:gd name="connsiteX8" fmla="*/ 390683 w 1450403"/>
                <a:gd name="connsiteY8" fmla="*/ 431210 h 1242833"/>
                <a:gd name="connsiteX9" fmla="*/ 417396 w 1450403"/>
                <a:gd name="connsiteY9" fmla="*/ 401257 h 1242833"/>
                <a:gd name="connsiteX10" fmla="*/ 411889 w 1450403"/>
                <a:gd name="connsiteY10" fmla="*/ 383109 h 1242833"/>
                <a:gd name="connsiteX11" fmla="*/ 745921 w 1450403"/>
                <a:gd name="connsiteY11" fmla="*/ 8563 h 1242833"/>
                <a:gd name="connsiteX12" fmla="*/ 1150052 w 1450403"/>
                <a:gd name="connsiteY12" fmla="*/ 8563 h 1242833"/>
                <a:gd name="connsiteX13" fmla="*/ 1442859 w 1450403"/>
                <a:gd name="connsiteY13" fmla="*/ 336883 h 1242833"/>
                <a:gd name="connsiteX14" fmla="*/ 1442859 w 1450403"/>
                <a:gd name="connsiteY14" fmla="*/ 923691 h 1242833"/>
                <a:gd name="connsiteX15" fmla="*/ 1188782 w 1450403"/>
                <a:gd name="connsiteY15" fmla="*/ 1208583 h 1242833"/>
                <a:gd name="connsiteX16" fmla="*/ 53121 w 1450403"/>
                <a:gd name="connsiteY16" fmla="*/ 1208583 h 1242833"/>
                <a:gd name="connsiteX17" fmla="*/ 26713 w 1450403"/>
                <a:gd name="connsiteY17" fmla="*/ 1182928 h 1242833"/>
                <a:gd name="connsiteX18" fmla="*/ 0 w 1450403"/>
                <a:gd name="connsiteY18" fmla="*/ 1212881 h 1242833"/>
                <a:gd name="connsiteX19" fmla="*/ 26713 w 1450403"/>
                <a:gd name="connsiteY19" fmla="*/ 1242834 h 1242833"/>
                <a:gd name="connsiteX20" fmla="*/ 53121 w 1450403"/>
                <a:gd name="connsiteY20" fmla="*/ 1217179 h 1242833"/>
                <a:gd name="connsiteX21" fmla="*/ 1190304 w 1450403"/>
                <a:gd name="connsiteY21" fmla="*/ 1217179 h 1242833"/>
                <a:gd name="connsiteX22" fmla="*/ 1192981 w 1450403"/>
                <a:gd name="connsiteY22" fmla="*/ 1215917 h 1242833"/>
                <a:gd name="connsiteX23" fmla="*/ 1449278 w 1450403"/>
                <a:gd name="connsiteY23" fmla="*/ 928535 h 1242833"/>
                <a:gd name="connsiteX24" fmla="*/ 1450404 w 1450403"/>
                <a:gd name="connsiteY24" fmla="*/ 925532 h 1242833"/>
                <a:gd name="connsiteX25" fmla="*/ 1450404 w 1450403"/>
                <a:gd name="connsiteY25" fmla="*/ 335177 h 1242833"/>
                <a:gd name="connsiteX26" fmla="*/ 1449278 w 1450403"/>
                <a:gd name="connsiteY26" fmla="*/ 332175 h 1242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50403" h="1242833">
                  <a:moveTo>
                    <a:pt x="1449309" y="332073"/>
                  </a:moveTo>
                  <a:lnTo>
                    <a:pt x="1154281" y="1262"/>
                  </a:lnTo>
                  <a:cubicBezTo>
                    <a:pt x="1153581" y="478"/>
                    <a:pt x="1152607" y="0"/>
                    <a:pt x="1151603" y="0"/>
                  </a:cubicBezTo>
                  <a:lnTo>
                    <a:pt x="744309" y="0"/>
                  </a:lnTo>
                  <a:cubicBezTo>
                    <a:pt x="743305" y="0"/>
                    <a:pt x="742331" y="444"/>
                    <a:pt x="741631" y="1262"/>
                  </a:cubicBezTo>
                  <a:lnTo>
                    <a:pt x="406443" y="377104"/>
                  </a:lnTo>
                  <a:cubicBezTo>
                    <a:pt x="402031" y="373454"/>
                    <a:pt x="396585" y="371305"/>
                    <a:pt x="390683" y="371305"/>
                  </a:cubicBezTo>
                  <a:cubicBezTo>
                    <a:pt x="375927" y="371305"/>
                    <a:pt x="363970" y="384712"/>
                    <a:pt x="363970" y="401257"/>
                  </a:cubicBezTo>
                  <a:cubicBezTo>
                    <a:pt x="363970" y="417803"/>
                    <a:pt x="375927" y="431210"/>
                    <a:pt x="390683" y="431210"/>
                  </a:cubicBezTo>
                  <a:cubicBezTo>
                    <a:pt x="405439" y="431210"/>
                    <a:pt x="417396" y="417803"/>
                    <a:pt x="417396" y="401257"/>
                  </a:cubicBezTo>
                  <a:cubicBezTo>
                    <a:pt x="417396" y="394434"/>
                    <a:pt x="415327" y="388157"/>
                    <a:pt x="411889" y="383109"/>
                  </a:cubicBezTo>
                  <a:lnTo>
                    <a:pt x="745921" y="8563"/>
                  </a:lnTo>
                  <a:lnTo>
                    <a:pt x="1150052" y="8563"/>
                  </a:lnTo>
                  <a:lnTo>
                    <a:pt x="1442859" y="336883"/>
                  </a:lnTo>
                  <a:lnTo>
                    <a:pt x="1442859" y="923691"/>
                  </a:lnTo>
                  <a:lnTo>
                    <a:pt x="1188782" y="1208583"/>
                  </a:lnTo>
                  <a:lnTo>
                    <a:pt x="53121" y="1208583"/>
                  </a:lnTo>
                  <a:cubicBezTo>
                    <a:pt x="51266" y="1194084"/>
                    <a:pt x="40161" y="1182928"/>
                    <a:pt x="26713" y="1182928"/>
                  </a:cubicBezTo>
                  <a:cubicBezTo>
                    <a:pt x="11957" y="1182928"/>
                    <a:pt x="0" y="1196335"/>
                    <a:pt x="0" y="1212881"/>
                  </a:cubicBezTo>
                  <a:cubicBezTo>
                    <a:pt x="0" y="1229427"/>
                    <a:pt x="11957" y="1242834"/>
                    <a:pt x="26713" y="1242834"/>
                  </a:cubicBezTo>
                  <a:cubicBezTo>
                    <a:pt x="40161" y="1242834"/>
                    <a:pt x="51266" y="1231678"/>
                    <a:pt x="53121" y="1217179"/>
                  </a:cubicBezTo>
                  <a:lnTo>
                    <a:pt x="1190304" y="1217179"/>
                  </a:lnTo>
                  <a:cubicBezTo>
                    <a:pt x="1191308" y="1217179"/>
                    <a:pt x="1192281" y="1216736"/>
                    <a:pt x="1192981" y="1215917"/>
                  </a:cubicBezTo>
                  <a:lnTo>
                    <a:pt x="1449278" y="928535"/>
                  </a:lnTo>
                  <a:cubicBezTo>
                    <a:pt x="1449978" y="927750"/>
                    <a:pt x="1450404" y="926658"/>
                    <a:pt x="1450404" y="925532"/>
                  </a:cubicBezTo>
                  <a:lnTo>
                    <a:pt x="1450404" y="335177"/>
                  </a:lnTo>
                  <a:cubicBezTo>
                    <a:pt x="1450404" y="334052"/>
                    <a:pt x="1450008" y="332960"/>
                    <a:pt x="1449278" y="33217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1" name="Freeform 296">
              <a:extLst>
                <a:ext uri="{FF2B5EF4-FFF2-40B4-BE49-F238E27FC236}">
                  <a16:creationId xmlns:a16="http://schemas.microsoft.com/office/drawing/2014/main" id="{38E98350-4AD8-51AA-82D0-6446ECE23DED}"/>
                </a:ext>
              </a:extLst>
            </p:cNvPr>
            <p:cNvSpPr/>
            <p:nvPr userDrawn="1"/>
          </p:nvSpPr>
          <p:spPr>
            <a:xfrm>
              <a:off x="41217" y="1090255"/>
              <a:ext cx="2178617" cy="3051186"/>
            </a:xfrm>
            <a:custGeom>
              <a:avLst/>
              <a:gdLst>
                <a:gd name="connsiteX0" fmla="*/ 2151905 w 2178617"/>
                <a:gd name="connsiteY0" fmla="*/ 34 h 3051186"/>
                <a:gd name="connsiteX1" fmla="*/ 2125496 w 2178617"/>
                <a:gd name="connsiteY1" fmla="*/ 25688 h 3051186"/>
                <a:gd name="connsiteX2" fmla="*/ 1369535 w 2178617"/>
                <a:gd name="connsiteY2" fmla="*/ 25688 h 3051186"/>
                <a:gd name="connsiteX3" fmla="*/ 1366858 w 2178617"/>
                <a:gd name="connsiteY3" fmla="*/ 26951 h 3051186"/>
                <a:gd name="connsiteX4" fmla="*/ 970029 w 2178617"/>
                <a:gd name="connsiteY4" fmla="*/ 471909 h 3051186"/>
                <a:gd name="connsiteX5" fmla="*/ 968903 w 2178617"/>
                <a:gd name="connsiteY5" fmla="*/ 474945 h 3051186"/>
                <a:gd name="connsiteX6" fmla="*/ 968903 w 2178617"/>
                <a:gd name="connsiteY6" fmla="*/ 1398363 h 3051186"/>
                <a:gd name="connsiteX7" fmla="*/ 970029 w 2178617"/>
                <a:gd name="connsiteY7" fmla="*/ 1401365 h 3051186"/>
                <a:gd name="connsiteX8" fmla="*/ 1522206 w 2178617"/>
                <a:gd name="connsiteY8" fmla="*/ 2020513 h 3051186"/>
                <a:gd name="connsiteX9" fmla="*/ 1522206 w 2178617"/>
                <a:gd name="connsiteY9" fmla="*/ 2665179 h 3051186"/>
                <a:gd name="connsiteX10" fmla="*/ 1208498 w 2178617"/>
                <a:gd name="connsiteY10" fmla="*/ 3016936 h 3051186"/>
                <a:gd name="connsiteX11" fmla="*/ 53121 w 2178617"/>
                <a:gd name="connsiteY11" fmla="*/ 3016936 h 3051186"/>
                <a:gd name="connsiteX12" fmla="*/ 26713 w 2178617"/>
                <a:gd name="connsiteY12" fmla="*/ 2991281 h 3051186"/>
                <a:gd name="connsiteX13" fmla="*/ 0 w 2178617"/>
                <a:gd name="connsiteY13" fmla="*/ 3021234 h 3051186"/>
                <a:gd name="connsiteX14" fmla="*/ 26713 w 2178617"/>
                <a:gd name="connsiteY14" fmla="*/ 3051187 h 3051186"/>
                <a:gd name="connsiteX15" fmla="*/ 53121 w 2178617"/>
                <a:gd name="connsiteY15" fmla="*/ 3025533 h 3051186"/>
                <a:gd name="connsiteX16" fmla="*/ 1210080 w 2178617"/>
                <a:gd name="connsiteY16" fmla="*/ 3025533 h 3051186"/>
                <a:gd name="connsiteX17" fmla="*/ 1212757 w 2178617"/>
                <a:gd name="connsiteY17" fmla="*/ 3024270 h 3051186"/>
                <a:gd name="connsiteX18" fmla="*/ 1528717 w 2178617"/>
                <a:gd name="connsiteY18" fmla="*/ 2669989 h 3051186"/>
                <a:gd name="connsiteX19" fmla="*/ 1529843 w 2178617"/>
                <a:gd name="connsiteY19" fmla="*/ 2666953 h 3051186"/>
                <a:gd name="connsiteX20" fmla="*/ 1529843 w 2178617"/>
                <a:gd name="connsiteY20" fmla="*/ 2018739 h 3051186"/>
                <a:gd name="connsiteX21" fmla="*/ 1528717 w 2178617"/>
                <a:gd name="connsiteY21" fmla="*/ 2015737 h 3051186"/>
                <a:gd name="connsiteX22" fmla="*/ 976540 w 2178617"/>
                <a:gd name="connsiteY22" fmla="*/ 1396589 h 3051186"/>
                <a:gd name="connsiteX23" fmla="*/ 976540 w 2178617"/>
                <a:gd name="connsiteY23" fmla="*/ 476685 h 3051186"/>
                <a:gd name="connsiteX24" fmla="*/ 1371117 w 2178617"/>
                <a:gd name="connsiteY24" fmla="*/ 34251 h 3051186"/>
                <a:gd name="connsiteX25" fmla="*/ 2125496 w 2178617"/>
                <a:gd name="connsiteY25" fmla="*/ 34251 h 3051186"/>
                <a:gd name="connsiteX26" fmla="*/ 2151905 w 2178617"/>
                <a:gd name="connsiteY26" fmla="*/ 59905 h 3051186"/>
                <a:gd name="connsiteX27" fmla="*/ 2178618 w 2178617"/>
                <a:gd name="connsiteY27" fmla="*/ 29953 h 3051186"/>
                <a:gd name="connsiteX28" fmla="*/ 2151905 w 2178617"/>
                <a:gd name="connsiteY28" fmla="*/ 0 h 305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78617" h="3051186">
                  <a:moveTo>
                    <a:pt x="2151905" y="34"/>
                  </a:moveTo>
                  <a:cubicBezTo>
                    <a:pt x="2138457" y="34"/>
                    <a:pt x="2127352" y="11190"/>
                    <a:pt x="2125496" y="25688"/>
                  </a:cubicBezTo>
                  <a:lnTo>
                    <a:pt x="1369535" y="25688"/>
                  </a:lnTo>
                  <a:cubicBezTo>
                    <a:pt x="1368531" y="25688"/>
                    <a:pt x="1367558" y="26132"/>
                    <a:pt x="1366858" y="26951"/>
                  </a:cubicBezTo>
                  <a:lnTo>
                    <a:pt x="970029" y="471909"/>
                  </a:lnTo>
                  <a:cubicBezTo>
                    <a:pt x="969329" y="472694"/>
                    <a:pt x="968903" y="473785"/>
                    <a:pt x="968903" y="474945"/>
                  </a:cubicBezTo>
                  <a:lnTo>
                    <a:pt x="968903" y="1398363"/>
                  </a:lnTo>
                  <a:cubicBezTo>
                    <a:pt x="968903" y="1399488"/>
                    <a:pt x="969299" y="1400580"/>
                    <a:pt x="970029" y="1401365"/>
                  </a:cubicBezTo>
                  <a:lnTo>
                    <a:pt x="1522206" y="2020513"/>
                  </a:lnTo>
                  <a:lnTo>
                    <a:pt x="1522206" y="2665179"/>
                  </a:lnTo>
                  <a:lnTo>
                    <a:pt x="1208498" y="3016936"/>
                  </a:lnTo>
                  <a:lnTo>
                    <a:pt x="53121" y="3016936"/>
                  </a:lnTo>
                  <a:cubicBezTo>
                    <a:pt x="51266" y="3002437"/>
                    <a:pt x="40161" y="2991281"/>
                    <a:pt x="26713" y="2991281"/>
                  </a:cubicBezTo>
                  <a:cubicBezTo>
                    <a:pt x="11957" y="2991281"/>
                    <a:pt x="0" y="3004689"/>
                    <a:pt x="0" y="3021234"/>
                  </a:cubicBezTo>
                  <a:cubicBezTo>
                    <a:pt x="0" y="3037780"/>
                    <a:pt x="11957" y="3051187"/>
                    <a:pt x="26713" y="3051187"/>
                  </a:cubicBezTo>
                  <a:cubicBezTo>
                    <a:pt x="40161" y="3051187"/>
                    <a:pt x="51266" y="3040031"/>
                    <a:pt x="53121" y="3025533"/>
                  </a:cubicBezTo>
                  <a:lnTo>
                    <a:pt x="1210080" y="3025533"/>
                  </a:lnTo>
                  <a:cubicBezTo>
                    <a:pt x="1211084" y="3025533"/>
                    <a:pt x="1212057" y="3025089"/>
                    <a:pt x="1212757" y="3024270"/>
                  </a:cubicBezTo>
                  <a:lnTo>
                    <a:pt x="1528717" y="2669989"/>
                  </a:lnTo>
                  <a:cubicBezTo>
                    <a:pt x="1529417" y="2669204"/>
                    <a:pt x="1529843" y="2668113"/>
                    <a:pt x="1529843" y="2666953"/>
                  </a:cubicBezTo>
                  <a:lnTo>
                    <a:pt x="1529843" y="2018739"/>
                  </a:lnTo>
                  <a:cubicBezTo>
                    <a:pt x="1529843" y="2017613"/>
                    <a:pt x="1529447" y="2016522"/>
                    <a:pt x="1528717" y="2015737"/>
                  </a:cubicBezTo>
                  <a:lnTo>
                    <a:pt x="976540" y="1396589"/>
                  </a:lnTo>
                  <a:lnTo>
                    <a:pt x="976540" y="476685"/>
                  </a:lnTo>
                  <a:lnTo>
                    <a:pt x="1371117" y="34251"/>
                  </a:lnTo>
                  <a:lnTo>
                    <a:pt x="2125496" y="34251"/>
                  </a:lnTo>
                  <a:cubicBezTo>
                    <a:pt x="2127352" y="48750"/>
                    <a:pt x="2138457" y="59905"/>
                    <a:pt x="2151905" y="59905"/>
                  </a:cubicBezTo>
                  <a:cubicBezTo>
                    <a:pt x="2166661" y="59905"/>
                    <a:pt x="2178618" y="46498"/>
                    <a:pt x="2178618" y="29953"/>
                  </a:cubicBezTo>
                  <a:cubicBezTo>
                    <a:pt x="2178618" y="13407"/>
                    <a:pt x="2166661" y="0"/>
                    <a:pt x="2151905" y="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2" name="Freeform 300">
              <a:extLst>
                <a:ext uri="{FF2B5EF4-FFF2-40B4-BE49-F238E27FC236}">
                  <a16:creationId xmlns:a16="http://schemas.microsoft.com/office/drawing/2014/main" id="{C40B3C18-5756-2B44-211C-953EDB3EAEEB}"/>
                </a:ext>
              </a:extLst>
            </p:cNvPr>
            <p:cNvSpPr/>
            <p:nvPr userDrawn="1"/>
          </p:nvSpPr>
          <p:spPr>
            <a:xfrm>
              <a:off x="44685" y="4556072"/>
              <a:ext cx="2405585" cy="1594283"/>
            </a:xfrm>
            <a:custGeom>
              <a:avLst/>
              <a:gdLst>
                <a:gd name="connsiteX0" fmla="*/ 2404460 w 2405585"/>
                <a:gd name="connsiteY0" fmla="*/ 578279 h 1594283"/>
                <a:gd name="connsiteX1" fmla="*/ 1912737 w 2405585"/>
                <a:gd name="connsiteY1" fmla="*/ 26917 h 1594283"/>
                <a:gd name="connsiteX2" fmla="*/ 1910059 w 2405585"/>
                <a:gd name="connsiteY2" fmla="*/ 25654 h 1594283"/>
                <a:gd name="connsiteX3" fmla="*/ 53121 w 2405585"/>
                <a:gd name="connsiteY3" fmla="*/ 25654 h 1594283"/>
                <a:gd name="connsiteX4" fmla="*/ 26713 w 2405585"/>
                <a:gd name="connsiteY4" fmla="*/ 0 h 1594283"/>
                <a:gd name="connsiteX5" fmla="*/ 0 w 2405585"/>
                <a:gd name="connsiteY5" fmla="*/ 29952 h 1594283"/>
                <a:gd name="connsiteX6" fmla="*/ 26713 w 2405585"/>
                <a:gd name="connsiteY6" fmla="*/ 59905 h 1594283"/>
                <a:gd name="connsiteX7" fmla="*/ 53121 w 2405585"/>
                <a:gd name="connsiteY7" fmla="*/ 34251 h 1594283"/>
                <a:gd name="connsiteX8" fmla="*/ 1908447 w 2405585"/>
                <a:gd name="connsiteY8" fmla="*/ 34251 h 1594283"/>
                <a:gd name="connsiteX9" fmla="*/ 2397949 w 2405585"/>
                <a:gd name="connsiteY9" fmla="*/ 583123 h 1594283"/>
                <a:gd name="connsiteX10" fmla="*/ 2397949 w 2405585"/>
                <a:gd name="connsiteY10" fmla="*/ 1108660 h 1594283"/>
                <a:gd name="connsiteX11" fmla="*/ 2014690 w 2405585"/>
                <a:gd name="connsiteY11" fmla="*/ 1538403 h 1594283"/>
                <a:gd name="connsiteX12" fmla="*/ 2001364 w 2405585"/>
                <a:gd name="connsiteY12" fmla="*/ 1534378 h 1594283"/>
                <a:gd name="connsiteX13" fmla="*/ 1974651 w 2405585"/>
                <a:gd name="connsiteY13" fmla="*/ 1564330 h 1594283"/>
                <a:gd name="connsiteX14" fmla="*/ 2001364 w 2405585"/>
                <a:gd name="connsiteY14" fmla="*/ 1594283 h 1594283"/>
                <a:gd name="connsiteX15" fmla="*/ 2028077 w 2405585"/>
                <a:gd name="connsiteY15" fmla="*/ 1564330 h 1594283"/>
                <a:gd name="connsiteX16" fmla="*/ 2020714 w 2405585"/>
                <a:gd name="connsiteY16" fmla="*/ 1543725 h 1594283"/>
                <a:gd name="connsiteX17" fmla="*/ 2404460 w 2405585"/>
                <a:gd name="connsiteY17" fmla="*/ 1113436 h 1594283"/>
                <a:gd name="connsiteX18" fmla="*/ 2405586 w 2405585"/>
                <a:gd name="connsiteY18" fmla="*/ 1110434 h 1594283"/>
                <a:gd name="connsiteX19" fmla="*/ 2405586 w 2405585"/>
                <a:gd name="connsiteY19" fmla="*/ 581349 h 1594283"/>
                <a:gd name="connsiteX20" fmla="*/ 2404460 w 2405585"/>
                <a:gd name="connsiteY20" fmla="*/ 578347 h 1594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05585" h="1594283">
                  <a:moveTo>
                    <a:pt x="2404460" y="578279"/>
                  </a:moveTo>
                  <a:lnTo>
                    <a:pt x="1912737" y="26917"/>
                  </a:lnTo>
                  <a:cubicBezTo>
                    <a:pt x="1912037" y="26132"/>
                    <a:pt x="1911063" y="25654"/>
                    <a:pt x="1910059" y="25654"/>
                  </a:cubicBezTo>
                  <a:lnTo>
                    <a:pt x="53121" y="25654"/>
                  </a:lnTo>
                  <a:cubicBezTo>
                    <a:pt x="51266" y="11155"/>
                    <a:pt x="40161" y="0"/>
                    <a:pt x="26713" y="0"/>
                  </a:cubicBezTo>
                  <a:cubicBezTo>
                    <a:pt x="11957" y="0"/>
                    <a:pt x="0" y="13407"/>
                    <a:pt x="0" y="29952"/>
                  </a:cubicBezTo>
                  <a:cubicBezTo>
                    <a:pt x="0" y="46498"/>
                    <a:pt x="11957" y="59905"/>
                    <a:pt x="26713" y="59905"/>
                  </a:cubicBezTo>
                  <a:cubicBezTo>
                    <a:pt x="40161" y="59905"/>
                    <a:pt x="51266" y="48750"/>
                    <a:pt x="53121" y="34251"/>
                  </a:cubicBezTo>
                  <a:lnTo>
                    <a:pt x="1908447" y="34251"/>
                  </a:lnTo>
                  <a:lnTo>
                    <a:pt x="2397949" y="583123"/>
                  </a:lnTo>
                  <a:lnTo>
                    <a:pt x="2397949" y="1108660"/>
                  </a:lnTo>
                  <a:lnTo>
                    <a:pt x="2014690" y="1538403"/>
                  </a:lnTo>
                  <a:cubicBezTo>
                    <a:pt x="2010765" y="1535879"/>
                    <a:pt x="2006232" y="1534378"/>
                    <a:pt x="2001364" y="1534378"/>
                  </a:cubicBezTo>
                  <a:cubicBezTo>
                    <a:pt x="1986608" y="1534378"/>
                    <a:pt x="1974651" y="1547785"/>
                    <a:pt x="1974651" y="1564330"/>
                  </a:cubicBezTo>
                  <a:cubicBezTo>
                    <a:pt x="1974651" y="1580876"/>
                    <a:pt x="1986608" y="1594283"/>
                    <a:pt x="2001364" y="1594283"/>
                  </a:cubicBezTo>
                  <a:cubicBezTo>
                    <a:pt x="2016120" y="1594283"/>
                    <a:pt x="2028077" y="1580876"/>
                    <a:pt x="2028077" y="1564330"/>
                  </a:cubicBezTo>
                  <a:cubicBezTo>
                    <a:pt x="2028077" y="1556348"/>
                    <a:pt x="2025278" y="1549081"/>
                    <a:pt x="2020714" y="1543725"/>
                  </a:cubicBezTo>
                  <a:lnTo>
                    <a:pt x="2404460" y="1113436"/>
                  </a:lnTo>
                  <a:cubicBezTo>
                    <a:pt x="2405160" y="1112651"/>
                    <a:pt x="2405586" y="1111560"/>
                    <a:pt x="2405586" y="1110434"/>
                  </a:cubicBezTo>
                  <a:lnTo>
                    <a:pt x="2405586" y="581349"/>
                  </a:lnTo>
                  <a:cubicBezTo>
                    <a:pt x="2405586" y="580223"/>
                    <a:pt x="2405190" y="579132"/>
                    <a:pt x="2404460" y="578347"/>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3" name="Freeform 302">
              <a:extLst>
                <a:ext uri="{FF2B5EF4-FFF2-40B4-BE49-F238E27FC236}">
                  <a16:creationId xmlns:a16="http://schemas.microsoft.com/office/drawing/2014/main" id="{C3A19E29-C563-AE28-6741-8BDF8691FC8B}"/>
                </a:ext>
              </a:extLst>
            </p:cNvPr>
            <p:cNvSpPr/>
            <p:nvPr userDrawn="1"/>
          </p:nvSpPr>
          <p:spPr>
            <a:xfrm>
              <a:off x="4929028" y="938615"/>
              <a:ext cx="1356939" cy="402519"/>
            </a:xfrm>
            <a:custGeom>
              <a:avLst/>
              <a:gdLst>
                <a:gd name="connsiteX0" fmla="*/ 1334029 w 1356939"/>
                <a:gd name="connsiteY0" fmla="*/ 313037 h 402519"/>
                <a:gd name="connsiteX1" fmla="*/ 1334029 w 1356939"/>
                <a:gd name="connsiteY1" fmla="*/ 187938 h 402519"/>
                <a:gd name="connsiteX2" fmla="*/ 1332903 w 1356939"/>
                <a:gd name="connsiteY2" fmla="*/ 184936 h 402519"/>
                <a:gd name="connsiteX3" fmla="*/ 1169098 w 1356939"/>
                <a:gd name="connsiteY3" fmla="*/ 1262 h 402519"/>
                <a:gd name="connsiteX4" fmla="*/ 1166390 w 1356939"/>
                <a:gd name="connsiteY4" fmla="*/ 0 h 402519"/>
                <a:gd name="connsiteX5" fmla="*/ 355147 w 1356939"/>
                <a:gd name="connsiteY5" fmla="*/ 0 h 402519"/>
                <a:gd name="connsiteX6" fmla="*/ 352469 w 1356939"/>
                <a:gd name="connsiteY6" fmla="*/ 1262 h 402519"/>
                <a:gd name="connsiteX7" fmla="*/ 42686 w 1356939"/>
                <a:gd name="connsiteY7" fmla="*/ 348618 h 402519"/>
                <a:gd name="connsiteX8" fmla="*/ 26713 w 1356939"/>
                <a:gd name="connsiteY8" fmla="*/ 342614 h 402519"/>
                <a:gd name="connsiteX9" fmla="*/ 0 w 1356939"/>
                <a:gd name="connsiteY9" fmla="*/ 372567 h 402519"/>
                <a:gd name="connsiteX10" fmla="*/ 26713 w 1356939"/>
                <a:gd name="connsiteY10" fmla="*/ 402520 h 402519"/>
                <a:gd name="connsiteX11" fmla="*/ 53425 w 1356939"/>
                <a:gd name="connsiteY11" fmla="*/ 372567 h 402519"/>
                <a:gd name="connsiteX12" fmla="*/ 48071 w 1356939"/>
                <a:gd name="connsiteY12" fmla="*/ 354657 h 402519"/>
                <a:gd name="connsiteX13" fmla="*/ 356759 w 1356939"/>
                <a:gd name="connsiteY13" fmla="*/ 8529 h 402519"/>
                <a:gd name="connsiteX14" fmla="*/ 1164838 w 1356939"/>
                <a:gd name="connsiteY14" fmla="*/ 8529 h 402519"/>
                <a:gd name="connsiteX15" fmla="*/ 1326393 w 1356939"/>
                <a:gd name="connsiteY15" fmla="*/ 189678 h 402519"/>
                <a:gd name="connsiteX16" fmla="*/ 1326393 w 1356939"/>
                <a:gd name="connsiteY16" fmla="*/ 313003 h 402519"/>
                <a:gd name="connsiteX17" fmla="*/ 1303513 w 1356939"/>
                <a:gd name="connsiteY17" fmla="*/ 342614 h 402519"/>
                <a:gd name="connsiteX18" fmla="*/ 1330226 w 1356939"/>
                <a:gd name="connsiteY18" fmla="*/ 372567 h 402519"/>
                <a:gd name="connsiteX19" fmla="*/ 1356939 w 1356939"/>
                <a:gd name="connsiteY19" fmla="*/ 342614 h 402519"/>
                <a:gd name="connsiteX20" fmla="*/ 1334060 w 1356939"/>
                <a:gd name="connsiteY20" fmla="*/ 313003 h 402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56939" h="402519">
                  <a:moveTo>
                    <a:pt x="1334029" y="313037"/>
                  </a:moveTo>
                  <a:lnTo>
                    <a:pt x="1334029" y="187938"/>
                  </a:lnTo>
                  <a:cubicBezTo>
                    <a:pt x="1334029" y="186812"/>
                    <a:pt x="1333634" y="185721"/>
                    <a:pt x="1332903" y="184936"/>
                  </a:cubicBezTo>
                  <a:lnTo>
                    <a:pt x="1169098" y="1262"/>
                  </a:lnTo>
                  <a:cubicBezTo>
                    <a:pt x="1168398" y="478"/>
                    <a:pt x="1167424" y="0"/>
                    <a:pt x="1166390" y="0"/>
                  </a:cubicBezTo>
                  <a:lnTo>
                    <a:pt x="355147" y="0"/>
                  </a:lnTo>
                  <a:cubicBezTo>
                    <a:pt x="354143" y="0"/>
                    <a:pt x="353169" y="444"/>
                    <a:pt x="352469" y="1262"/>
                  </a:cubicBezTo>
                  <a:lnTo>
                    <a:pt x="42686" y="348618"/>
                  </a:lnTo>
                  <a:cubicBezTo>
                    <a:pt x="38213" y="344866"/>
                    <a:pt x="32706" y="342614"/>
                    <a:pt x="26713" y="342614"/>
                  </a:cubicBezTo>
                  <a:cubicBezTo>
                    <a:pt x="11957" y="342614"/>
                    <a:pt x="0" y="356021"/>
                    <a:pt x="0" y="372567"/>
                  </a:cubicBezTo>
                  <a:cubicBezTo>
                    <a:pt x="0" y="389113"/>
                    <a:pt x="11957" y="402520"/>
                    <a:pt x="26713" y="402520"/>
                  </a:cubicBezTo>
                  <a:cubicBezTo>
                    <a:pt x="41469" y="402520"/>
                    <a:pt x="53425" y="389113"/>
                    <a:pt x="53425" y="372567"/>
                  </a:cubicBezTo>
                  <a:cubicBezTo>
                    <a:pt x="53425" y="365846"/>
                    <a:pt x="51417" y="359637"/>
                    <a:pt x="48071" y="354657"/>
                  </a:cubicBezTo>
                  <a:lnTo>
                    <a:pt x="356759" y="8529"/>
                  </a:lnTo>
                  <a:lnTo>
                    <a:pt x="1164838" y="8529"/>
                  </a:lnTo>
                  <a:lnTo>
                    <a:pt x="1326393" y="189678"/>
                  </a:lnTo>
                  <a:lnTo>
                    <a:pt x="1326393" y="313003"/>
                  </a:lnTo>
                  <a:cubicBezTo>
                    <a:pt x="1313462" y="315084"/>
                    <a:pt x="1303513" y="327535"/>
                    <a:pt x="1303513" y="342614"/>
                  </a:cubicBezTo>
                  <a:cubicBezTo>
                    <a:pt x="1303513" y="359160"/>
                    <a:pt x="1315471" y="372567"/>
                    <a:pt x="1330226" y="372567"/>
                  </a:cubicBezTo>
                  <a:cubicBezTo>
                    <a:pt x="1344983" y="372567"/>
                    <a:pt x="1356939" y="359160"/>
                    <a:pt x="1356939" y="342614"/>
                  </a:cubicBezTo>
                  <a:cubicBezTo>
                    <a:pt x="1356939" y="327535"/>
                    <a:pt x="1346990" y="315084"/>
                    <a:pt x="1334060" y="313003"/>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4" name="Freeform 303">
              <a:extLst>
                <a:ext uri="{FF2B5EF4-FFF2-40B4-BE49-F238E27FC236}">
                  <a16:creationId xmlns:a16="http://schemas.microsoft.com/office/drawing/2014/main" id="{35DC548D-7337-BCE9-4783-F1796F39ACE5}"/>
                </a:ext>
              </a:extLst>
            </p:cNvPr>
            <p:cNvSpPr/>
            <p:nvPr userDrawn="1"/>
          </p:nvSpPr>
          <p:spPr>
            <a:xfrm>
              <a:off x="4022038" y="606235"/>
              <a:ext cx="1193650" cy="621331"/>
            </a:xfrm>
            <a:custGeom>
              <a:avLst/>
              <a:gdLst>
                <a:gd name="connsiteX0" fmla="*/ 1166968 w 1193650"/>
                <a:gd name="connsiteY0" fmla="*/ 0 h 621331"/>
                <a:gd name="connsiteX1" fmla="*/ 1140255 w 1193650"/>
                <a:gd name="connsiteY1" fmla="*/ 29953 h 621331"/>
                <a:gd name="connsiteX2" fmla="*/ 1166816 w 1193650"/>
                <a:gd name="connsiteY2" fmla="*/ 59871 h 621331"/>
                <a:gd name="connsiteX3" fmla="*/ 1166816 w 1193650"/>
                <a:gd name="connsiteY3" fmla="*/ 176885 h 621331"/>
                <a:gd name="connsiteX4" fmla="*/ 800990 w 1193650"/>
                <a:gd name="connsiteY4" fmla="*/ 587080 h 621331"/>
                <a:gd name="connsiteX5" fmla="*/ 53122 w 1193650"/>
                <a:gd name="connsiteY5" fmla="*/ 587080 h 621331"/>
                <a:gd name="connsiteX6" fmla="*/ 26713 w 1193650"/>
                <a:gd name="connsiteY6" fmla="*/ 561426 h 621331"/>
                <a:gd name="connsiteX7" fmla="*/ 0 w 1193650"/>
                <a:gd name="connsiteY7" fmla="*/ 591379 h 621331"/>
                <a:gd name="connsiteX8" fmla="*/ 26713 w 1193650"/>
                <a:gd name="connsiteY8" fmla="*/ 621331 h 621331"/>
                <a:gd name="connsiteX9" fmla="*/ 53122 w 1193650"/>
                <a:gd name="connsiteY9" fmla="*/ 595677 h 621331"/>
                <a:gd name="connsiteX10" fmla="*/ 802572 w 1193650"/>
                <a:gd name="connsiteY10" fmla="*/ 595677 h 621331"/>
                <a:gd name="connsiteX11" fmla="*/ 805249 w 1193650"/>
                <a:gd name="connsiteY11" fmla="*/ 594415 h 621331"/>
                <a:gd name="connsiteX12" fmla="*/ 1173296 w 1193650"/>
                <a:gd name="connsiteY12" fmla="*/ 181729 h 621331"/>
                <a:gd name="connsiteX13" fmla="*/ 1174422 w 1193650"/>
                <a:gd name="connsiteY13" fmla="*/ 178727 h 621331"/>
                <a:gd name="connsiteX14" fmla="*/ 1174422 w 1193650"/>
                <a:gd name="connsiteY14" fmla="*/ 58746 h 621331"/>
                <a:gd name="connsiteX15" fmla="*/ 1193650 w 1193650"/>
                <a:gd name="connsiteY15" fmla="*/ 30021 h 621331"/>
                <a:gd name="connsiteX16" fmla="*/ 1166938 w 1193650"/>
                <a:gd name="connsiteY16" fmla="*/ 68 h 62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93650" h="621331">
                  <a:moveTo>
                    <a:pt x="1166968" y="0"/>
                  </a:moveTo>
                  <a:cubicBezTo>
                    <a:pt x="1152212" y="0"/>
                    <a:pt x="1140255" y="13407"/>
                    <a:pt x="1140255" y="29953"/>
                  </a:cubicBezTo>
                  <a:cubicBezTo>
                    <a:pt x="1140255" y="46498"/>
                    <a:pt x="1152121" y="59803"/>
                    <a:pt x="1166816" y="59871"/>
                  </a:cubicBezTo>
                  <a:lnTo>
                    <a:pt x="1166816" y="176885"/>
                  </a:lnTo>
                  <a:lnTo>
                    <a:pt x="800990" y="587080"/>
                  </a:lnTo>
                  <a:lnTo>
                    <a:pt x="53122" y="587080"/>
                  </a:lnTo>
                  <a:cubicBezTo>
                    <a:pt x="51266" y="572582"/>
                    <a:pt x="40161" y="561426"/>
                    <a:pt x="26713" y="561426"/>
                  </a:cubicBezTo>
                  <a:cubicBezTo>
                    <a:pt x="11957" y="561426"/>
                    <a:pt x="0" y="574833"/>
                    <a:pt x="0" y="591379"/>
                  </a:cubicBezTo>
                  <a:cubicBezTo>
                    <a:pt x="0" y="607924"/>
                    <a:pt x="11957" y="621331"/>
                    <a:pt x="26713" y="621331"/>
                  </a:cubicBezTo>
                  <a:cubicBezTo>
                    <a:pt x="40161" y="621331"/>
                    <a:pt x="51266" y="610176"/>
                    <a:pt x="53122" y="595677"/>
                  </a:cubicBezTo>
                  <a:lnTo>
                    <a:pt x="802572" y="595677"/>
                  </a:lnTo>
                  <a:cubicBezTo>
                    <a:pt x="803576" y="595677"/>
                    <a:pt x="804550" y="595234"/>
                    <a:pt x="805249" y="594415"/>
                  </a:cubicBezTo>
                  <a:lnTo>
                    <a:pt x="1173296" y="181729"/>
                  </a:lnTo>
                  <a:cubicBezTo>
                    <a:pt x="1173996" y="180944"/>
                    <a:pt x="1174422" y="179853"/>
                    <a:pt x="1174422" y="178727"/>
                  </a:cubicBezTo>
                  <a:lnTo>
                    <a:pt x="1174422" y="58746"/>
                  </a:lnTo>
                  <a:cubicBezTo>
                    <a:pt x="1185527" y="55129"/>
                    <a:pt x="1193650" y="43633"/>
                    <a:pt x="1193650" y="30021"/>
                  </a:cubicBezTo>
                  <a:cubicBezTo>
                    <a:pt x="1193650" y="13475"/>
                    <a:pt x="1181693" y="68"/>
                    <a:pt x="1166938" y="68"/>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5" name="Freeform 304">
              <a:extLst>
                <a:ext uri="{FF2B5EF4-FFF2-40B4-BE49-F238E27FC236}">
                  <a16:creationId xmlns:a16="http://schemas.microsoft.com/office/drawing/2014/main" id="{9FB622F3-79D4-1080-9ECE-A78BF8FF100E}"/>
                </a:ext>
              </a:extLst>
            </p:cNvPr>
            <p:cNvSpPr/>
            <p:nvPr userDrawn="1"/>
          </p:nvSpPr>
          <p:spPr>
            <a:xfrm>
              <a:off x="3968643" y="552777"/>
              <a:ext cx="1193650" cy="621331"/>
            </a:xfrm>
            <a:custGeom>
              <a:avLst/>
              <a:gdLst>
                <a:gd name="connsiteX0" fmla="*/ 1166968 w 1193650"/>
                <a:gd name="connsiteY0" fmla="*/ 0 h 621331"/>
                <a:gd name="connsiteX1" fmla="*/ 1140255 w 1193650"/>
                <a:gd name="connsiteY1" fmla="*/ 29953 h 621331"/>
                <a:gd name="connsiteX2" fmla="*/ 1166816 w 1193650"/>
                <a:gd name="connsiteY2" fmla="*/ 59871 h 621331"/>
                <a:gd name="connsiteX3" fmla="*/ 1166816 w 1193650"/>
                <a:gd name="connsiteY3" fmla="*/ 176885 h 621331"/>
                <a:gd name="connsiteX4" fmla="*/ 800990 w 1193650"/>
                <a:gd name="connsiteY4" fmla="*/ 587080 h 621331"/>
                <a:gd name="connsiteX5" fmla="*/ 53121 w 1193650"/>
                <a:gd name="connsiteY5" fmla="*/ 587080 h 621331"/>
                <a:gd name="connsiteX6" fmla="*/ 26713 w 1193650"/>
                <a:gd name="connsiteY6" fmla="*/ 561426 h 621331"/>
                <a:gd name="connsiteX7" fmla="*/ 0 w 1193650"/>
                <a:gd name="connsiteY7" fmla="*/ 591379 h 621331"/>
                <a:gd name="connsiteX8" fmla="*/ 26713 w 1193650"/>
                <a:gd name="connsiteY8" fmla="*/ 621332 h 621331"/>
                <a:gd name="connsiteX9" fmla="*/ 53121 w 1193650"/>
                <a:gd name="connsiteY9" fmla="*/ 595677 h 621331"/>
                <a:gd name="connsiteX10" fmla="*/ 802572 w 1193650"/>
                <a:gd name="connsiteY10" fmla="*/ 595677 h 621331"/>
                <a:gd name="connsiteX11" fmla="*/ 805249 w 1193650"/>
                <a:gd name="connsiteY11" fmla="*/ 594415 h 621331"/>
                <a:gd name="connsiteX12" fmla="*/ 1173296 w 1193650"/>
                <a:gd name="connsiteY12" fmla="*/ 181729 h 621331"/>
                <a:gd name="connsiteX13" fmla="*/ 1174422 w 1193650"/>
                <a:gd name="connsiteY13" fmla="*/ 178693 h 621331"/>
                <a:gd name="connsiteX14" fmla="*/ 1174422 w 1193650"/>
                <a:gd name="connsiteY14" fmla="*/ 58711 h 621331"/>
                <a:gd name="connsiteX15" fmla="*/ 1193650 w 1193650"/>
                <a:gd name="connsiteY15" fmla="*/ 29987 h 621331"/>
                <a:gd name="connsiteX16" fmla="*/ 1166937 w 1193650"/>
                <a:gd name="connsiteY16" fmla="*/ 34 h 62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93650" h="621331">
                  <a:moveTo>
                    <a:pt x="1166968" y="0"/>
                  </a:moveTo>
                  <a:cubicBezTo>
                    <a:pt x="1152212" y="0"/>
                    <a:pt x="1140255" y="13407"/>
                    <a:pt x="1140255" y="29953"/>
                  </a:cubicBezTo>
                  <a:cubicBezTo>
                    <a:pt x="1140255" y="46498"/>
                    <a:pt x="1152120" y="59803"/>
                    <a:pt x="1166816" y="59871"/>
                  </a:cubicBezTo>
                  <a:lnTo>
                    <a:pt x="1166816" y="176885"/>
                  </a:lnTo>
                  <a:lnTo>
                    <a:pt x="800990" y="587080"/>
                  </a:lnTo>
                  <a:lnTo>
                    <a:pt x="53121" y="587080"/>
                  </a:lnTo>
                  <a:cubicBezTo>
                    <a:pt x="51265" y="572582"/>
                    <a:pt x="40160" y="561426"/>
                    <a:pt x="26713" y="561426"/>
                  </a:cubicBezTo>
                  <a:cubicBezTo>
                    <a:pt x="11957" y="561426"/>
                    <a:pt x="0" y="574833"/>
                    <a:pt x="0" y="591379"/>
                  </a:cubicBezTo>
                  <a:cubicBezTo>
                    <a:pt x="0" y="607924"/>
                    <a:pt x="11957" y="621332"/>
                    <a:pt x="26713" y="621332"/>
                  </a:cubicBezTo>
                  <a:cubicBezTo>
                    <a:pt x="40160" y="621332"/>
                    <a:pt x="51265" y="610176"/>
                    <a:pt x="53121" y="595677"/>
                  </a:cubicBezTo>
                  <a:lnTo>
                    <a:pt x="802572" y="595677"/>
                  </a:lnTo>
                  <a:cubicBezTo>
                    <a:pt x="803576" y="595677"/>
                    <a:pt x="804549" y="595234"/>
                    <a:pt x="805249" y="594415"/>
                  </a:cubicBezTo>
                  <a:lnTo>
                    <a:pt x="1173296" y="181729"/>
                  </a:lnTo>
                  <a:cubicBezTo>
                    <a:pt x="1173996" y="180945"/>
                    <a:pt x="1174422" y="179853"/>
                    <a:pt x="1174422" y="178693"/>
                  </a:cubicBezTo>
                  <a:lnTo>
                    <a:pt x="1174422" y="58711"/>
                  </a:lnTo>
                  <a:cubicBezTo>
                    <a:pt x="1185527" y="55095"/>
                    <a:pt x="1193650" y="43599"/>
                    <a:pt x="1193650" y="29987"/>
                  </a:cubicBezTo>
                  <a:cubicBezTo>
                    <a:pt x="1193650" y="13441"/>
                    <a:pt x="1181693" y="34"/>
                    <a:pt x="1166937" y="3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6" name="Freeform 305">
              <a:extLst>
                <a:ext uri="{FF2B5EF4-FFF2-40B4-BE49-F238E27FC236}">
                  <a16:creationId xmlns:a16="http://schemas.microsoft.com/office/drawing/2014/main" id="{B36BF794-3A94-B423-4DFE-68E35E4B4207}"/>
                </a:ext>
              </a:extLst>
            </p:cNvPr>
            <p:cNvSpPr/>
            <p:nvPr userDrawn="1"/>
          </p:nvSpPr>
          <p:spPr>
            <a:xfrm>
              <a:off x="3921667" y="435695"/>
              <a:ext cx="1193650" cy="621331"/>
            </a:xfrm>
            <a:custGeom>
              <a:avLst/>
              <a:gdLst>
                <a:gd name="connsiteX0" fmla="*/ 1166968 w 1193650"/>
                <a:gd name="connsiteY0" fmla="*/ 0 h 621331"/>
                <a:gd name="connsiteX1" fmla="*/ 1140255 w 1193650"/>
                <a:gd name="connsiteY1" fmla="*/ 29953 h 621331"/>
                <a:gd name="connsiteX2" fmla="*/ 1166816 w 1193650"/>
                <a:gd name="connsiteY2" fmla="*/ 59871 h 621331"/>
                <a:gd name="connsiteX3" fmla="*/ 1166816 w 1193650"/>
                <a:gd name="connsiteY3" fmla="*/ 176885 h 621331"/>
                <a:gd name="connsiteX4" fmla="*/ 800990 w 1193650"/>
                <a:gd name="connsiteY4" fmla="*/ 587080 h 621331"/>
                <a:gd name="connsiteX5" fmla="*/ 53122 w 1193650"/>
                <a:gd name="connsiteY5" fmla="*/ 587080 h 621331"/>
                <a:gd name="connsiteX6" fmla="*/ 26713 w 1193650"/>
                <a:gd name="connsiteY6" fmla="*/ 561426 h 621331"/>
                <a:gd name="connsiteX7" fmla="*/ 0 w 1193650"/>
                <a:gd name="connsiteY7" fmla="*/ 591379 h 621331"/>
                <a:gd name="connsiteX8" fmla="*/ 26713 w 1193650"/>
                <a:gd name="connsiteY8" fmla="*/ 621332 h 621331"/>
                <a:gd name="connsiteX9" fmla="*/ 53122 w 1193650"/>
                <a:gd name="connsiteY9" fmla="*/ 595677 h 621331"/>
                <a:gd name="connsiteX10" fmla="*/ 802572 w 1193650"/>
                <a:gd name="connsiteY10" fmla="*/ 595677 h 621331"/>
                <a:gd name="connsiteX11" fmla="*/ 805249 w 1193650"/>
                <a:gd name="connsiteY11" fmla="*/ 594415 h 621331"/>
                <a:gd name="connsiteX12" fmla="*/ 1173296 w 1193650"/>
                <a:gd name="connsiteY12" fmla="*/ 181729 h 621331"/>
                <a:gd name="connsiteX13" fmla="*/ 1174422 w 1193650"/>
                <a:gd name="connsiteY13" fmla="*/ 178727 h 621331"/>
                <a:gd name="connsiteX14" fmla="*/ 1174422 w 1193650"/>
                <a:gd name="connsiteY14" fmla="*/ 58746 h 621331"/>
                <a:gd name="connsiteX15" fmla="*/ 1193650 w 1193650"/>
                <a:gd name="connsiteY15" fmla="*/ 30021 h 621331"/>
                <a:gd name="connsiteX16" fmla="*/ 1166938 w 1193650"/>
                <a:gd name="connsiteY16" fmla="*/ 68 h 62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93650" h="621331">
                  <a:moveTo>
                    <a:pt x="1166968" y="0"/>
                  </a:moveTo>
                  <a:cubicBezTo>
                    <a:pt x="1152212" y="0"/>
                    <a:pt x="1140255" y="13407"/>
                    <a:pt x="1140255" y="29953"/>
                  </a:cubicBezTo>
                  <a:cubicBezTo>
                    <a:pt x="1140255" y="46498"/>
                    <a:pt x="1152121" y="59803"/>
                    <a:pt x="1166816" y="59871"/>
                  </a:cubicBezTo>
                  <a:lnTo>
                    <a:pt x="1166816" y="176885"/>
                  </a:lnTo>
                  <a:lnTo>
                    <a:pt x="800990" y="587080"/>
                  </a:lnTo>
                  <a:lnTo>
                    <a:pt x="53122" y="587080"/>
                  </a:lnTo>
                  <a:cubicBezTo>
                    <a:pt x="51266" y="572582"/>
                    <a:pt x="40161" y="561426"/>
                    <a:pt x="26713" y="561426"/>
                  </a:cubicBezTo>
                  <a:cubicBezTo>
                    <a:pt x="11957" y="561426"/>
                    <a:pt x="0" y="574833"/>
                    <a:pt x="0" y="591379"/>
                  </a:cubicBezTo>
                  <a:cubicBezTo>
                    <a:pt x="0" y="607924"/>
                    <a:pt x="11957" y="621332"/>
                    <a:pt x="26713" y="621332"/>
                  </a:cubicBezTo>
                  <a:cubicBezTo>
                    <a:pt x="40161" y="621332"/>
                    <a:pt x="51266" y="610176"/>
                    <a:pt x="53122" y="595677"/>
                  </a:cubicBezTo>
                  <a:lnTo>
                    <a:pt x="802572" y="595677"/>
                  </a:lnTo>
                  <a:cubicBezTo>
                    <a:pt x="803576" y="595677"/>
                    <a:pt x="804550" y="595234"/>
                    <a:pt x="805249" y="594415"/>
                  </a:cubicBezTo>
                  <a:lnTo>
                    <a:pt x="1173296" y="181729"/>
                  </a:lnTo>
                  <a:cubicBezTo>
                    <a:pt x="1173996" y="180945"/>
                    <a:pt x="1174422" y="179853"/>
                    <a:pt x="1174422" y="178727"/>
                  </a:cubicBezTo>
                  <a:lnTo>
                    <a:pt x="1174422" y="58746"/>
                  </a:lnTo>
                  <a:cubicBezTo>
                    <a:pt x="1185527" y="55129"/>
                    <a:pt x="1193650" y="43633"/>
                    <a:pt x="1193650" y="30021"/>
                  </a:cubicBezTo>
                  <a:cubicBezTo>
                    <a:pt x="1193650" y="13475"/>
                    <a:pt x="1181693" y="68"/>
                    <a:pt x="1166938" y="68"/>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306">
              <a:extLst>
                <a:ext uri="{FF2B5EF4-FFF2-40B4-BE49-F238E27FC236}">
                  <a16:creationId xmlns:a16="http://schemas.microsoft.com/office/drawing/2014/main" id="{5F52593D-871E-AB61-93B1-B817107B801F}"/>
                </a:ext>
              </a:extLst>
            </p:cNvPr>
            <p:cNvSpPr/>
            <p:nvPr userDrawn="1"/>
          </p:nvSpPr>
          <p:spPr>
            <a:xfrm>
              <a:off x="6215960" y="784450"/>
              <a:ext cx="301812" cy="347390"/>
            </a:xfrm>
            <a:custGeom>
              <a:avLst/>
              <a:gdLst>
                <a:gd name="connsiteX0" fmla="*/ 275069 w 301812"/>
                <a:gd name="connsiteY0" fmla="*/ 287451 h 347390"/>
                <a:gd name="connsiteX1" fmla="*/ 261195 w 301812"/>
                <a:gd name="connsiteY1" fmla="*/ 291851 h 347390"/>
                <a:gd name="connsiteX2" fmla="*/ 46032 w 301812"/>
                <a:gd name="connsiteY2" fmla="*/ 50592 h 347390"/>
                <a:gd name="connsiteX3" fmla="*/ 53426 w 301812"/>
                <a:gd name="connsiteY3" fmla="*/ 29953 h 347390"/>
                <a:gd name="connsiteX4" fmla="*/ 26713 w 301812"/>
                <a:gd name="connsiteY4" fmla="*/ 0 h 347390"/>
                <a:gd name="connsiteX5" fmla="*/ 0 w 301812"/>
                <a:gd name="connsiteY5" fmla="*/ 29953 h 347390"/>
                <a:gd name="connsiteX6" fmla="*/ 26713 w 301812"/>
                <a:gd name="connsiteY6" fmla="*/ 59905 h 347390"/>
                <a:gd name="connsiteX7" fmla="*/ 40008 w 301812"/>
                <a:gd name="connsiteY7" fmla="*/ 55914 h 347390"/>
                <a:gd name="connsiteX8" fmla="*/ 255323 w 301812"/>
                <a:gd name="connsiteY8" fmla="*/ 297344 h 347390"/>
                <a:gd name="connsiteX9" fmla="*/ 248387 w 301812"/>
                <a:gd name="connsiteY9" fmla="*/ 317437 h 347390"/>
                <a:gd name="connsiteX10" fmla="*/ 275099 w 301812"/>
                <a:gd name="connsiteY10" fmla="*/ 347390 h 347390"/>
                <a:gd name="connsiteX11" fmla="*/ 301812 w 301812"/>
                <a:gd name="connsiteY11" fmla="*/ 317437 h 347390"/>
                <a:gd name="connsiteX12" fmla="*/ 275099 w 301812"/>
                <a:gd name="connsiteY12" fmla="*/ 287485 h 34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1812" h="347390">
                  <a:moveTo>
                    <a:pt x="275069" y="287451"/>
                  </a:moveTo>
                  <a:cubicBezTo>
                    <a:pt x="269988" y="287451"/>
                    <a:pt x="265242" y="289088"/>
                    <a:pt x="261195" y="291851"/>
                  </a:cubicBezTo>
                  <a:lnTo>
                    <a:pt x="46032" y="50592"/>
                  </a:lnTo>
                  <a:cubicBezTo>
                    <a:pt x="50596" y="45236"/>
                    <a:pt x="53426" y="37970"/>
                    <a:pt x="53426" y="29953"/>
                  </a:cubicBezTo>
                  <a:cubicBezTo>
                    <a:pt x="53426" y="13407"/>
                    <a:pt x="41468" y="0"/>
                    <a:pt x="26713" y="0"/>
                  </a:cubicBezTo>
                  <a:cubicBezTo>
                    <a:pt x="11957" y="0"/>
                    <a:pt x="0" y="13407"/>
                    <a:pt x="0" y="29953"/>
                  </a:cubicBezTo>
                  <a:cubicBezTo>
                    <a:pt x="0" y="46498"/>
                    <a:pt x="11957" y="59905"/>
                    <a:pt x="26713" y="59905"/>
                  </a:cubicBezTo>
                  <a:cubicBezTo>
                    <a:pt x="31550" y="59905"/>
                    <a:pt x="36084" y="58439"/>
                    <a:pt x="40008" y="55914"/>
                  </a:cubicBezTo>
                  <a:lnTo>
                    <a:pt x="255323" y="297344"/>
                  </a:lnTo>
                  <a:cubicBezTo>
                    <a:pt x="251034" y="302666"/>
                    <a:pt x="248387" y="309693"/>
                    <a:pt x="248387" y="317437"/>
                  </a:cubicBezTo>
                  <a:cubicBezTo>
                    <a:pt x="248387" y="333983"/>
                    <a:pt x="260344" y="347390"/>
                    <a:pt x="275099" y="347390"/>
                  </a:cubicBezTo>
                  <a:cubicBezTo>
                    <a:pt x="289856" y="347390"/>
                    <a:pt x="301812" y="333983"/>
                    <a:pt x="301812" y="317437"/>
                  </a:cubicBezTo>
                  <a:cubicBezTo>
                    <a:pt x="301812" y="300892"/>
                    <a:pt x="289856" y="287485"/>
                    <a:pt x="275099" y="28748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8" name="Freeform 307">
              <a:extLst>
                <a:ext uri="{FF2B5EF4-FFF2-40B4-BE49-F238E27FC236}">
                  <a16:creationId xmlns:a16="http://schemas.microsoft.com/office/drawing/2014/main" id="{B2B26B95-7230-36F0-8666-E6B95BCBDEC4}"/>
                </a:ext>
              </a:extLst>
            </p:cNvPr>
            <p:cNvSpPr/>
            <p:nvPr userDrawn="1"/>
          </p:nvSpPr>
          <p:spPr>
            <a:xfrm>
              <a:off x="5260991" y="746344"/>
              <a:ext cx="887882" cy="59905"/>
            </a:xfrm>
            <a:custGeom>
              <a:avLst/>
              <a:gdLst>
                <a:gd name="connsiteX0" fmla="*/ 861169 w 887882"/>
                <a:gd name="connsiteY0" fmla="*/ 0 h 59905"/>
                <a:gd name="connsiteX1" fmla="*/ 834761 w 887882"/>
                <a:gd name="connsiteY1" fmla="*/ 25654 h 59905"/>
                <a:gd name="connsiteX2" fmla="*/ 53121 w 887882"/>
                <a:gd name="connsiteY2" fmla="*/ 25654 h 59905"/>
                <a:gd name="connsiteX3" fmla="*/ 26713 w 887882"/>
                <a:gd name="connsiteY3" fmla="*/ 0 h 59905"/>
                <a:gd name="connsiteX4" fmla="*/ 0 w 887882"/>
                <a:gd name="connsiteY4" fmla="*/ 29953 h 59905"/>
                <a:gd name="connsiteX5" fmla="*/ 26713 w 887882"/>
                <a:gd name="connsiteY5" fmla="*/ 59905 h 59905"/>
                <a:gd name="connsiteX6" fmla="*/ 53121 w 887882"/>
                <a:gd name="connsiteY6" fmla="*/ 34251 h 59905"/>
                <a:gd name="connsiteX7" fmla="*/ 834761 w 887882"/>
                <a:gd name="connsiteY7" fmla="*/ 34251 h 59905"/>
                <a:gd name="connsiteX8" fmla="*/ 861169 w 887882"/>
                <a:gd name="connsiteY8" fmla="*/ 59905 h 59905"/>
                <a:gd name="connsiteX9" fmla="*/ 887882 w 887882"/>
                <a:gd name="connsiteY9" fmla="*/ 29953 h 59905"/>
                <a:gd name="connsiteX10" fmla="*/ 861169 w 887882"/>
                <a:gd name="connsiteY10" fmla="*/ 0 h 5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7882" h="59905">
                  <a:moveTo>
                    <a:pt x="861169" y="0"/>
                  </a:moveTo>
                  <a:cubicBezTo>
                    <a:pt x="847722" y="0"/>
                    <a:pt x="836617" y="11156"/>
                    <a:pt x="834761" y="25654"/>
                  </a:cubicBezTo>
                  <a:lnTo>
                    <a:pt x="53121" y="25654"/>
                  </a:lnTo>
                  <a:cubicBezTo>
                    <a:pt x="51265" y="11156"/>
                    <a:pt x="40160" y="0"/>
                    <a:pt x="26713" y="0"/>
                  </a:cubicBezTo>
                  <a:cubicBezTo>
                    <a:pt x="11957" y="0"/>
                    <a:pt x="0" y="13407"/>
                    <a:pt x="0" y="29953"/>
                  </a:cubicBezTo>
                  <a:cubicBezTo>
                    <a:pt x="0" y="46498"/>
                    <a:pt x="11957" y="59905"/>
                    <a:pt x="26713" y="59905"/>
                  </a:cubicBezTo>
                  <a:cubicBezTo>
                    <a:pt x="40160" y="59905"/>
                    <a:pt x="51265" y="48750"/>
                    <a:pt x="53121" y="34251"/>
                  </a:cubicBezTo>
                  <a:lnTo>
                    <a:pt x="834761" y="34251"/>
                  </a:lnTo>
                  <a:cubicBezTo>
                    <a:pt x="836617" y="48750"/>
                    <a:pt x="847722" y="59905"/>
                    <a:pt x="861169" y="59905"/>
                  </a:cubicBezTo>
                  <a:cubicBezTo>
                    <a:pt x="875926" y="59905"/>
                    <a:pt x="887882" y="46498"/>
                    <a:pt x="887882" y="29953"/>
                  </a:cubicBezTo>
                  <a:cubicBezTo>
                    <a:pt x="887882" y="13407"/>
                    <a:pt x="875926" y="0"/>
                    <a:pt x="861169" y="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9" name="Freeform 308">
              <a:extLst>
                <a:ext uri="{FF2B5EF4-FFF2-40B4-BE49-F238E27FC236}">
                  <a16:creationId xmlns:a16="http://schemas.microsoft.com/office/drawing/2014/main" id="{1CF2833F-928D-3E7A-1353-160C2F62C061}"/>
                </a:ext>
              </a:extLst>
            </p:cNvPr>
            <p:cNvSpPr/>
            <p:nvPr userDrawn="1"/>
          </p:nvSpPr>
          <p:spPr>
            <a:xfrm>
              <a:off x="6276687" y="716391"/>
              <a:ext cx="301812" cy="347390"/>
            </a:xfrm>
            <a:custGeom>
              <a:avLst/>
              <a:gdLst>
                <a:gd name="connsiteX0" fmla="*/ 275069 w 301812"/>
                <a:gd name="connsiteY0" fmla="*/ 287451 h 347390"/>
                <a:gd name="connsiteX1" fmla="*/ 261196 w 301812"/>
                <a:gd name="connsiteY1" fmla="*/ 291852 h 347390"/>
                <a:gd name="connsiteX2" fmla="*/ 46032 w 301812"/>
                <a:gd name="connsiteY2" fmla="*/ 50592 h 347390"/>
                <a:gd name="connsiteX3" fmla="*/ 53426 w 301812"/>
                <a:gd name="connsiteY3" fmla="*/ 29953 h 347390"/>
                <a:gd name="connsiteX4" fmla="*/ 26713 w 301812"/>
                <a:gd name="connsiteY4" fmla="*/ 0 h 347390"/>
                <a:gd name="connsiteX5" fmla="*/ 0 w 301812"/>
                <a:gd name="connsiteY5" fmla="*/ 29953 h 347390"/>
                <a:gd name="connsiteX6" fmla="*/ 26713 w 301812"/>
                <a:gd name="connsiteY6" fmla="*/ 59905 h 347390"/>
                <a:gd name="connsiteX7" fmla="*/ 40008 w 301812"/>
                <a:gd name="connsiteY7" fmla="*/ 55914 h 347390"/>
                <a:gd name="connsiteX8" fmla="*/ 255323 w 301812"/>
                <a:gd name="connsiteY8" fmla="*/ 297344 h 347390"/>
                <a:gd name="connsiteX9" fmla="*/ 248387 w 301812"/>
                <a:gd name="connsiteY9" fmla="*/ 317438 h 347390"/>
                <a:gd name="connsiteX10" fmla="*/ 275099 w 301812"/>
                <a:gd name="connsiteY10" fmla="*/ 347390 h 347390"/>
                <a:gd name="connsiteX11" fmla="*/ 301812 w 301812"/>
                <a:gd name="connsiteY11" fmla="*/ 317438 h 347390"/>
                <a:gd name="connsiteX12" fmla="*/ 275099 w 301812"/>
                <a:gd name="connsiteY12" fmla="*/ 287485 h 34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1812" h="347390">
                  <a:moveTo>
                    <a:pt x="275069" y="287451"/>
                  </a:moveTo>
                  <a:cubicBezTo>
                    <a:pt x="269988" y="287451"/>
                    <a:pt x="265242" y="289088"/>
                    <a:pt x="261196" y="291852"/>
                  </a:cubicBezTo>
                  <a:lnTo>
                    <a:pt x="46032" y="50592"/>
                  </a:lnTo>
                  <a:cubicBezTo>
                    <a:pt x="50596" y="45236"/>
                    <a:pt x="53426" y="37970"/>
                    <a:pt x="53426" y="29953"/>
                  </a:cubicBezTo>
                  <a:cubicBezTo>
                    <a:pt x="53426" y="13407"/>
                    <a:pt x="41468" y="0"/>
                    <a:pt x="26713" y="0"/>
                  </a:cubicBezTo>
                  <a:cubicBezTo>
                    <a:pt x="11957" y="0"/>
                    <a:pt x="0" y="13407"/>
                    <a:pt x="0" y="29953"/>
                  </a:cubicBezTo>
                  <a:cubicBezTo>
                    <a:pt x="0" y="46498"/>
                    <a:pt x="11957" y="59905"/>
                    <a:pt x="26713" y="59905"/>
                  </a:cubicBezTo>
                  <a:cubicBezTo>
                    <a:pt x="31551" y="59905"/>
                    <a:pt x="36084" y="58439"/>
                    <a:pt x="40008" y="55914"/>
                  </a:cubicBezTo>
                  <a:lnTo>
                    <a:pt x="255323" y="297344"/>
                  </a:lnTo>
                  <a:cubicBezTo>
                    <a:pt x="251034" y="302666"/>
                    <a:pt x="248387" y="309693"/>
                    <a:pt x="248387" y="317438"/>
                  </a:cubicBezTo>
                  <a:cubicBezTo>
                    <a:pt x="248387" y="333983"/>
                    <a:pt x="260344" y="347390"/>
                    <a:pt x="275099" y="347390"/>
                  </a:cubicBezTo>
                  <a:cubicBezTo>
                    <a:pt x="289856" y="347390"/>
                    <a:pt x="301812" y="333983"/>
                    <a:pt x="301812" y="317438"/>
                  </a:cubicBezTo>
                  <a:cubicBezTo>
                    <a:pt x="301812" y="300892"/>
                    <a:pt x="289856" y="287485"/>
                    <a:pt x="275099" y="28748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309">
              <a:extLst>
                <a:ext uri="{FF2B5EF4-FFF2-40B4-BE49-F238E27FC236}">
                  <a16:creationId xmlns:a16="http://schemas.microsoft.com/office/drawing/2014/main" id="{E29AFE58-A642-4F3B-5B1C-2DB43A07980C}"/>
                </a:ext>
              </a:extLst>
            </p:cNvPr>
            <p:cNvSpPr/>
            <p:nvPr userDrawn="1"/>
          </p:nvSpPr>
          <p:spPr>
            <a:xfrm>
              <a:off x="3354552" y="1542514"/>
              <a:ext cx="1402180" cy="677484"/>
            </a:xfrm>
            <a:custGeom>
              <a:avLst/>
              <a:gdLst>
                <a:gd name="connsiteX0" fmla="*/ 1375437 w 1402180"/>
                <a:gd name="connsiteY0" fmla="*/ 256952 h 677484"/>
                <a:gd name="connsiteX1" fmla="*/ 1359464 w 1402180"/>
                <a:gd name="connsiteY1" fmla="*/ 262956 h 677484"/>
                <a:gd name="connsiteX2" fmla="*/ 1126077 w 1402180"/>
                <a:gd name="connsiteY2" fmla="*/ 1262 h 677484"/>
                <a:gd name="connsiteX3" fmla="*/ 1123400 w 1402180"/>
                <a:gd name="connsiteY3" fmla="*/ 0 h 677484"/>
                <a:gd name="connsiteX4" fmla="*/ 600369 w 1402180"/>
                <a:gd name="connsiteY4" fmla="*/ 0 h 677484"/>
                <a:gd name="connsiteX5" fmla="*/ 597692 w 1402180"/>
                <a:gd name="connsiteY5" fmla="*/ 1262 h 677484"/>
                <a:gd name="connsiteX6" fmla="*/ 42686 w 1402180"/>
                <a:gd name="connsiteY6" fmla="*/ 623583 h 677484"/>
                <a:gd name="connsiteX7" fmla="*/ 26713 w 1402180"/>
                <a:gd name="connsiteY7" fmla="*/ 617579 h 677484"/>
                <a:gd name="connsiteX8" fmla="*/ 0 w 1402180"/>
                <a:gd name="connsiteY8" fmla="*/ 647532 h 677484"/>
                <a:gd name="connsiteX9" fmla="*/ 26713 w 1402180"/>
                <a:gd name="connsiteY9" fmla="*/ 677484 h 677484"/>
                <a:gd name="connsiteX10" fmla="*/ 53425 w 1402180"/>
                <a:gd name="connsiteY10" fmla="*/ 647532 h 677484"/>
                <a:gd name="connsiteX11" fmla="*/ 48071 w 1402180"/>
                <a:gd name="connsiteY11" fmla="*/ 629621 h 677484"/>
                <a:gd name="connsiteX12" fmla="*/ 601982 w 1402180"/>
                <a:gd name="connsiteY12" fmla="*/ 8529 h 677484"/>
                <a:gd name="connsiteX13" fmla="*/ 1121848 w 1402180"/>
                <a:gd name="connsiteY13" fmla="*/ 8529 h 677484"/>
                <a:gd name="connsiteX14" fmla="*/ 1354110 w 1402180"/>
                <a:gd name="connsiteY14" fmla="*/ 268961 h 677484"/>
                <a:gd name="connsiteX15" fmla="*/ 1348755 w 1402180"/>
                <a:gd name="connsiteY15" fmla="*/ 286871 h 677484"/>
                <a:gd name="connsiteX16" fmla="*/ 1375468 w 1402180"/>
                <a:gd name="connsiteY16" fmla="*/ 316823 h 677484"/>
                <a:gd name="connsiteX17" fmla="*/ 1402181 w 1402180"/>
                <a:gd name="connsiteY17" fmla="*/ 286871 h 677484"/>
                <a:gd name="connsiteX18" fmla="*/ 1375468 w 1402180"/>
                <a:gd name="connsiteY18" fmla="*/ 256918 h 67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02180" h="677484">
                  <a:moveTo>
                    <a:pt x="1375437" y="256952"/>
                  </a:moveTo>
                  <a:cubicBezTo>
                    <a:pt x="1369444" y="256952"/>
                    <a:pt x="1363906" y="259204"/>
                    <a:pt x="1359464" y="262956"/>
                  </a:cubicBezTo>
                  <a:lnTo>
                    <a:pt x="1126077" y="1262"/>
                  </a:lnTo>
                  <a:cubicBezTo>
                    <a:pt x="1125377" y="478"/>
                    <a:pt x="1124404" y="0"/>
                    <a:pt x="1123400" y="0"/>
                  </a:cubicBezTo>
                  <a:lnTo>
                    <a:pt x="600369" y="0"/>
                  </a:lnTo>
                  <a:cubicBezTo>
                    <a:pt x="599366" y="0"/>
                    <a:pt x="598392" y="444"/>
                    <a:pt x="597692" y="1262"/>
                  </a:cubicBezTo>
                  <a:lnTo>
                    <a:pt x="42686" y="623583"/>
                  </a:lnTo>
                  <a:cubicBezTo>
                    <a:pt x="38213" y="619830"/>
                    <a:pt x="32706" y="617579"/>
                    <a:pt x="26713" y="617579"/>
                  </a:cubicBezTo>
                  <a:cubicBezTo>
                    <a:pt x="11957" y="617579"/>
                    <a:pt x="0" y="630986"/>
                    <a:pt x="0" y="647532"/>
                  </a:cubicBezTo>
                  <a:cubicBezTo>
                    <a:pt x="0" y="664077"/>
                    <a:pt x="11957" y="677484"/>
                    <a:pt x="26713" y="677484"/>
                  </a:cubicBezTo>
                  <a:cubicBezTo>
                    <a:pt x="41469" y="677484"/>
                    <a:pt x="53425" y="664077"/>
                    <a:pt x="53425" y="647532"/>
                  </a:cubicBezTo>
                  <a:cubicBezTo>
                    <a:pt x="53425" y="640811"/>
                    <a:pt x="51417" y="634602"/>
                    <a:pt x="48071" y="629621"/>
                  </a:cubicBezTo>
                  <a:lnTo>
                    <a:pt x="601982" y="8529"/>
                  </a:lnTo>
                  <a:lnTo>
                    <a:pt x="1121848" y="8529"/>
                  </a:lnTo>
                  <a:lnTo>
                    <a:pt x="1354110" y="268961"/>
                  </a:lnTo>
                  <a:cubicBezTo>
                    <a:pt x="1350763" y="273975"/>
                    <a:pt x="1348755" y="280150"/>
                    <a:pt x="1348755" y="286871"/>
                  </a:cubicBezTo>
                  <a:cubicBezTo>
                    <a:pt x="1348755" y="303416"/>
                    <a:pt x="1360712" y="316823"/>
                    <a:pt x="1375468" y="316823"/>
                  </a:cubicBezTo>
                  <a:cubicBezTo>
                    <a:pt x="1390224" y="316823"/>
                    <a:pt x="1402181" y="303416"/>
                    <a:pt x="1402181" y="286871"/>
                  </a:cubicBezTo>
                  <a:cubicBezTo>
                    <a:pt x="1402181" y="270325"/>
                    <a:pt x="1390224" y="256918"/>
                    <a:pt x="1375468" y="256918"/>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311">
              <a:extLst>
                <a:ext uri="{FF2B5EF4-FFF2-40B4-BE49-F238E27FC236}">
                  <a16:creationId xmlns:a16="http://schemas.microsoft.com/office/drawing/2014/main" id="{DD55CF7F-A94C-03C3-BFAF-D611AD3976EB}"/>
                </a:ext>
              </a:extLst>
            </p:cNvPr>
            <p:cNvSpPr/>
            <p:nvPr userDrawn="1"/>
          </p:nvSpPr>
          <p:spPr>
            <a:xfrm>
              <a:off x="2411205" y="5764825"/>
              <a:ext cx="925943" cy="651113"/>
            </a:xfrm>
            <a:custGeom>
              <a:avLst/>
              <a:gdLst>
                <a:gd name="connsiteX0" fmla="*/ 899262 w 925943"/>
                <a:gd name="connsiteY0" fmla="*/ 591277 h 651113"/>
                <a:gd name="connsiteX1" fmla="*/ 873674 w 925943"/>
                <a:gd name="connsiteY1" fmla="*/ 612666 h 651113"/>
                <a:gd name="connsiteX2" fmla="*/ 374680 w 925943"/>
                <a:gd name="connsiteY2" fmla="*/ 612666 h 651113"/>
                <a:gd name="connsiteX3" fmla="*/ 191128 w 925943"/>
                <a:gd name="connsiteY3" fmla="*/ 406852 h 651113"/>
                <a:gd name="connsiteX4" fmla="*/ 191128 w 925943"/>
                <a:gd name="connsiteY4" fmla="*/ 200424 h 651113"/>
                <a:gd name="connsiteX5" fmla="*/ 188907 w 925943"/>
                <a:gd name="connsiteY5" fmla="*/ 194386 h 651113"/>
                <a:gd name="connsiteX6" fmla="*/ 51691 w 925943"/>
                <a:gd name="connsiteY6" fmla="*/ 40528 h 651113"/>
                <a:gd name="connsiteX7" fmla="*/ 53426 w 925943"/>
                <a:gd name="connsiteY7" fmla="*/ 29953 h 651113"/>
                <a:gd name="connsiteX8" fmla="*/ 26713 w 925943"/>
                <a:gd name="connsiteY8" fmla="*/ 0 h 651113"/>
                <a:gd name="connsiteX9" fmla="*/ 0 w 925943"/>
                <a:gd name="connsiteY9" fmla="*/ 29953 h 651113"/>
                <a:gd name="connsiteX10" fmla="*/ 26713 w 925943"/>
                <a:gd name="connsiteY10" fmla="*/ 59906 h 651113"/>
                <a:gd name="connsiteX11" fmla="*/ 42321 w 925943"/>
                <a:gd name="connsiteY11" fmla="*/ 54208 h 651113"/>
                <a:gd name="connsiteX12" fmla="*/ 175885 w 925943"/>
                <a:gd name="connsiteY12" fmla="*/ 203972 h 651113"/>
                <a:gd name="connsiteX13" fmla="*/ 175885 w 925943"/>
                <a:gd name="connsiteY13" fmla="*/ 410400 h 651113"/>
                <a:gd name="connsiteX14" fmla="*/ 178106 w 925943"/>
                <a:gd name="connsiteY14" fmla="*/ 416439 h 651113"/>
                <a:gd name="connsiteX15" fmla="*/ 366100 w 925943"/>
                <a:gd name="connsiteY15" fmla="*/ 627233 h 651113"/>
                <a:gd name="connsiteX16" fmla="*/ 371485 w 925943"/>
                <a:gd name="connsiteY16" fmla="*/ 629724 h 651113"/>
                <a:gd name="connsiteX17" fmla="*/ 873644 w 925943"/>
                <a:gd name="connsiteY17" fmla="*/ 629724 h 651113"/>
                <a:gd name="connsiteX18" fmla="*/ 899231 w 925943"/>
                <a:gd name="connsiteY18" fmla="*/ 651114 h 651113"/>
                <a:gd name="connsiteX19" fmla="*/ 925944 w 925943"/>
                <a:gd name="connsiteY19" fmla="*/ 621161 h 651113"/>
                <a:gd name="connsiteX20" fmla="*/ 899231 w 925943"/>
                <a:gd name="connsiteY20" fmla="*/ 591208 h 65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25943" h="651113">
                  <a:moveTo>
                    <a:pt x="899262" y="591277"/>
                  </a:moveTo>
                  <a:cubicBezTo>
                    <a:pt x="887152" y="591277"/>
                    <a:pt x="876960" y="600317"/>
                    <a:pt x="873674" y="612666"/>
                  </a:cubicBezTo>
                  <a:lnTo>
                    <a:pt x="374680" y="612666"/>
                  </a:lnTo>
                  <a:lnTo>
                    <a:pt x="191128" y="406852"/>
                  </a:lnTo>
                  <a:lnTo>
                    <a:pt x="191128" y="200424"/>
                  </a:lnTo>
                  <a:cubicBezTo>
                    <a:pt x="191128" y="198172"/>
                    <a:pt x="190337" y="195989"/>
                    <a:pt x="188907" y="194386"/>
                  </a:cubicBezTo>
                  <a:lnTo>
                    <a:pt x="51691" y="40528"/>
                  </a:lnTo>
                  <a:cubicBezTo>
                    <a:pt x="52817" y="37219"/>
                    <a:pt x="53426" y="33671"/>
                    <a:pt x="53426" y="29953"/>
                  </a:cubicBezTo>
                  <a:cubicBezTo>
                    <a:pt x="53426" y="13407"/>
                    <a:pt x="41469" y="0"/>
                    <a:pt x="26713" y="0"/>
                  </a:cubicBezTo>
                  <a:cubicBezTo>
                    <a:pt x="11957" y="0"/>
                    <a:pt x="0" y="13407"/>
                    <a:pt x="0" y="29953"/>
                  </a:cubicBezTo>
                  <a:cubicBezTo>
                    <a:pt x="0" y="46498"/>
                    <a:pt x="11957" y="59906"/>
                    <a:pt x="26713" y="59906"/>
                  </a:cubicBezTo>
                  <a:cubicBezTo>
                    <a:pt x="32554" y="59906"/>
                    <a:pt x="37940" y="57791"/>
                    <a:pt x="42321" y="54208"/>
                  </a:cubicBezTo>
                  <a:lnTo>
                    <a:pt x="175885" y="203972"/>
                  </a:lnTo>
                  <a:lnTo>
                    <a:pt x="175885" y="410400"/>
                  </a:lnTo>
                  <a:cubicBezTo>
                    <a:pt x="175885" y="412652"/>
                    <a:pt x="176676" y="414835"/>
                    <a:pt x="178106" y="416439"/>
                  </a:cubicBezTo>
                  <a:lnTo>
                    <a:pt x="366100" y="627233"/>
                  </a:lnTo>
                  <a:cubicBezTo>
                    <a:pt x="367530" y="628837"/>
                    <a:pt x="369477" y="629724"/>
                    <a:pt x="371485" y="629724"/>
                  </a:cubicBezTo>
                  <a:lnTo>
                    <a:pt x="873644" y="629724"/>
                  </a:lnTo>
                  <a:cubicBezTo>
                    <a:pt x="876930" y="642107"/>
                    <a:pt x="887122" y="651114"/>
                    <a:pt x="899231" y="651114"/>
                  </a:cubicBezTo>
                  <a:cubicBezTo>
                    <a:pt x="913987" y="651114"/>
                    <a:pt x="925944" y="637707"/>
                    <a:pt x="925944" y="621161"/>
                  </a:cubicBezTo>
                  <a:cubicBezTo>
                    <a:pt x="925944" y="604615"/>
                    <a:pt x="913987" y="591208"/>
                    <a:pt x="899231" y="591208"/>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2" name="Freeform 312">
              <a:extLst>
                <a:ext uri="{FF2B5EF4-FFF2-40B4-BE49-F238E27FC236}">
                  <a16:creationId xmlns:a16="http://schemas.microsoft.com/office/drawing/2014/main" id="{7B73072B-8DE7-D5C2-01CD-5496CCA10617}"/>
                </a:ext>
              </a:extLst>
            </p:cNvPr>
            <p:cNvSpPr/>
            <p:nvPr userDrawn="1"/>
          </p:nvSpPr>
          <p:spPr>
            <a:xfrm>
              <a:off x="3283754" y="5624306"/>
              <a:ext cx="783769" cy="851605"/>
            </a:xfrm>
            <a:custGeom>
              <a:avLst/>
              <a:gdLst>
                <a:gd name="connsiteX0" fmla="*/ 781518 w 783769"/>
                <a:gd name="connsiteY0" fmla="*/ 190906 h 851605"/>
                <a:gd name="connsiteX1" fmla="*/ 613483 w 783769"/>
                <a:gd name="connsiteY1" fmla="*/ 2490 h 851605"/>
                <a:gd name="connsiteX2" fmla="*/ 608097 w 783769"/>
                <a:gd name="connsiteY2" fmla="*/ 0 h 851605"/>
                <a:gd name="connsiteX3" fmla="*/ 233448 w 783769"/>
                <a:gd name="connsiteY3" fmla="*/ 0 h 851605"/>
                <a:gd name="connsiteX4" fmla="*/ 228063 w 783769"/>
                <a:gd name="connsiteY4" fmla="*/ 2490 h 851605"/>
                <a:gd name="connsiteX5" fmla="*/ 35931 w 783769"/>
                <a:gd name="connsiteY5" fmla="*/ 217925 h 851605"/>
                <a:gd name="connsiteX6" fmla="*/ 26713 w 783769"/>
                <a:gd name="connsiteY6" fmla="*/ 216048 h 851605"/>
                <a:gd name="connsiteX7" fmla="*/ 0 w 783769"/>
                <a:gd name="connsiteY7" fmla="*/ 246001 h 851605"/>
                <a:gd name="connsiteX8" fmla="*/ 26713 w 783769"/>
                <a:gd name="connsiteY8" fmla="*/ 275954 h 851605"/>
                <a:gd name="connsiteX9" fmla="*/ 53425 w 783769"/>
                <a:gd name="connsiteY9" fmla="*/ 246001 h 851605"/>
                <a:gd name="connsiteX10" fmla="*/ 48223 w 783769"/>
                <a:gd name="connsiteY10" fmla="*/ 228295 h 851605"/>
                <a:gd name="connsiteX11" fmla="*/ 236613 w 783769"/>
                <a:gd name="connsiteY11" fmla="*/ 17057 h 851605"/>
                <a:gd name="connsiteX12" fmla="*/ 604933 w 783769"/>
                <a:gd name="connsiteY12" fmla="*/ 17057 h 851605"/>
                <a:gd name="connsiteX13" fmla="*/ 768527 w 783769"/>
                <a:gd name="connsiteY13" fmla="*/ 200492 h 851605"/>
                <a:gd name="connsiteX14" fmla="*/ 768527 w 783769"/>
                <a:gd name="connsiteY14" fmla="*/ 420088 h 851605"/>
                <a:gd name="connsiteX15" fmla="*/ 569610 w 783769"/>
                <a:gd name="connsiteY15" fmla="*/ 643130 h 851605"/>
                <a:gd name="connsiteX16" fmla="*/ 567389 w 783769"/>
                <a:gd name="connsiteY16" fmla="*/ 649169 h 851605"/>
                <a:gd name="connsiteX17" fmla="*/ 567389 w 783769"/>
                <a:gd name="connsiteY17" fmla="*/ 792758 h 851605"/>
                <a:gd name="connsiteX18" fmla="*/ 547613 w 783769"/>
                <a:gd name="connsiteY18" fmla="*/ 821653 h 851605"/>
                <a:gd name="connsiteX19" fmla="*/ 574326 w 783769"/>
                <a:gd name="connsiteY19" fmla="*/ 851606 h 851605"/>
                <a:gd name="connsiteX20" fmla="*/ 601039 w 783769"/>
                <a:gd name="connsiteY20" fmla="*/ 821653 h 851605"/>
                <a:gd name="connsiteX21" fmla="*/ 582632 w 783769"/>
                <a:gd name="connsiteY21" fmla="*/ 793202 h 851605"/>
                <a:gd name="connsiteX22" fmla="*/ 582632 w 783769"/>
                <a:gd name="connsiteY22" fmla="*/ 652717 h 851605"/>
                <a:gd name="connsiteX23" fmla="*/ 781548 w 783769"/>
                <a:gd name="connsiteY23" fmla="*/ 429675 h 851605"/>
                <a:gd name="connsiteX24" fmla="*/ 783769 w 783769"/>
                <a:gd name="connsiteY24" fmla="*/ 423636 h 851605"/>
                <a:gd name="connsiteX25" fmla="*/ 783769 w 783769"/>
                <a:gd name="connsiteY25" fmla="*/ 196978 h 851605"/>
                <a:gd name="connsiteX26" fmla="*/ 781548 w 783769"/>
                <a:gd name="connsiteY26" fmla="*/ 190940 h 85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83769" h="851605">
                  <a:moveTo>
                    <a:pt x="781518" y="190906"/>
                  </a:moveTo>
                  <a:lnTo>
                    <a:pt x="613483" y="2490"/>
                  </a:lnTo>
                  <a:cubicBezTo>
                    <a:pt x="612052" y="887"/>
                    <a:pt x="610106" y="0"/>
                    <a:pt x="608097" y="0"/>
                  </a:cubicBezTo>
                  <a:lnTo>
                    <a:pt x="233448" y="0"/>
                  </a:lnTo>
                  <a:cubicBezTo>
                    <a:pt x="231440" y="0"/>
                    <a:pt x="229493" y="887"/>
                    <a:pt x="228063" y="2490"/>
                  </a:cubicBezTo>
                  <a:lnTo>
                    <a:pt x="35931" y="217925"/>
                  </a:lnTo>
                  <a:cubicBezTo>
                    <a:pt x="33041" y="216731"/>
                    <a:pt x="29968" y="216048"/>
                    <a:pt x="26713" y="216048"/>
                  </a:cubicBezTo>
                  <a:cubicBezTo>
                    <a:pt x="11957" y="216048"/>
                    <a:pt x="0" y="229456"/>
                    <a:pt x="0" y="246001"/>
                  </a:cubicBezTo>
                  <a:cubicBezTo>
                    <a:pt x="0" y="262547"/>
                    <a:pt x="11957" y="275954"/>
                    <a:pt x="26713" y="275954"/>
                  </a:cubicBezTo>
                  <a:cubicBezTo>
                    <a:pt x="41469" y="275954"/>
                    <a:pt x="53425" y="262547"/>
                    <a:pt x="53425" y="246001"/>
                  </a:cubicBezTo>
                  <a:cubicBezTo>
                    <a:pt x="53425" y="239383"/>
                    <a:pt x="51478" y="233277"/>
                    <a:pt x="48223" y="228295"/>
                  </a:cubicBezTo>
                  <a:lnTo>
                    <a:pt x="236613" y="17057"/>
                  </a:lnTo>
                  <a:lnTo>
                    <a:pt x="604933" y="17057"/>
                  </a:lnTo>
                  <a:lnTo>
                    <a:pt x="768527" y="200492"/>
                  </a:lnTo>
                  <a:lnTo>
                    <a:pt x="768527" y="420088"/>
                  </a:lnTo>
                  <a:lnTo>
                    <a:pt x="569610" y="643130"/>
                  </a:lnTo>
                  <a:cubicBezTo>
                    <a:pt x="568180" y="644734"/>
                    <a:pt x="567389" y="646918"/>
                    <a:pt x="567389" y="649169"/>
                  </a:cubicBezTo>
                  <a:lnTo>
                    <a:pt x="567389" y="792758"/>
                  </a:lnTo>
                  <a:cubicBezTo>
                    <a:pt x="556010" y="796203"/>
                    <a:pt x="547613" y="807802"/>
                    <a:pt x="547613" y="821653"/>
                  </a:cubicBezTo>
                  <a:cubicBezTo>
                    <a:pt x="547613" y="838199"/>
                    <a:pt x="559570" y="851606"/>
                    <a:pt x="574326" y="851606"/>
                  </a:cubicBezTo>
                  <a:cubicBezTo>
                    <a:pt x="589082" y="851606"/>
                    <a:pt x="601039" y="838199"/>
                    <a:pt x="601039" y="821653"/>
                  </a:cubicBezTo>
                  <a:cubicBezTo>
                    <a:pt x="601039" y="808382"/>
                    <a:pt x="593311" y="797124"/>
                    <a:pt x="582632" y="793202"/>
                  </a:cubicBezTo>
                  <a:lnTo>
                    <a:pt x="582632" y="652717"/>
                  </a:lnTo>
                  <a:lnTo>
                    <a:pt x="781548" y="429675"/>
                  </a:lnTo>
                  <a:cubicBezTo>
                    <a:pt x="782978" y="428072"/>
                    <a:pt x="783769" y="425888"/>
                    <a:pt x="783769" y="423636"/>
                  </a:cubicBezTo>
                  <a:lnTo>
                    <a:pt x="783769" y="196978"/>
                  </a:lnTo>
                  <a:cubicBezTo>
                    <a:pt x="783769" y="194727"/>
                    <a:pt x="782978" y="192543"/>
                    <a:pt x="781548" y="19094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3" name="Freeform 313">
              <a:extLst>
                <a:ext uri="{FF2B5EF4-FFF2-40B4-BE49-F238E27FC236}">
                  <a16:creationId xmlns:a16="http://schemas.microsoft.com/office/drawing/2014/main" id="{4C01AFD0-D6C3-1862-A764-CCF06F6B8788}"/>
                </a:ext>
              </a:extLst>
            </p:cNvPr>
            <p:cNvSpPr/>
            <p:nvPr userDrawn="1"/>
          </p:nvSpPr>
          <p:spPr>
            <a:xfrm>
              <a:off x="1017331" y="5192618"/>
              <a:ext cx="777623" cy="467610"/>
            </a:xfrm>
            <a:custGeom>
              <a:avLst/>
              <a:gdLst>
                <a:gd name="connsiteX0" fmla="*/ 758517 w 777623"/>
                <a:gd name="connsiteY0" fmla="*/ 408933 h 467610"/>
                <a:gd name="connsiteX1" fmla="*/ 758517 w 777623"/>
                <a:gd name="connsiteY1" fmla="*/ 193669 h 467610"/>
                <a:gd name="connsiteX2" fmla="*/ 756296 w 777623"/>
                <a:gd name="connsiteY2" fmla="*/ 187631 h 467610"/>
                <a:gd name="connsiteX3" fmla="*/ 610258 w 777623"/>
                <a:gd name="connsiteY3" fmla="*/ 23880 h 467610"/>
                <a:gd name="connsiteX4" fmla="*/ 604872 w 777623"/>
                <a:gd name="connsiteY4" fmla="*/ 21390 h 467610"/>
                <a:gd name="connsiteX5" fmla="*/ 52300 w 777623"/>
                <a:gd name="connsiteY5" fmla="*/ 21390 h 467610"/>
                <a:gd name="connsiteX6" fmla="*/ 26713 w 777623"/>
                <a:gd name="connsiteY6" fmla="*/ 0 h 467610"/>
                <a:gd name="connsiteX7" fmla="*/ 0 w 777623"/>
                <a:gd name="connsiteY7" fmla="*/ 29953 h 467610"/>
                <a:gd name="connsiteX8" fmla="*/ 26713 w 777623"/>
                <a:gd name="connsiteY8" fmla="*/ 59905 h 467610"/>
                <a:gd name="connsiteX9" fmla="*/ 52300 w 777623"/>
                <a:gd name="connsiteY9" fmla="*/ 38516 h 467610"/>
                <a:gd name="connsiteX10" fmla="*/ 601708 w 777623"/>
                <a:gd name="connsiteY10" fmla="*/ 38516 h 467610"/>
                <a:gd name="connsiteX11" fmla="*/ 743274 w 777623"/>
                <a:gd name="connsiteY11" fmla="*/ 197251 h 467610"/>
                <a:gd name="connsiteX12" fmla="*/ 743274 w 777623"/>
                <a:gd name="connsiteY12" fmla="*/ 408967 h 467610"/>
                <a:gd name="connsiteX13" fmla="*/ 724198 w 777623"/>
                <a:gd name="connsiteY13" fmla="*/ 437658 h 467610"/>
                <a:gd name="connsiteX14" fmla="*/ 750911 w 777623"/>
                <a:gd name="connsiteY14" fmla="*/ 467610 h 467610"/>
                <a:gd name="connsiteX15" fmla="*/ 777624 w 777623"/>
                <a:gd name="connsiteY15" fmla="*/ 437658 h 467610"/>
                <a:gd name="connsiteX16" fmla="*/ 758547 w 777623"/>
                <a:gd name="connsiteY16" fmla="*/ 408967 h 467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7623" h="467610">
                  <a:moveTo>
                    <a:pt x="758517" y="408933"/>
                  </a:moveTo>
                  <a:lnTo>
                    <a:pt x="758517" y="193669"/>
                  </a:lnTo>
                  <a:cubicBezTo>
                    <a:pt x="758517" y="191418"/>
                    <a:pt x="757726" y="189234"/>
                    <a:pt x="756296" y="187631"/>
                  </a:cubicBezTo>
                  <a:lnTo>
                    <a:pt x="610258" y="23880"/>
                  </a:lnTo>
                  <a:cubicBezTo>
                    <a:pt x="608828" y="22277"/>
                    <a:pt x="606880" y="21390"/>
                    <a:pt x="604872" y="21390"/>
                  </a:cubicBezTo>
                  <a:lnTo>
                    <a:pt x="52300" y="21390"/>
                  </a:lnTo>
                  <a:cubicBezTo>
                    <a:pt x="49014" y="9006"/>
                    <a:pt x="38822" y="0"/>
                    <a:pt x="26713" y="0"/>
                  </a:cubicBezTo>
                  <a:cubicBezTo>
                    <a:pt x="11957" y="0"/>
                    <a:pt x="0" y="13407"/>
                    <a:pt x="0" y="29953"/>
                  </a:cubicBezTo>
                  <a:cubicBezTo>
                    <a:pt x="0" y="46498"/>
                    <a:pt x="11957" y="59905"/>
                    <a:pt x="26713" y="59905"/>
                  </a:cubicBezTo>
                  <a:cubicBezTo>
                    <a:pt x="38822" y="59905"/>
                    <a:pt x="49014" y="50865"/>
                    <a:pt x="52300" y="38516"/>
                  </a:cubicBezTo>
                  <a:lnTo>
                    <a:pt x="601708" y="38516"/>
                  </a:lnTo>
                  <a:lnTo>
                    <a:pt x="743274" y="197251"/>
                  </a:lnTo>
                  <a:lnTo>
                    <a:pt x="743274" y="408967"/>
                  </a:lnTo>
                  <a:cubicBezTo>
                    <a:pt x="732230" y="412652"/>
                    <a:pt x="724198" y="424080"/>
                    <a:pt x="724198" y="437658"/>
                  </a:cubicBezTo>
                  <a:cubicBezTo>
                    <a:pt x="724198" y="454203"/>
                    <a:pt x="736155" y="467610"/>
                    <a:pt x="750911" y="467610"/>
                  </a:cubicBezTo>
                  <a:cubicBezTo>
                    <a:pt x="765667" y="467610"/>
                    <a:pt x="777624" y="454203"/>
                    <a:pt x="777624" y="437658"/>
                  </a:cubicBezTo>
                  <a:cubicBezTo>
                    <a:pt x="777624" y="424080"/>
                    <a:pt x="769561" y="412652"/>
                    <a:pt x="758547" y="408967"/>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4" name="Freeform 316">
              <a:extLst>
                <a:ext uri="{FF2B5EF4-FFF2-40B4-BE49-F238E27FC236}">
                  <a16:creationId xmlns:a16="http://schemas.microsoft.com/office/drawing/2014/main" id="{189D3898-9CEE-0B67-5295-529B093DE980}"/>
                </a:ext>
              </a:extLst>
            </p:cNvPr>
            <p:cNvSpPr/>
            <p:nvPr userDrawn="1"/>
          </p:nvSpPr>
          <p:spPr>
            <a:xfrm>
              <a:off x="1029987" y="646354"/>
              <a:ext cx="2649591" cy="1113402"/>
            </a:xfrm>
            <a:custGeom>
              <a:avLst/>
              <a:gdLst>
                <a:gd name="connsiteX0" fmla="*/ 2622939 w 2649591"/>
                <a:gd name="connsiteY0" fmla="*/ 0 h 1113402"/>
                <a:gd name="connsiteX1" fmla="*/ 2596226 w 2649591"/>
                <a:gd name="connsiteY1" fmla="*/ 29953 h 1113402"/>
                <a:gd name="connsiteX2" fmla="*/ 2615303 w 2649591"/>
                <a:gd name="connsiteY2" fmla="*/ 58643 h 1113402"/>
                <a:gd name="connsiteX3" fmla="*/ 2615303 w 2649591"/>
                <a:gd name="connsiteY3" fmla="*/ 620683 h 1113402"/>
                <a:gd name="connsiteX4" fmla="*/ 2191122 w 2649591"/>
                <a:gd name="connsiteY4" fmla="*/ 1096311 h 1113402"/>
                <a:gd name="connsiteX5" fmla="*/ 2029537 w 2649591"/>
                <a:gd name="connsiteY5" fmla="*/ 1096311 h 1113402"/>
                <a:gd name="connsiteX6" fmla="*/ 1240048 w 2649591"/>
                <a:gd name="connsiteY6" fmla="*/ 211068 h 1113402"/>
                <a:gd name="connsiteX7" fmla="*/ 1234663 w 2649591"/>
                <a:gd name="connsiteY7" fmla="*/ 208577 h 1113402"/>
                <a:gd name="connsiteX8" fmla="*/ 52057 w 2649591"/>
                <a:gd name="connsiteY8" fmla="*/ 208577 h 1113402"/>
                <a:gd name="connsiteX9" fmla="*/ 26713 w 2649591"/>
                <a:gd name="connsiteY9" fmla="*/ 188006 h 1113402"/>
                <a:gd name="connsiteX10" fmla="*/ 0 w 2649591"/>
                <a:gd name="connsiteY10" fmla="*/ 217959 h 1113402"/>
                <a:gd name="connsiteX11" fmla="*/ 26713 w 2649591"/>
                <a:gd name="connsiteY11" fmla="*/ 247912 h 1113402"/>
                <a:gd name="connsiteX12" fmla="*/ 52483 w 2649591"/>
                <a:gd name="connsiteY12" fmla="*/ 225669 h 1113402"/>
                <a:gd name="connsiteX13" fmla="*/ 1231499 w 2649591"/>
                <a:gd name="connsiteY13" fmla="*/ 225669 h 1113402"/>
                <a:gd name="connsiteX14" fmla="*/ 2020988 w 2649591"/>
                <a:gd name="connsiteY14" fmla="*/ 1110912 h 1113402"/>
                <a:gd name="connsiteX15" fmla="*/ 2026373 w 2649591"/>
                <a:gd name="connsiteY15" fmla="*/ 1113402 h 1113402"/>
                <a:gd name="connsiteX16" fmla="*/ 2194256 w 2649591"/>
                <a:gd name="connsiteY16" fmla="*/ 1113402 h 1113402"/>
                <a:gd name="connsiteX17" fmla="*/ 2199641 w 2649591"/>
                <a:gd name="connsiteY17" fmla="*/ 1110912 h 1113402"/>
                <a:gd name="connsiteX18" fmla="*/ 2628294 w 2649591"/>
                <a:gd name="connsiteY18" fmla="*/ 630270 h 1113402"/>
                <a:gd name="connsiteX19" fmla="*/ 2630515 w 2649591"/>
                <a:gd name="connsiteY19" fmla="*/ 624231 h 1113402"/>
                <a:gd name="connsiteX20" fmla="*/ 2630515 w 2649591"/>
                <a:gd name="connsiteY20" fmla="*/ 58677 h 1113402"/>
                <a:gd name="connsiteX21" fmla="*/ 2649591 w 2649591"/>
                <a:gd name="connsiteY21" fmla="*/ 29987 h 1113402"/>
                <a:gd name="connsiteX22" fmla="*/ 2622878 w 2649591"/>
                <a:gd name="connsiteY22" fmla="*/ 34 h 1113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9591" h="1113402">
                  <a:moveTo>
                    <a:pt x="2622939" y="0"/>
                  </a:moveTo>
                  <a:cubicBezTo>
                    <a:pt x="2608183" y="0"/>
                    <a:pt x="2596226" y="13407"/>
                    <a:pt x="2596226" y="29953"/>
                  </a:cubicBezTo>
                  <a:cubicBezTo>
                    <a:pt x="2596226" y="43530"/>
                    <a:pt x="2604289" y="54959"/>
                    <a:pt x="2615303" y="58643"/>
                  </a:cubicBezTo>
                  <a:lnTo>
                    <a:pt x="2615303" y="620683"/>
                  </a:lnTo>
                  <a:lnTo>
                    <a:pt x="2191122" y="1096311"/>
                  </a:lnTo>
                  <a:lnTo>
                    <a:pt x="2029537" y="1096311"/>
                  </a:lnTo>
                  <a:lnTo>
                    <a:pt x="1240048" y="211068"/>
                  </a:lnTo>
                  <a:cubicBezTo>
                    <a:pt x="1238618" y="209464"/>
                    <a:pt x="1236671" y="208577"/>
                    <a:pt x="1234663" y="208577"/>
                  </a:cubicBezTo>
                  <a:lnTo>
                    <a:pt x="52057" y="208577"/>
                  </a:lnTo>
                  <a:cubicBezTo>
                    <a:pt x="48558" y="196637"/>
                    <a:pt x="38548" y="188006"/>
                    <a:pt x="26713" y="188006"/>
                  </a:cubicBezTo>
                  <a:cubicBezTo>
                    <a:pt x="11957" y="188006"/>
                    <a:pt x="0" y="201413"/>
                    <a:pt x="0" y="217959"/>
                  </a:cubicBezTo>
                  <a:cubicBezTo>
                    <a:pt x="0" y="234505"/>
                    <a:pt x="11957" y="247912"/>
                    <a:pt x="26713" y="247912"/>
                  </a:cubicBezTo>
                  <a:cubicBezTo>
                    <a:pt x="39096" y="247912"/>
                    <a:pt x="49470" y="238462"/>
                    <a:pt x="52483" y="225669"/>
                  </a:cubicBezTo>
                  <a:lnTo>
                    <a:pt x="1231499" y="225669"/>
                  </a:lnTo>
                  <a:lnTo>
                    <a:pt x="2020988" y="1110912"/>
                  </a:lnTo>
                  <a:cubicBezTo>
                    <a:pt x="2022418" y="1112515"/>
                    <a:pt x="2024365" y="1113402"/>
                    <a:pt x="2026373" y="1113402"/>
                  </a:cubicBezTo>
                  <a:lnTo>
                    <a:pt x="2194256" y="1113402"/>
                  </a:lnTo>
                  <a:cubicBezTo>
                    <a:pt x="2196264" y="1113402"/>
                    <a:pt x="2198211" y="1112515"/>
                    <a:pt x="2199641" y="1110912"/>
                  </a:cubicBezTo>
                  <a:lnTo>
                    <a:pt x="2628294" y="630270"/>
                  </a:lnTo>
                  <a:cubicBezTo>
                    <a:pt x="2629724" y="628666"/>
                    <a:pt x="2630515" y="626483"/>
                    <a:pt x="2630515" y="624231"/>
                  </a:cubicBezTo>
                  <a:lnTo>
                    <a:pt x="2630515" y="58677"/>
                  </a:lnTo>
                  <a:cubicBezTo>
                    <a:pt x="2641559" y="54993"/>
                    <a:pt x="2649591" y="43565"/>
                    <a:pt x="2649591" y="29987"/>
                  </a:cubicBezTo>
                  <a:cubicBezTo>
                    <a:pt x="2649591" y="13441"/>
                    <a:pt x="2637634" y="34"/>
                    <a:pt x="2622878" y="3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5" name="Freeform 317">
              <a:extLst>
                <a:ext uri="{FF2B5EF4-FFF2-40B4-BE49-F238E27FC236}">
                  <a16:creationId xmlns:a16="http://schemas.microsoft.com/office/drawing/2014/main" id="{832AE4BC-E46C-7C9D-3915-8117839655BB}"/>
                </a:ext>
              </a:extLst>
            </p:cNvPr>
            <p:cNvSpPr/>
            <p:nvPr userDrawn="1"/>
          </p:nvSpPr>
          <p:spPr>
            <a:xfrm>
              <a:off x="2321118" y="778105"/>
              <a:ext cx="1263657" cy="860407"/>
            </a:xfrm>
            <a:custGeom>
              <a:avLst/>
              <a:gdLst>
                <a:gd name="connsiteX0" fmla="*/ 26743 w 1263657"/>
                <a:gd name="connsiteY0" fmla="*/ 59940 h 860407"/>
                <a:gd name="connsiteX1" fmla="*/ 40708 w 1263657"/>
                <a:gd name="connsiteY1" fmla="*/ 55505 h 860407"/>
                <a:gd name="connsiteX2" fmla="*/ 757422 w 1263657"/>
                <a:gd name="connsiteY2" fmla="*/ 859145 h 860407"/>
                <a:gd name="connsiteX3" fmla="*/ 760129 w 1263657"/>
                <a:gd name="connsiteY3" fmla="*/ 860408 h 860407"/>
                <a:gd name="connsiteX4" fmla="*/ 913105 w 1263657"/>
                <a:gd name="connsiteY4" fmla="*/ 860408 h 860407"/>
                <a:gd name="connsiteX5" fmla="*/ 915782 w 1263657"/>
                <a:gd name="connsiteY5" fmla="*/ 859145 h 860407"/>
                <a:gd name="connsiteX6" fmla="*/ 1219846 w 1263657"/>
                <a:gd name="connsiteY6" fmla="*/ 518203 h 860407"/>
                <a:gd name="connsiteX7" fmla="*/ 1236944 w 1263657"/>
                <a:gd name="connsiteY7" fmla="*/ 525162 h 860407"/>
                <a:gd name="connsiteX8" fmla="*/ 1263657 w 1263657"/>
                <a:gd name="connsiteY8" fmla="*/ 495209 h 860407"/>
                <a:gd name="connsiteX9" fmla="*/ 1236944 w 1263657"/>
                <a:gd name="connsiteY9" fmla="*/ 465257 h 860407"/>
                <a:gd name="connsiteX10" fmla="*/ 1210232 w 1263657"/>
                <a:gd name="connsiteY10" fmla="*/ 495209 h 860407"/>
                <a:gd name="connsiteX11" fmla="*/ 1214735 w 1263657"/>
                <a:gd name="connsiteY11" fmla="*/ 511823 h 860407"/>
                <a:gd name="connsiteX12" fmla="*/ 911522 w 1263657"/>
                <a:gd name="connsiteY12" fmla="*/ 851811 h 860407"/>
                <a:gd name="connsiteX13" fmla="*/ 761681 w 1263657"/>
                <a:gd name="connsiteY13" fmla="*/ 851811 h 860407"/>
                <a:gd name="connsiteX14" fmla="*/ 46550 w 1263657"/>
                <a:gd name="connsiteY14" fmla="*/ 49944 h 860407"/>
                <a:gd name="connsiteX15" fmla="*/ 53426 w 1263657"/>
                <a:gd name="connsiteY15" fmla="*/ 29953 h 860407"/>
                <a:gd name="connsiteX16" fmla="*/ 26713 w 1263657"/>
                <a:gd name="connsiteY16" fmla="*/ 0 h 860407"/>
                <a:gd name="connsiteX17" fmla="*/ 0 w 1263657"/>
                <a:gd name="connsiteY17" fmla="*/ 29953 h 860407"/>
                <a:gd name="connsiteX18" fmla="*/ 26713 w 1263657"/>
                <a:gd name="connsiteY18" fmla="*/ 59905 h 860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63657" h="860407">
                  <a:moveTo>
                    <a:pt x="26743" y="59940"/>
                  </a:moveTo>
                  <a:cubicBezTo>
                    <a:pt x="31855" y="59940"/>
                    <a:pt x="36631" y="58302"/>
                    <a:pt x="40708" y="55505"/>
                  </a:cubicBezTo>
                  <a:lnTo>
                    <a:pt x="757422" y="859145"/>
                  </a:lnTo>
                  <a:cubicBezTo>
                    <a:pt x="758121" y="859930"/>
                    <a:pt x="759095" y="860408"/>
                    <a:pt x="760129" y="860408"/>
                  </a:cubicBezTo>
                  <a:lnTo>
                    <a:pt x="913105" y="860408"/>
                  </a:lnTo>
                  <a:cubicBezTo>
                    <a:pt x="914108" y="860408"/>
                    <a:pt x="915082" y="859964"/>
                    <a:pt x="915782" y="859145"/>
                  </a:cubicBezTo>
                  <a:lnTo>
                    <a:pt x="1219846" y="518203"/>
                  </a:lnTo>
                  <a:cubicBezTo>
                    <a:pt x="1224470" y="522535"/>
                    <a:pt x="1230434" y="525162"/>
                    <a:pt x="1236944" y="525162"/>
                  </a:cubicBezTo>
                  <a:cubicBezTo>
                    <a:pt x="1251701" y="525162"/>
                    <a:pt x="1263657" y="511755"/>
                    <a:pt x="1263657" y="495209"/>
                  </a:cubicBezTo>
                  <a:cubicBezTo>
                    <a:pt x="1263657" y="478664"/>
                    <a:pt x="1251701" y="465257"/>
                    <a:pt x="1236944" y="465257"/>
                  </a:cubicBezTo>
                  <a:cubicBezTo>
                    <a:pt x="1222188" y="465257"/>
                    <a:pt x="1210232" y="478664"/>
                    <a:pt x="1210232" y="495209"/>
                  </a:cubicBezTo>
                  <a:cubicBezTo>
                    <a:pt x="1210232" y="501350"/>
                    <a:pt x="1211905" y="507081"/>
                    <a:pt x="1214735" y="511823"/>
                  </a:cubicBezTo>
                  <a:lnTo>
                    <a:pt x="911522" y="851811"/>
                  </a:lnTo>
                  <a:lnTo>
                    <a:pt x="761681" y="851811"/>
                  </a:lnTo>
                  <a:lnTo>
                    <a:pt x="46550" y="49944"/>
                  </a:lnTo>
                  <a:cubicBezTo>
                    <a:pt x="50809" y="44656"/>
                    <a:pt x="53426" y="37629"/>
                    <a:pt x="53426" y="29953"/>
                  </a:cubicBezTo>
                  <a:cubicBezTo>
                    <a:pt x="53426" y="13407"/>
                    <a:pt x="41469" y="0"/>
                    <a:pt x="26713" y="0"/>
                  </a:cubicBezTo>
                  <a:cubicBezTo>
                    <a:pt x="11957" y="0"/>
                    <a:pt x="0" y="13407"/>
                    <a:pt x="0" y="29953"/>
                  </a:cubicBezTo>
                  <a:cubicBezTo>
                    <a:pt x="0" y="46498"/>
                    <a:pt x="11957" y="59905"/>
                    <a:pt x="26713" y="5990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6" name="Freeform 318">
              <a:extLst>
                <a:ext uri="{FF2B5EF4-FFF2-40B4-BE49-F238E27FC236}">
                  <a16:creationId xmlns:a16="http://schemas.microsoft.com/office/drawing/2014/main" id="{297C0981-E0EE-F11B-C8C2-1451E548431A}"/>
                </a:ext>
              </a:extLst>
            </p:cNvPr>
            <p:cNvSpPr/>
            <p:nvPr userDrawn="1"/>
          </p:nvSpPr>
          <p:spPr>
            <a:xfrm>
              <a:off x="515415" y="2871009"/>
              <a:ext cx="877294" cy="1001983"/>
            </a:xfrm>
            <a:custGeom>
              <a:avLst/>
              <a:gdLst>
                <a:gd name="connsiteX0" fmla="*/ 874982 w 877294"/>
                <a:gd name="connsiteY0" fmla="*/ 223588 h 1001983"/>
                <a:gd name="connsiteX1" fmla="*/ 677800 w 877294"/>
                <a:gd name="connsiteY1" fmla="*/ 2491 h 1001983"/>
                <a:gd name="connsiteX2" fmla="*/ 672415 w 877294"/>
                <a:gd name="connsiteY2" fmla="*/ 0 h 1001983"/>
                <a:gd name="connsiteX3" fmla="*/ 308841 w 877294"/>
                <a:gd name="connsiteY3" fmla="*/ 0 h 1001983"/>
                <a:gd name="connsiteX4" fmla="*/ 303455 w 877294"/>
                <a:gd name="connsiteY4" fmla="*/ 2491 h 1001983"/>
                <a:gd name="connsiteX5" fmla="*/ 38518 w 877294"/>
                <a:gd name="connsiteY5" fmla="*/ 299561 h 1001983"/>
                <a:gd name="connsiteX6" fmla="*/ 26713 w 877294"/>
                <a:gd name="connsiteY6" fmla="*/ 296457 h 1001983"/>
                <a:gd name="connsiteX7" fmla="*/ 0 w 877294"/>
                <a:gd name="connsiteY7" fmla="*/ 326410 h 1001983"/>
                <a:gd name="connsiteX8" fmla="*/ 26713 w 877294"/>
                <a:gd name="connsiteY8" fmla="*/ 356362 h 1001983"/>
                <a:gd name="connsiteX9" fmla="*/ 53426 w 877294"/>
                <a:gd name="connsiteY9" fmla="*/ 326410 h 1001983"/>
                <a:gd name="connsiteX10" fmla="*/ 49683 w 877294"/>
                <a:gd name="connsiteY10" fmla="*/ 311195 h 1001983"/>
                <a:gd name="connsiteX11" fmla="*/ 312005 w 877294"/>
                <a:gd name="connsiteY11" fmla="*/ 17057 h 1001983"/>
                <a:gd name="connsiteX12" fmla="*/ 669281 w 877294"/>
                <a:gd name="connsiteY12" fmla="*/ 17057 h 1001983"/>
                <a:gd name="connsiteX13" fmla="*/ 862022 w 877294"/>
                <a:gd name="connsiteY13" fmla="*/ 233174 h 1001983"/>
                <a:gd name="connsiteX14" fmla="*/ 862022 w 877294"/>
                <a:gd name="connsiteY14" fmla="*/ 530177 h 1001983"/>
                <a:gd name="connsiteX15" fmla="*/ 675001 w 877294"/>
                <a:gd name="connsiteY15" fmla="*/ 739880 h 1001983"/>
                <a:gd name="connsiteX16" fmla="*/ 672780 w 877294"/>
                <a:gd name="connsiteY16" fmla="*/ 745919 h 1001983"/>
                <a:gd name="connsiteX17" fmla="*/ 672780 w 877294"/>
                <a:gd name="connsiteY17" fmla="*/ 944466 h 1001983"/>
                <a:gd name="connsiteX18" fmla="*/ 656534 w 877294"/>
                <a:gd name="connsiteY18" fmla="*/ 972031 h 1001983"/>
                <a:gd name="connsiteX19" fmla="*/ 683246 w 877294"/>
                <a:gd name="connsiteY19" fmla="*/ 1001983 h 1001983"/>
                <a:gd name="connsiteX20" fmla="*/ 709959 w 877294"/>
                <a:gd name="connsiteY20" fmla="*/ 972031 h 1001983"/>
                <a:gd name="connsiteX21" fmla="*/ 688053 w 877294"/>
                <a:gd name="connsiteY21" fmla="*/ 942590 h 1001983"/>
                <a:gd name="connsiteX22" fmla="*/ 688053 w 877294"/>
                <a:gd name="connsiteY22" fmla="*/ 749432 h 1001983"/>
                <a:gd name="connsiteX23" fmla="*/ 875074 w 877294"/>
                <a:gd name="connsiteY23" fmla="*/ 539729 h 1001983"/>
                <a:gd name="connsiteX24" fmla="*/ 877295 w 877294"/>
                <a:gd name="connsiteY24" fmla="*/ 533691 h 1001983"/>
                <a:gd name="connsiteX25" fmla="*/ 877295 w 877294"/>
                <a:gd name="connsiteY25" fmla="*/ 229592 h 1001983"/>
                <a:gd name="connsiteX26" fmla="*/ 875074 w 877294"/>
                <a:gd name="connsiteY26" fmla="*/ 223554 h 100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77294" h="1001983">
                  <a:moveTo>
                    <a:pt x="874982" y="223588"/>
                  </a:moveTo>
                  <a:lnTo>
                    <a:pt x="677800" y="2491"/>
                  </a:lnTo>
                  <a:cubicBezTo>
                    <a:pt x="676370" y="887"/>
                    <a:pt x="674423" y="0"/>
                    <a:pt x="672415" y="0"/>
                  </a:cubicBezTo>
                  <a:lnTo>
                    <a:pt x="308841" y="0"/>
                  </a:lnTo>
                  <a:cubicBezTo>
                    <a:pt x="306833" y="0"/>
                    <a:pt x="304885" y="887"/>
                    <a:pt x="303455" y="2491"/>
                  </a:cubicBezTo>
                  <a:lnTo>
                    <a:pt x="38518" y="299561"/>
                  </a:lnTo>
                  <a:cubicBezTo>
                    <a:pt x="34958" y="297583"/>
                    <a:pt x="30972" y="296457"/>
                    <a:pt x="26713" y="296457"/>
                  </a:cubicBezTo>
                  <a:cubicBezTo>
                    <a:pt x="11957" y="296457"/>
                    <a:pt x="0" y="309864"/>
                    <a:pt x="0" y="326410"/>
                  </a:cubicBezTo>
                  <a:cubicBezTo>
                    <a:pt x="0" y="342955"/>
                    <a:pt x="11957" y="356362"/>
                    <a:pt x="26713" y="356362"/>
                  </a:cubicBezTo>
                  <a:cubicBezTo>
                    <a:pt x="41469" y="356362"/>
                    <a:pt x="53426" y="342955"/>
                    <a:pt x="53426" y="326410"/>
                  </a:cubicBezTo>
                  <a:cubicBezTo>
                    <a:pt x="53426" y="320849"/>
                    <a:pt x="52057" y="315664"/>
                    <a:pt x="49683" y="311195"/>
                  </a:cubicBezTo>
                  <a:lnTo>
                    <a:pt x="312005" y="17057"/>
                  </a:lnTo>
                  <a:lnTo>
                    <a:pt x="669281" y="17057"/>
                  </a:lnTo>
                  <a:lnTo>
                    <a:pt x="862022" y="233174"/>
                  </a:lnTo>
                  <a:lnTo>
                    <a:pt x="862022" y="530177"/>
                  </a:lnTo>
                  <a:lnTo>
                    <a:pt x="675001" y="739880"/>
                  </a:lnTo>
                  <a:cubicBezTo>
                    <a:pt x="673571" y="741483"/>
                    <a:pt x="672780" y="743667"/>
                    <a:pt x="672780" y="745919"/>
                  </a:cubicBezTo>
                  <a:lnTo>
                    <a:pt x="672780" y="944466"/>
                  </a:lnTo>
                  <a:cubicBezTo>
                    <a:pt x="663227" y="949038"/>
                    <a:pt x="656534" y="959647"/>
                    <a:pt x="656534" y="972031"/>
                  </a:cubicBezTo>
                  <a:cubicBezTo>
                    <a:pt x="656534" y="988577"/>
                    <a:pt x="668490" y="1001983"/>
                    <a:pt x="683246" y="1001983"/>
                  </a:cubicBezTo>
                  <a:cubicBezTo>
                    <a:pt x="698002" y="1001983"/>
                    <a:pt x="709959" y="988577"/>
                    <a:pt x="709959" y="972031"/>
                  </a:cubicBezTo>
                  <a:cubicBezTo>
                    <a:pt x="709959" y="957327"/>
                    <a:pt x="700497" y="945114"/>
                    <a:pt x="688053" y="942590"/>
                  </a:cubicBezTo>
                  <a:lnTo>
                    <a:pt x="688053" y="749432"/>
                  </a:lnTo>
                  <a:lnTo>
                    <a:pt x="875074" y="539729"/>
                  </a:lnTo>
                  <a:cubicBezTo>
                    <a:pt x="876504" y="538126"/>
                    <a:pt x="877295" y="535942"/>
                    <a:pt x="877295" y="533691"/>
                  </a:cubicBezTo>
                  <a:lnTo>
                    <a:pt x="877295" y="229592"/>
                  </a:lnTo>
                  <a:cubicBezTo>
                    <a:pt x="877295" y="227341"/>
                    <a:pt x="876504" y="225157"/>
                    <a:pt x="875074" y="22355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7" name="Freeform 319">
              <a:extLst>
                <a:ext uri="{FF2B5EF4-FFF2-40B4-BE49-F238E27FC236}">
                  <a16:creationId xmlns:a16="http://schemas.microsoft.com/office/drawing/2014/main" id="{9030D04B-EE20-729C-0229-23CD342BC735}"/>
                </a:ext>
              </a:extLst>
            </p:cNvPr>
            <p:cNvSpPr/>
            <p:nvPr userDrawn="1"/>
          </p:nvSpPr>
          <p:spPr>
            <a:xfrm>
              <a:off x="23753" y="1601191"/>
              <a:ext cx="877294" cy="1001983"/>
            </a:xfrm>
            <a:custGeom>
              <a:avLst/>
              <a:gdLst>
                <a:gd name="connsiteX0" fmla="*/ 874982 w 877294"/>
                <a:gd name="connsiteY0" fmla="*/ 223588 h 1001983"/>
                <a:gd name="connsiteX1" fmla="*/ 677800 w 877294"/>
                <a:gd name="connsiteY1" fmla="*/ 2490 h 1001983"/>
                <a:gd name="connsiteX2" fmla="*/ 672415 w 877294"/>
                <a:gd name="connsiteY2" fmla="*/ 0 h 1001983"/>
                <a:gd name="connsiteX3" fmla="*/ 308841 w 877294"/>
                <a:gd name="connsiteY3" fmla="*/ 0 h 1001983"/>
                <a:gd name="connsiteX4" fmla="*/ 303455 w 877294"/>
                <a:gd name="connsiteY4" fmla="*/ 2490 h 1001983"/>
                <a:gd name="connsiteX5" fmla="*/ 38518 w 877294"/>
                <a:gd name="connsiteY5" fmla="*/ 299561 h 1001983"/>
                <a:gd name="connsiteX6" fmla="*/ 26713 w 877294"/>
                <a:gd name="connsiteY6" fmla="*/ 296457 h 1001983"/>
                <a:gd name="connsiteX7" fmla="*/ 0 w 877294"/>
                <a:gd name="connsiteY7" fmla="*/ 326410 h 1001983"/>
                <a:gd name="connsiteX8" fmla="*/ 26713 w 877294"/>
                <a:gd name="connsiteY8" fmla="*/ 356362 h 1001983"/>
                <a:gd name="connsiteX9" fmla="*/ 53426 w 877294"/>
                <a:gd name="connsiteY9" fmla="*/ 326410 h 1001983"/>
                <a:gd name="connsiteX10" fmla="*/ 49683 w 877294"/>
                <a:gd name="connsiteY10" fmla="*/ 311194 h 1001983"/>
                <a:gd name="connsiteX11" fmla="*/ 312005 w 877294"/>
                <a:gd name="connsiteY11" fmla="*/ 17057 h 1001983"/>
                <a:gd name="connsiteX12" fmla="*/ 669281 w 877294"/>
                <a:gd name="connsiteY12" fmla="*/ 17057 h 1001983"/>
                <a:gd name="connsiteX13" fmla="*/ 862022 w 877294"/>
                <a:gd name="connsiteY13" fmla="*/ 233174 h 1001983"/>
                <a:gd name="connsiteX14" fmla="*/ 862022 w 877294"/>
                <a:gd name="connsiteY14" fmla="*/ 530177 h 1001983"/>
                <a:gd name="connsiteX15" fmla="*/ 675001 w 877294"/>
                <a:gd name="connsiteY15" fmla="*/ 739880 h 1001983"/>
                <a:gd name="connsiteX16" fmla="*/ 672780 w 877294"/>
                <a:gd name="connsiteY16" fmla="*/ 745918 h 1001983"/>
                <a:gd name="connsiteX17" fmla="*/ 672780 w 877294"/>
                <a:gd name="connsiteY17" fmla="*/ 944466 h 1001983"/>
                <a:gd name="connsiteX18" fmla="*/ 656534 w 877294"/>
                <a:gd name="connsiteY18" fmla="*/ 972031 h 1001983"/>
                <a:gd name="connsiteX19" fmla="*/ 683246 w 877294"/>
                <a:gd name="connsiteY19" fmla="*/ 1001983 h 1001983"/>
                <a:gd name="connsiteX20" fmla="*/ 709959 w 877294"/>
                <a:gd name="connsiteY20" fmla="*/ 972031 h 1001983"/>
                <a:gd name="connsiteX21" fmla="*/ 688053 w 877294"/>
                <a:gd name="connsiteY21" fmla="*/ 942590 h 1001983"/>
                <a:gd name="connsiteX22" fmla="*/ 688053 w 877294"/>
                <a:gd name="connsiteY22" fmla="*/ 749432 h 1001983"/>
                <a:gd name="connsiteX23" fmla="*/ 875074 w 877294"/>
                <a:gd name="connsiteY23" fmla="*/ 539729 h 1001983"/>
                <a:gd name="connsiteX24" fmla="*/ 877295 w 877294"/>
                <a:gd name="connsiteY24" fmla="*/ 533691 h 1001983"/>
                <a:gd name="connsiteX25" fmla="*/ 877295 w 877294"/>
                <a:gd name="connsiteY25" fmla="*/ 229592 h 1001983"/>
                <a:gd name="connsiteX26" fmla="*/ 875074 w 877294"/>
                <a:gd name="connsiteY26" fmla="*/ 223554 h 100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77294" h="1001983">
                  <a:moveTo>
                    <a:pt x="874982" y="223588"/>
                  </a:moveTo>
                  <a:lnTo>
                    <a:pt x="677800" y="2490"/>
                  </a:lnTo>
                  <a:cubicBezTo>
                    <a:pt x="676370" y="887"/>
                    <a:pt x="674423" y="0"/>
                    <a:pt x="672415" y="0"/>
                  </a:cubicBezTo>
                  <a:lnTo>
                    <a:pt x="308841" y="0"/>
                  </a:lnTo>
                  <a:cubicBezTo>
                    <a:pt x="306833" y="0"/>
                    <a:pt x="304885" y="887"/>
                    <a:pt x="303455" y="2490"/>
                  </a:cubicBezTo>
                  <a:lnTo>
                    <a:pt x="38518" y="299561"/>
                  </a:lnTo>
                  <a:cubicBezTo>
                    <a:pt x="34958" y="297583"/>
                    <a:pt x="30972" y="296457"/>
                    <a:pt x="26713" y="296457"/>
                  </a:cubicBezTo>
                  <a:cubicBezTo>
                    <a:pt x="11957" y="296457"/>
                    <a:pt x="0" y="309864"/>
                    <a:pt x="0" y="326410"/>
                  </a:cubicBezTo>
                  <a:cubicBezTo>
                    <a:pt x="0" y="342955"/>
                    <a:pt x="11957" y="356362"/>
                    <a:pt x="26713" y="356362"/>
                  </a:cubicBezTo>
                  <a:cubicBezTo>
                    <a:pt x="41469" y="356362"/>
                    <a:pt x="53426" y="342955"/>
                    <a:pt x="53426" y="326410"/>
                  </a:cubicBezTo>
                  <a:cubicBezTo>
                    <a:pt x="53426" y="320849"/>
                    <a:pt x="52057" y="315663"/>
                    <a:pt x="49683" y="311194"/>
                  </a:cubicBezTo>
                  <a:lnTo>
                    <a:pt x="312005" y="17057"/>
                  </a:lnTo>
                  <a:lnTo>
                    <a:pt x="669281" y="17057"/>
                  </a:lnTo>
                  <a:lnTo>
                    <a:pt x="862022" y="233174"/>
                  </a:lnTo>
                  <a:lnTo>
                    <a:pt x="862022" y="530177"/>
                  </a:lnTo>
                  <a:lnTo>
                    <a:pt x="675001" y="739880"/>
                  </a:lnTo>
                  <a:cubicBezTo>
                    <a:pt x="673571" y="741483"/>
                    <a:pt x="672780" y="743667"/>
                    <a:pt x="672780" y="745918"/>
                  </a:cubicBezTo>
                  <a:lnTo>
                    <a:pt x="672780" y="944466"/>
                  </a:lnTo>
                  <a:cubicBezTo>
                    <a:pt x="663227" y="949038"/>
                    <a:pt x="656534" y="959647"/>
                    <a:pt x="656534" y="972031"/>
                  </a:cubicBezTo>
                  <a:cubicBezTo>
                    <a:pt x="656534" y="988576"/>
                    <a:pt x="668490" y="1001983"/>
                    <a:pt x="683246" y="1001983"/>
                  </a:cubicBezTo>
                  <a:cubicBezTo>
                    <a:pt x="698002" y="1001983"/>
                    <a:pt x="709959" y="988576"/>
                    <a:pt x="709959" y="972031"/>
                  </a:cubicBezTo>
                  <a:cubicBezTo>
                    <a:pt x="709959" y="957327"/>
                    <a:pt x="700497" y="945148"/>
                    <a:pt x="688053" y="942590"/>
                  </a:cubicBezTo>
                  <a:lnTo>
                    <a:pt x="688053" y="749432"/>
                  </a:lnTo>
                  <a:lnTo>
                    <a:pt x="875074" y="539729"/>
                  </a:lnTo>
                  <a:cubicBezTo>
                    <a:pt x="876504" y="538126"/>
                    <a:pt x="877295" y="535942"/>
                    <a:pt x="877295" y="533691"/>
                  </a:cubicBezTo>
                  <a:lnTo>
                    <a:pt x="877295" y="229592"/>
                  </a:lnTo>
                  <a:cubicBezTo>
                    <a:pt x="877295" y="227341"/>
                    <a:pt x="876504" y="225157"/>
                    <a:pt x="875074" y="22355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8" name="Freeform 322">
              <a:extLst>
                <a:ext uri="{FF2B5EF4-FFF2-40B4-BE49-F238E27FC236}">
                  <a16:creationId xmlns:a16="http://schemas.microsoft.com/office/drawing/2014/main" id="{EC7ABAD2-B404-64E1-F19A-863A5C45C171}"/>
                </a:ext>
              </a:extLst>
            </p:cNvPr>
            <p:cNvSpPr/>
            <p:nvPr userDrawn="1"/>
          </p:nvSpPr>
          <p:spPr>
            <a:xfrm>
              <a:off x="4002202" y="854897"/>
              <a:ext cx="2438961" cy="486271"/>
            </a:xfrm>
            <a:custGeom>
              <a:avLst/>
              <a:gdLst>
                <a:gd name="connsiteX0" fmla="*/ 2412249 w 2438961"/>
                <a:gd name="connsiteY0" fmla="*/ 287553 h 486271"/>
                <a:gd name="connsiteX1" fmla="*/ 2399531 w 2438961"/>
                <a:gd name="connsiteY1" fmla="*/ 291169 h 486271"/>
                <a:gd name="connsiteX2" fmla="*/ 2142078 w 2438961"/>
                <a:gd name="connsiteY2" fmla="*/ 2490 h 486271"/>
                <a:gd name="connsiteX3" fmla="*/ 2136692 w 2438961"/>
                <a:gd name="connsiteY3" fmla="*/ 0 h 486271"/>
                <a:gd name="connsiteX4" fmla="*/ 1248597 w 2438961"/>
                <a:gd name="connsiteY4" fmla="*/ 0 h 486271"/>
                <a:gd name="connsiteX5" fmla="*/ 1243212 w 2438961"/>
                <a:gd name="connsiteY5" fmla="*/ 2490 h 486271"/>
                <a:gd name="connsiteX6" fmla="*/ 846109 w 2438961"/>
                <a:gd name="connsiteY6" fmla="*/ 447756 h 486271"/>
                <a:gd name="connsiteX7" fmla="*/ 52300 w 2438961"/>
                <a:gd name="connsiteY7" fmla="*/ 447756 h 486271"/>
                <a:gd name="connsiteX8" fmla="*/ 26713 w 2438961"/>
                <a:gd name="connsiteY8" fmla="*/ 426366 h 486271"/>
                <a:gd name="connsiteX9" fmla="*/ 0 w 2438961"/>
                <a:gd name="connsiteY9" fmla="*/ 456319 h 486271"/>
                <a:gd name="connsiteX10" fmla="*/ 26713 w 2438961"/>
                <a:gd name="connsiteY10" fmla="*/ 486271 h 486271"/>
                <a:gd name="connsiteX11" fmla="*/ 52300 w 2438961"/>
                <a:gd name="connsiteY11" fmla="*/ 464881 h 486271"/>
                <a:gd name="connsiteX12" fmla="*/ 849274 w 2438961"/>
                <a:gd name="connsiteY12" fmla="*/ 464881 h 486271"/>
                <a:gd name="connsiteX13" fmla="*/ 854659 w 2438961"/>
                <a:gd name="connsiteY13" fmla="*/ 462391 h 486271"/>
                <a:gd name="connsiteX14" fmla="*/ 1251761 w 2438961"/>
                <a:gd name="connsiteY14" fmla="*/ 17126 h 486271"/>
                <a:gd name="connsiteX15" fmla="*/ 2133529 w 2438961"/>
                <a:gd name="connsiteY15" fmla="*/ 17126 h 486271"/>
                <a:gd name="connsiteX16" fmla="*/ 2388761 w 2438961"/>
                <a:gd name="connsiteY16" fmla="*/ 303314 h 486271"/>
                <a:gd name="connsiteX17" fmla="*/ 2385536 w 2438961"/>
                <a:gd name="connsiteY17" fmla="*/ 317574 h 486271"/>
                <a:gd name="connsiteX18" fmla="*/ 2412249 w 2438961"/>
                <a:gd name="connsiteY18" fmla="*/ 347527 h 486271"/>
                <a:gd name="connsiteX19" fmla="*/ 2438962 w 2438961"/>
                <a:gd name="connsiteY19" fmla="*/ 317574 h 486271"/>
                <a:gd name="connsiteX20" fmla="*/ 2412249 w 2438961"/>
                <a:gd name="connsiteY20" fmla="*/ 287621 h 48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961" h="486271">
                  <a:moveTo>
                    <a:pt x="2412249" y="287553"/>
                  </a:moveTo>
                  <a:cubicBezTo>
                    <a:pt x="2407655" y="287553"/>
                    <a:pt x="2403304" y="288849"/>
                    <a:pt x="2399531" y="291169"/>
                  </a:cubicBezTo>
                  <a:lnTo>
                    <a:pt x="2142078" y="2490"/>
                  </a:lnTo>
                  <a:cubicBezTo>
                    <a:pt x="2140648" y="887"/>
                    <a:pt x="2138701" y="0"/>
                    <a:pt x="2136692" y="0"/>
                  </a:cubicBezTo>
                  <a:lnTo>
                    <a:pt x="1248597" y="0"/>
                  </a:lnTo>
                  <a:cubicBezTo>
                    <a:pt x="1246589" y="0"/>
                    <a:pt x="1244642" y="887"/>
                    <a:pt x="1243212" y="2490"/>
                  </a:cubicBezTo>
                  <a:lnTo>
                    <a:pt x="846109" y="447756"/>
                  </a:lnTo>
                  <a:lnTo>
                    <a:pt x="52300" y="447756"/>
                  </a:lnTo>
                  <a:cubicBezTo>
                    <a:pt x="49014" y="435372"/>
                    <a:pt x="38822" y="426366"/>
                    <a:pt x="26713" y="426366"/>
                  </a:cubicBezTo>
                  <a:cubicBezTo>
                    <a:pt x="11957" y="426366"/>
                    <a:pt x="0" y="439773"/>
                    <a:pt x="0" y="456319"/>
                  </a:cubicBezTo>
                  <a:cubicBezTo>
                    <a:pt x="0" y="472864"/>
                    <a:pt x="11957" y="486271"/>
                    <a:pt x="26713" y="486271"/>
                  </a:cubicBezTo>
                  <a:cubicBezTo>
                    <a:pt x="38822" y="486271"/>
                    <a:pt x="49014" y="477231"/>
                    <a:pt x="52300" y="464881"/>
                  </a:cubicBezTo>
                  <a:lnTo>
                    <a:pt x="849274" y="464881"/>
                  </a:lnTo>
                  <a:cubicBezTo>
                    <a:pt x="851281" y="464881"/>
                    <a:pt x="853229" y="463994"/>
                    <a:pt x="854659" y="462391"/>
                  </a:cubicBezTo>
                  <a:lnTo>
                    <a:pt x="1251761" y="17126"/>
                  </a:lnTo>
                  <a:lnTo>
                    <a:pt x="2133529" y="17126"/>
                  </a:lnTo>
                  <a:lnTo>
                    <a:pt x="2388761" y="303314"/>
                  </a:lnTo>
                  <a:cubicBezTo>
                    <a:pt x="2386722" y="307544"/>
                    <a:pt x="2385536" y="312423"/>
                    <a:pt x="2385536" y="317574"/>
                  </a:cubicBezTo>
                  <a:cubicBezTo>
                    <a:pt x="2385536" y="334120"/>
                    <a:pt x="2397492" y="347527"/>
                    <a:pt x="2412249" y="347527"/>
                  </a:cubicBezTo>
                  <a:cubicBezTo>
                    <a:pt x="2427004" y="347527"/>
                    <a:pt x="2438962" y="334120"/>
                    <a:pt x="2438962" y="317574"/>
                  </a:cubicBezTo>
                  <a:cubicBezTo>
                    <a:pt x="2438962" y="301028"/>
                    <a:pt x="2427004" y="287621"/>
                    <a:pt x="2412249" y="287621"/>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29" name="Freeform 323">
              <a:extLst>
                <a:ext uri="{FF2B5EF4-FFF2-40B4-BE49-F238E27FC236}">
                  <a16:creationId xmlns:a16="http://schemas.microsoft.com/office/drawing/2014/main" id="{26F17742-07F7-005F-8C3F-874D2100C7FF}"/>
                </a:ext>
              </a:extLst>
            </p:cNvPr>
            <p:cNvSpPr/>
            <p:nvPr userDrawn="1"/>
          </p:nvSpPr>
          <p:spPr>
            <a:xfrm>
              <a:off x="3374389" y="1625719"/>
              <a:ext cx="1402180" cy="681748"/>
            </a:xfrm>
            <a:custGeom>
              <a:avLst/>
              <a:gdLst>
                <a:gd name="connsiteX0" fmla="*/ 1375468 w 1402180"/>
                <a:gd name="connsiteY0" fmla="*/ 261182 h 681748"/>
                <a:gd name="connsiteX1" fmla="*/ 1362751 w 1402180"/>
                <a:gd name="connsiteY1" fmla="*/ 264798 h 681748"/>
                <a:gd name="connsiteX2" fmla="*/ 1128815 w 1402180"/>
                <a:gd name="connsiteY2" fmla="*/ 2490 h 681748"/>
                <a:gd name="connsiteX3" fmla="*/ 1123430 w 1402180"/>
                <a:gd name="connsiteY3" fmla="*/ 0 h 681748"/>
                <a:gd name="connsiteX4" fmla="*/ 600400 w 1402180"/>
                <a:gd name="connsiteY4" fmla="*/ 0 h 681748"/>
                <a:gd name="connsiteX5" fmla="*/ 595015 w 1402180"/>
                <a:gd name="connsiteY5" fmla="*/ 2490 h 681748"/>
                <a:gd name="connsiteX6" fmla="*/ 39431 w 1402180"/>
                <a:gd name="connsiteY6" fmla="*/ 625459 h 681748"/>
                <a:gd name="connsiteX7" fmla="*/ 26713 w 1402180"/>
                <a:gd name="connsiteY7" fmla="*/ 621843 h 681748"/>
                <a:gd name="connsiteX8" fmla="*/ 0 w 1402180"/>
                <a:gd name="connsiteY8" fmla="*/ 651796 h 681748"/>
                <a:gd name="connsiteX9" fmla="*/ 26713 w 1402180"/>
                <a:gd name="connsiteY9" fmla="*/ 681749 h 681748"/>
                <a:gd name="connsiteX10" fmla="*/ 53426 w 1402180"/>
                <a:gd name="connsiteY10" fmla="*/ 651796 h 681748"/>
                <a:gd name="connsiteX11" fmla="*/ 50201 w 1402180"/>
                <a:gd name="connsiteY11" fmla="*/ 637536 h 681748"/>
                <a:gd name="connsiteX12" fmla="*/ 603564 w 1402180"/>
                <a:gd name="connsiteY12" fmla="*/ 17057 h 681748"/>
                <a:gd name="connsiteX13" fmla="*/ 1120266 w 1402180"/>
                <a:gd name="connsiteY13" fmla="*/ 17057 h 681748"/>
                <a:gd name="connsiteX14" fmla="*/ 1351980 w 1402180"/>
                <a:gd name="connsiteY14" fmla="*/ 276875 h 681748"/>
                <a:gd name="connsiteX15" fmla="*/ 1348755 w 1402180"/>
                <a:gd name="connsiteY15" fmla="*/ 291135 h 681748"/>
                <a:gd name="connsiteX16" fmla="*/ 1375468 w 1402180"/>
                <a:gd name="connsiteY16" fmla="*/ 321088 h 681748"/>
                <a:gd name="connsiteX17" fmla="*/ 1402181 w 1402180"/>
                <a:gd name="connsiteY17" fmla="*/ 291135 h 681748"/>
                <a:gd name="connsiteX18" fmla="*/ 1375468 w 1402180"/>
                <a:gd name="connsiteY18" fmla="*/ 261182 h 681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02180" h="681748">
                  <a:moveTo>
                    <a:pt x="1375468" y="261182"/>
                  </a:moveTo>
                  <a:cubicBezTo>
                    <a:pt x="1370874" y="261182"/>
                    <a:pt x="1366523" y="262479"/>
                    <a:pt x="1362751" y="264798"/>
                  </a:cubicBezTo>
                  <a:lnTo>
                    <a:pt x="1128815" y="2490"/>
                  </a:lnTo>
                  <a:cubicBezTo>
                    <a:pt x="1127386" y="887"/>
                    <a:pt x="1125438" y="0"/>
                    <a:pt x="1123430" y="0"/>
                  </a:cubicBezTo>
                  <a:lnTo>
                    <a:pt x="600400" y="0"/>
                  </a:lnTo>
                  <a:cubicBezTo>
                    <a:pt x="598392" y="0"/>
                    <a:pt x="596445" y="887"/>
                    <a:pt x="595015" y="2490"/>
                  </a:cubicBezTo>
                  <a:lnTo>
                    <a:pt x="39431" y="625459"/>
                  </a:lnTo>
                  <a:cubicBezTo>
                    <a:pt x="35658" y="623174"/>
                    <a:pt x="31307" y="621843"/>
                    <a:pt x="26713" y="621843"/>
                  </a:cubicBezTo>
                  <a:cubicBezTo>
                    <a:pt x="11957" y="621843"/>
                    <a:pt x="0" y="635250"/>
                    <a:pt x="0" y="651796"/>
                  </a:cubicBezTo>
                  <a:cubicBezTo>
                    <a:pt x="0" y="668341"/>
                    <a:pt x="11957" y="681749"/>
                    <a:pt x="26713" y="681749"/>
                  </a:cubicBezTo>
                  <a:cubicBezTo>
                    <a:pt x="41469" y="681749"/>
                    <a:pt x="53426" y="668341"/>
                    <a:pt x="53426" y="651796"/>
                  </a:cubicBezTo>
                  <a:cubicBezTo>
                    <a:pt x="53426" y="646645"/>
                    <a:pt x="52270" y="641766"/>
                    <a:pt x="50201" y="637536"/>
                  </a:cubicBezTo>
                  <a:lnTo>
                    <a:pt x="603564" y="17057"/>
                  </a:lnTo>
                  <a:lnTo>
                    <a:pt x="1120266" y="17057"/>
                  </a:lnTo>
                  <a:lnTo>
                    <a:pt x="1351980" y="276875"/>
                  </a:lnTo>
                  <a:cubicBezTo>
                    <a:pt x="1349942" y="281105"/>
                    <a:pt x="1348755" y="285984"/>
                    <a:pt x="1348755" y="291135"/>
                  </a:cubicBezTo>
                  <a:cubicBezTo>
                    <a:pt x="1348755" y="307681"/>
                    <a:pt x="1360712" y="321088"/>
                    <a:pt x="1375468" y="321088"/>
                  </a:cubicBezTo>
                  <a:cubicBezTo>
                    <a:pt x="1390224" y="321088"/>
                    <a:pt x="1402181" y="307681"/>
                    <a:pt x="1402181" y="291135"/>
                  </a:cubicBezTo>
                  <a:cubicBezTo>
                    <a:pt x="1402181" y="274589"/>
                    <a:pt x="1390224" y="261182"/>
                    <a:pt x="1375468" y="261182"/>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0" name="Freeform 326">
              <a:extLst>
                <a:ext uri="{FF2B5EF4-FFF2-40B4-BE49-F238E27FC236}">
                  <a16:creationId xmlns:a16="http://schemas.microsoft.com/office/drawing/2014/main" id="{B629DE23-53BD-9ABA-B50D-7CF9CD779249}"/>
                </a:ext>
              </a:extLst>
            </p:cNvPr>
            <p:cNvSpPr/>
            <p:nvPr userDrawn="1"/>
          </p:nvSpPr>
          <p:spPr>
            <a:xfrm>
              <a:off x="8655500" y="5381102"/>
              <a:ext cx="336831" cy="769628"/>
            </a:xfrm>
            <a:custGeom>
              <a:avLst/>
              <a:gdLst>
                <a:gd name="connsiteX0" fmla="*/ 26712 w 336831"/>
                <a:gd name="connsiteY0" fmla="*/ 769594 h 769628"/>
                <a:gd name="connsiteX1" fmla="*/ 53425 w 336831"/>
                <a:gd name="connsiteY1" fmla="*/ 739641 h 769628"/>
                <a:gd name="connsiteX2" fmla="*/ 30546 w 336831"/>
                <a:gd name="connsiteY2" fmla="*/ 710030 h 769628"/>
                <a:gd name="connsiteX3" fmla="*/ 30546 w 336831"/>
                <a:gd name="connsiteY3" fmla="*/ 456591 h 769628"/>
                <a:gd name="connsiteX4" fmla="*/ 312826 w 336831"/>
                <a:gd name="connsiteY4" fmla="*/ 140075 h 769628"/>
                <a:gd name="connsiteX5" fmla="*/ 313952 w 336831"/>
                <a:gd name="connsiteY5" fmla="*/ 137073 h 769628"/>
                <a:gd name="connsiteX6" fmla="*/ 313952 w 336831"/>
                <a:gd name="connsiteY6" fmla="*/ 59564 h 769628"/>
                <a:gd name="connsiteX7" fmla="*/ 336831 w 336831"/>
                <a:gd name="connsiteY7" fmla="*/ 29953 h 769628"/>
                <a:gd name="connsiteX8" fmla="*/ 310118 w 336831"/>
                <a:gd name="connsiteY8" fmla="*/ 0 h 769628"/>
                <a:gd name="connsiteX9" fmla="*/ 283405 w 336831"/>
                <a:gd name="connsiteY9" fmla="*/ 29953 h 769628"/>
                <a:gd name="connsiteX10" fmla="*/ 306285 w 336831"/>
                <a:gd name="connsiteY10" fmla="*/ 59564 h 769628"/>
                <a:gd name="connsiteX11" fmla="*/ 306285 w 336831"/>
                <a:gd name="connsiteY11" fmla="*/ 135299 h 769628"/>
                <a:gd name="connsiteX12" fmla="*/ 24005 w 336831"/>
                <a:gd name="connsiteY12" fmla="*/ 451815 h 769628"/>
                <a:gd name="connsiteX13" fmla="*/ 22879 w 336831"/>
                <a:gd name="connsiteY13" fmla="*/ 454851 h 769628"/>
                <a:gd name="connsiteX14" fmla="*/ 22879 w 336831"/>
                <a:gd name="connsiteY14" fmla="*/ 710064 h 769628"/>
                <a:gd name="connsiteX15" fmla="*/ 0 w 336831"/>
                <a:gd name="connsiteY15" fmla="*/ 739675 h 769628"/>
                <a:gd name="connsiteX16" fmla="*/ 26712 w 336831"/>
                <a:gd name="connsiteY16" fmla="*/ 769628 h 769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6831" h="769628">
                  <a:moveTo>
                    <a:pt x="26712" y="769594"/>
                  </a:moveTo>
                  <a:cubicBezTo>
                    <a:pt x="41468" y="769594"/>
                    <a:pt x="53425" y="756187"/>
                    <a:pt x="53425" y="739641"/>
                  </a:cubicBezTo>
                  <a:cubicBezTo>
                    <a:pt x="53425" y="724563"/>
                    <a:pt x="43476" y="712111"/>
                    <a:pt x="30546" y="710030"/>
                  </a:cubicBezTo>
                  <a:lnTo>
                    <a:pt x="30546" y="456591"/>
                  </a:lnTo>
                  <a:lnTo>
                    <a:pt x="312826" y="140075"/>
                  </a:lnTo>
                  <a:cubicBezTo>
                    <a:pt x="313525" y="139290"/>
                    <a:pt x="313952" y="138199"/>
                    <a:pt x="313952" y="137073"/>
                  </a:cubicBezTo>
                  <a:lnTo>
                    <a:pt x="313952" y="59564"/>
                  </a:lnTo>
                  <a:cubicBezTo>
                    <a:pt x="326882" y="57483"/>
                    <a:pt x="336831" y="45031"/>
                    <a:pt x="336831" y="29953"/>
                  </a:cubicBezTo>
                  <a:cubicBezTo>
                    <a:pt x="336831" y="13407"/>
                    <a:pt x="324874" y="0"/>
                    <a:pt x="310118" y="0"/>
                  </a:cubicBezTo>
                  <a:cubicBezTo>
                    <a:pt x="295362" y="0"/>
                    <a:pt x="283405" y="13407"/>
                    <a:pt x="283405" y="29953"/>
                  </a:cubicBezTo>
                  <a:cubicBezTo>
                    <a:pt x="283405" y="45031"/>
                    <a:pt x="293354" y="57483"/>
                    <a:pt x="306285" y="59564"/>
                  </a:cubicBezTo>
                  <a:lnTo>
                    <a:pt x="306285" y="135299"/>
                  </a:lnTo>
                  <a:lnTo>
                    <a:pt x="24005" y="451815"/>
                  </a:lnTo>
                  <a:cubicBezTo>
                    <a:pt x="23305" y="452600"/>
                    <a:pt x="22879" y="453692"/>
                    <a:pt x="22879" y="454851"/>
                  </a:cubicBezTo>
                  <a:lnTo>
                    <a:pt x="22879" y="710064"/>
                  </a:lnTo>
                  <a:cubicBezTo>
                    <a:pt x="9948" y="712145"/>
                    <a:pt x="0" y="724597"/>
                    <a:pt x="0" y="739675"/>
                  </a:cubicBezTo>
                  <a:cubicBezTo>
                    <a:pt x="0" y="756221"/>
                    <a:pt x="11957" y="769628"/>
                    <a:pt x="26712" y="769628"/>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1" name="Freeform 327">
              <a:extLst>
                <a:ext uri="{FF2B5EF4-FFF2-40B4-BE49-F238E27FC236}">
                  <a16:creationId xmlns:a16="http://schemas.microsoft.com/office/drawing/2014/main" id="{18D893E5-BFF9-4026-9057-54117ACEA4F4}"/>
                </a:ext>
              </a:extLst>
            </p:cNvPr>
            <p:cNvSpPr/>
            <p:nvPr userDrawn="1"/>
          </p:nvSpPr>
          <p:spPr>
            <a:xfrm>
              <a:off x="8414232" y="4873168"/>
              <a:ext cx="721003" cy="1205614"/>
            </a:xfrm>
            <a:custGeom>
              <a:avLst/>
              <a:gdLst>
                <a:gd name="connsiteX0" fmla="*/ 26682 w 721003"/>
                <a:gd name="connsiteY0" fmla="*/ 1205614 h 1205614"/>
                <a:gd name="connsiteX1" fmla="*/ 53395 w 721003"/>
                <a:gd name="connsiteY1" fmla="*/ 1175662 h 1205614"/>
                <a:gd name="connsiteX2" fmla="*/ 30516 w 721003"/>
                <a:gd name="connsiteY2" fmla="*/ 1146050 h 1205614"/>
                <a:gd name="connsiteX3" fmla="*/ 30516 w 721003"/>
                <a:gd name="connsiteY3" fmla="*/ 650022 h 1205614"/>
                <a:gd name="connsiteX4" fmla="*/ 579681 w 721003"/>
                <a:gd name="connsiteY4" fmla="*/ 34251 h 1205614"/>
                <a:gd name="connsiteX5" fmla="*/ 667882 w 721003"/>
                <a:gd name="connsiteY5" fmla="*/ 34251 h 1205614"/>
                <a:gd name="connsiteX6" fmla="*/ 694290 w 721003"/>
                <a:gd name="connsiteY6" fmla="*/ 59906 h 1205614"/>
                <a:gd name="connsiteX7" fmla="*/ 721003 w 721003"/>
                <a:gd name="connsiteY7" fmla="*/ 29953 h 1205614"/>
                <a:gd name="connsiteX8" fmla="*/ 694290 w 721003"/>
                <a:gd name="connsiteY8" fmla="*/ 0 h 1205614"/>
                <a:gd name="connsiteX9" fmla="*/ 667882 w 721003"/>
                <a:gd name="connsiteY9" fmla="*/ 25654 h 1205614"/>
                <a:gd name="connsiteX10" fmla="*/ 578099 w 721003"/>
                <a:gd name="connsiteY10" fmla="*/ 25654 h 1205614"/>
                <a:gd name="connsiteX11" fmla="*/ 575421 w 721003"/>
                <a:gd name="connsiteY11" fmla="*/ 26917 h 1205614"/>
                <a:gd name="connsiteX12" fmla="*/ 24005 w 721003"/>
                <a:gd name="connsiteY12" fmla="*/ 645212 h 1205614"/>
                <a:gd name="connsiteX13" fmla="*/ 22879 w 721003"/>
                <a:gd name="connsiteY13" fmla="*/ 648214 h 1205614"/>
                <a:gd name="connsiteX14" fmla="*/ 22879 w 721003"/>
                <a:gd name="connsiteY14" fmla="*/ 1145982 h 1205614"/>
                <a:gd name="connsiteX15" fmla="*/ 0 w 721003"/>
                <a:gd name="connsiteY15" fmla="*/ 1175593 h 1205614"/>
                <a:gd name="connsiteX16" fmla="*/ 26713 w 721003"/>
                <a:gd name="connsiteY16" fmla="*/ 1205546 h 1205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1003" h="1205614">
                  <a:moveTo>
                    <a:pt x="26682" y="1205614"/>
                  </a:moveTo>
                  <a:cubicBezTo>
                    <a:pt x="41438" y="1205614"/>
                    <a:pt x="53395" y="1192207"/>
                    <a:pt x="53395" y="1175662"/>
                  </a:cubicBezTo>
                  <a:cubicBezTo>
                    <a:pt x="53395" y="1160583"/>
                    <a:pt x="43446" y="1148131"/>
                    <a:pt x="30516" y="1146050"/>
                  </a:cubicBezTo>
                  <a:lnTo>
                    <a:pt x="30516" y="650022"/>
                  </a:lnTo>
                  <a:lnTo>
                    <a:pt x="579681" y="34251"/>
                  </a:lnTo>
                  <a:lnTo>
                    <a:pt x="667882" y="34251"/>
                  </a:lnTo>
                  <a:cubicBezTo>
                    <a:pt x="669737" y="48750"/>
                    <a:pt x="680843" y="59906"/>
                    <a:pt x="694290" y="59906"/>
                  </a:cubicBezTo>
                  <a:cubicBezTo>
                    <a:pt x="709047" y="59906"/>
                    <a:pt x="721003" y="46498"/>
                    <a:pt x="721003" y="29953"/>
                  </a:cubicBezTo>
                  <a:cubicBezTo>
                    <a:pt x="721003" y="13407"/>
                    <a:pt x="709047" y="0"/>
                    <a:pt x="694290" y="0"/>
                  </a:cubicBezTo>
                  <a:cubicBezTo>
                    <a:pt x="680843" y="0"/>
                    <a:pt x="669737" y="11156"/>
                    <a:pt x="667882" y="25654"/>
                  </a:cubicBezTo>
                  <a:lnTo>
                    <a:pt x="578099" y="25654"/>
                  </a:lnTo>
                  <a:cubicBezTo>
                    <a:pt x="577095" y="25654"/>
                    <a:pt x="576121" y="26098"/>
                    <a:pt x="575421" y="26917"/>
                  </a:cubicBezTo>
                  <a:lnTo>
                    <a:pt x="24005" y="645212"/>
                  </a:lnTo>
                  <a:cubicBezTo>
                    <a:pt x="23305" y="645996"/>
                    <a:pt x="22879" y="647088"/>
                    <a:pt x="22879" y="648214"/>
                  </a:cubicBezTo>
                  <a:lnTo>
                    <a:pt x="22879" y="1145982"/>
                  </a:lnTo>
                  <a:cubicBezTo>
                    <a:pt x="9949" y="1148063"/>
                    <a:pt x="0" y="1160515"/>
                    <a:pt x="0" y="1175593"/>
                  </a:cubicBezTo>
                  <a:cubicBezTo>
                    <a:pt x="0" y="1192139"/>
                    <a:pt x="11957" y="1205546"/>
                    <a:pt x="26713" y="120554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2" name="Freeform 328">
              <a:extLst>
                <a:ext uri="{FF2B5EF4-FFF2-40B4-BE49-F238E27FC236}">
                  <a16:creationId xmlns:a16="http://schemas.microsoft.com/office/drawing/2014/main" id="{80FEB6B6-EAA7-6546-3E78-D81A9F7750E5}"/>
                </a:ext>
              </a:extLst>
            </p:cNvPr>
            <p:cNvSpPr/>
            <p:nvPr userDrawn="1"/>
          </p:nvSpPr>
          <p:spPr>
            <a:xfrm>
              <a:off x="9972521" y="2663216"/>
              <a:ext cx="618198" cy="930274"/>
            </a:xfrm>
            <a:custGeom>
              <a:avLst/>
              <a:gdLst>
                <a:gd name="connsiteX0" fmla="*/ 1096 w 618198"/>
                <a:gd name="connsiteY0" fmla="*/ 725723 h 930274"/>
                <a:gd name="connsiteX1" fmla="*/ 138737 w 618198"/>
                <a:gd name="connsiteY1" fmla="*/ 880058 h 930274"/>
                <a:gd name="connsiteX2" fmla="*/ 131648 w 618198"/>
                <a:gd name="connsiteY2" fmla="*/ 900322 h 930274"/>
                <a:gd name="connsiteX3" fmla="*/ 158360 w 618198"/>
                <a:gd name="connsiteY3" fmla="*/ 930274 h 930274"/>
                <a:gd name="connsiteX4" fmla="*/ 185073 w 618198"/>
                <a:gd name="connsiteY4" fmla="*/ 900322 h 930274"/>
                <a:gd name="connsiteX5" fmla="*/ 158360 w 618198"/>
                <a:gd name="connsiteY5" fmla="*/ 870369 h 930274"/>
                <a:gd name="connsiteX6" fmla="*/ 144700 w 618198"/>
                <a:gd name="connsiteY6" fmla="*/ 874633 h 930274"/>
                <a:gd name="connsiteX7" fmla="*/ 7606 w 618198"/>
                <a:gd name="connsiteY7" fmla="*/ 720912 h 930274"/>
                <a:gd name="connsiteX8" fmla="*/ 7606 w 618198"/>
                <a:gd name="connsiteY8" fmla="*/ 428106 h 930274"/>
                <a:gd name="connsiteX9" fmla="*/ 358859 w 618198"/>
                <a:gd name="connsiteY9" fmla="*/ 34251 h 930274"/>
                <a:gd name="connsiteX10" fmla="*/ 565077 w 618198"/>
                <a:gd name="connsiteY10" fmla="*/ 34251 h 930274"/>
                <a:gd name="connsiteX11" fmla="*/ 591485 w 618198"/>
                <a:gd name="connsiteY11" fmla="*/ 59905 h 930274"/>
                <a:gd name="connsiteX12" fmla="*/ 618198 w 618198"/>
                <a:gd name="connsiteY12" fmla="*/ 29953 h 930274"/>
                <a:gd name="connsiteX13" fmla="*/ 591485 w 618198"/>
                <a:gd name="connsiteY13" fmla="*/ 0 h 930274"/>
                <a:gd name="connsiteX14" fmla="*/ 565077 w 618198"/>
                <a:gd name="connsiteY14" fmla="*/ 25654 h 930274"/>
                <a:gd name="connsiteX15" fmla="*/ 357276 w 618198"/>
                <a:gd name="connsiteY15" fmla="*/ 25654 h 930274"/>
                <a:gd name="connsiteX16" fmla="*/ 354599 w 618198"/>
                <a:gd name="connsiteY16" fmla="*/ 26917 h 930274"/>
                <a:gd name="connsiteX17" fmla="*/ 1126 w 618198"/>
                <a:gd name="connsiteY17" fmla="*/ 423261 h 930274"/>
                <a:gd name="connsiteX18" fmla="*/ 0 w 618198"/>
                <a:gd name="connsiteY18" fmla="*/ 426264 h 930274"/>
                <a:gd name="connsiteX19" fmla="*/ 0 w 618198"/>
                <a:gd name="connsiteY19" fmla="*/ 722584 h 930274"/>
                <a:gd name="connsiteX20" fmla="*/ 1126 w 618198"/>
                <a:gd name="connsiteY20" fmla="*/ 725586 h 93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8198" h="930274">
                  <a:moveTo>
                    <a:pt x="1096" y="725723"/>
                  </a:moveTo>
                  <a:lnTo>
                    <a:pt x="138737" y="880058"/>
                  </a:lnTo>
                  <a:cubicBezTo>
                    <a:pt x="134355" y="885379"/>
                    <a:pt x="131648" y="892509"/>
                    <a:pt x="131648" y="900322"/>
                  </a:cubicBezTo>
                  <a:cubicBezTo>
                    <a:pt x="131648" y="916867"/>
                    <a:pt x="143604" y="930274"/>
                    <a:pt x="158360" y="930274"/>
                  </a:cubicBezTo>
                  <a:cubicBezTo>
                    <a:pt x="173116" y="930274"/>
                    <a:pt x="185073" y="916867"/>
                    <a:pt x="185073" y="900322"/>
                  </a:cubicBezTo>
                  <a:cubicBezTo>
                    <a:pt x="185073" y="883776"/>
                    <a:pt x="173116" y="870369"/>
                    <a:pt x="158360" y="870369"/>
                  </a:cubicBezTo>
                  <a:cubicBezTo>
                    <a:pt x="153370" y="870369"/>
                    <a:pt x="148715" y="871938"/>
                    <a:pt x="144700" y="874633"/>
                  </a:cubicBezTo>
                  <a:lnTo>
                    <a:pt x="7606" y="720912"/>
                  </a:lnTo>
                  <a:lnTo>
                    <a:pt x="7606" y="428106"/>
                  </a:lnTo>
                  <a:lnTo>
                    <a:pt x="358859" y="34251"/>
                  </a:lnTo>
                  <a:lnTo>
                    <a:pt x="565077" y="34251"/>
                  </a:lnTo>
                  <a:cubicBezTo>
                    <a:pt x="566933" y="48750"/>
                    <a:pt x="578038" y="59905"/>
                    <a:pt x="591485" y="59905"/>
                  </a:cubicBezTo>
                  <a:cubicBezTo>
                    <a:pt x="606242" y="59905"/>
                    <a:pt x="618198" y="46498"/>
                    <a:pt x="618198" y="29953"/>
                  </a:cubicBezTo>
                  <a:cubicBezTo>
                    <a:pt x="618198" y="13407"/>
                    <a:pt x="606242" y="0"/>
                    <a:pt x="591485" y="0"/>
                  </a:cubicBezTo>
                  <a:cubicBezTo>
                    <a:pt x="578038" y="0"/>
                    <a:pt x="566933" y="11156"/>
                    <a:pt x="565077" y="25654"/>
                  </a:cubicBezTo>
                  <a:lnTo>
                    <a:pt x="357276" y="25654"/>
                  </a:lnTo>
                  <a:cubicBezTo>
                    <a:pt x="356273" y="25654"/>
                    <a:pt x="355299" y="26098"/>
                    <a:pt x="354599" y="26917"/>
                  </a:cubicBezTo>
                  <a:lnTo>
                    <a:pt x="1126" y="423261"/>
                  </a:lnTo>
                  <a:cubicBezTo>
                    <a:pt x="426" y="424046"/>
                    <a:pt x="0" y="425138"/>
                    <a:pt x="0" y="426264"/>
                  </a:cubicBezTo>
                  <a:lnTo>
                    <a:pt x="0" y="722584"/>
                  </a:lnTo>
                  <a:cubicBezTo>
                    <a:pt x="0" y="723710"/>
                    <a:pt x="395" y="724802"/>
                    <a:pt x="1126" y="72558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3" name="Freeform 329">
              <a:extLst>
                <a:ext uri="{FF2B5EF4-FFF2-40B4-BE49-F238E27FC236}">
                  <a16:creationId xmlns:a16="http://schemas.microsoft.com/office/drawing/2014/main" id="{DDB439E9-7C7F-0A24-1D60-F7D196BC6DF9}"/>
                </a:ext>
              </a:extLst>
            </p:cNvPr>
            <p:cNvSpPr/>
            <p:nvPr userDrawn="1"/>
          </p:nvSpPr>
          <p:spPr>
            <a:xfrm>
              <a:off x="9993727" y="1305723"/>
              <a:ext cx="271966" cy="652205"/>
            </a:xfrm>
            <a:custGeom>
              <a:avLst/>
              <a:gdLst>
                <a:gd name="connsiteX0" fmla="*/ 22910 w 271966"/>
                <a:gd name="connsiteY0" fmla="*/ 59564 h 652205"/>
                <a:gd name="connsiteX1" fmla="*/ 22910 w 271966"/>
                <a:gd name="connsiteY1" fmla="*/ 377241 h 652205"/>
                <a:gd name="connsiteX2" fmla="*/ 24036 w 271966"/>
                <a:gd name="connsiteY2" fmla="*/ 380243 h 652205"/>
                <a:gd name="connsiteX3" fmla="*/ 223895 w 271966"/>
                <a:gd name="connsiteY3" fmla="*/ 604342 h 652205"/>
                <a:gd name="connsiteX4" fmla="*/ 218540 w 271966"/>
                <a:gd name="connsiteY4" fmla="*/ 622253 h 652205"/>
                <a:gd name="connsiteX5" fmla="*/ 245253 w 271966"/>
                <a:gd name="connsiteY5" fmla="*/ 652205 h 652205"/>
                <a:gd name="connsiteX6" fmla="*/ 271966 w 271966"/>
                <a:gd name="connsiteY6" fmla="*/ 622253 h 652205"/>
                <a:gd name="connsiteX7" fmla="*/ 245253 w 271966"/>
                <a:gd name="connsiteY7" fmla="*/ 592300 h 652205"/>
                <a:gd name="connsiteX8" fmla="*/ 229280 w 271966"/>
                <a:gd name="connsiteY8" fmla="*/ 598304 h 652205"/>
                <a:gd name="connsiteX9" fmla="*/ 30546 w 271966"/>
                <a:gd name="connsiteY9" fmla="*/ 375467 h 652205"/>
                <a:gd name="connsiteX10" fmla="*/ 30546 w 271966"/>
                <a:gd name="connsiteY10" fmla="*/ 59564 h 652205"/>
                <a:gd name="connsiteX11" fmla="*/ 53426 w 271966"/>
                <a:gd name="connsiteY11" fmla="*/ 29953 h 652205"/>
                <a:gd name="connsiteX12" fmla="*/ 26713 w 271966"/>
                <a:gd name="connsiteY12" fmla="*/ 0 h 652205"/>
                <a:gd name="connsiteX13" fmla="*/ 0 w 271966"/>
                <a:gd name="connsiteY13" fmla="*/ 29953 h 652205"/>
                <a:gd name="connsiteX14" fmla="*/ 22879 w 271966"/>
                <a:gd name="connsiteY14" fmla="*/ 59564 h 652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1966" h="652205">
                  <a:moveTo>
                    <a:pt x="22910" y="59564"/>
                  </a:moveTo>
                  <a:lnTo>
                    <a:pt x="22910" y="377241"/>
                  </a:lnTo>
                  <a:cubicBezTo>
                    <a:pt x="22910" y="378366"/>
                    <a:pt x="23305" y="379458"/>
                    <a:pt x="24036" y="380243"/>
                  </a:cubicBezTo>
                  <a:lnTo>
                    <a:pt x="223895" y="604342"/>
                  </a:lnTo>
                  <a:cubicBezTo>
                    <a:pt x="220548" y="609357"/>
                    <a:pt x="218540" y="615532"/>
                    <a:pt x="218540" y="622253"/>
                  </a:cubicBezTo>
                  <a:cubicBezTo>
                    <a:pt x="218540" y="638798"/>
                    <a:pt x="230497" y="652205"/>
                    <a:pt x="245253" y="652205"/>
                  </a:cubicBezTo>
                  <a:cubicBezTo>
                    <a:pt x="260009" y="652205"/>
                    <a:pt x="271966" y="638798"/>
                    <a:pt x="271966" y="622253"/>
                  </a:cubicBezTo>
                  <a:cubicBezTo>
                    <a:pt x="271966" y="605707"/>
                    <a:pt x="260009" y="592300"/>
                    <a:pt x="245253" y="592300"/>
                  </a:cubicBezTo>
                  <a:cubicBezTo>
                    <a:pt x="239260" y="592300"/>
                    <a:pt x="233722" y="594551"/>
                    <a:pt x="229280" y="598304"/>
                  </a:cubicBezTo>
                  <a:lnTo>
                    <a:pt x="30546" y="375467"/>
                  </a:lnTo>
                  <a:lnTo>
                    <a:pt x="30546" y="59564"/>
                  </a:lnTo>
                  <a:cubicBezTo>
                    <a:pt x="43477" y="57483"/>
                    <a:pt x="53426" y="45031"/>
                    <a:pt x="53426" y="29953"/>
                  </a:cubicBezTo>
                  <a:cubicBezTo>
                    <a:pt x="53426" y="13407"/>
                    <a:pt x="41469" y="0"/>
                    <a:pt x="26713" y="0"/>
                  </a:cubicBezTo>
                  <a:cubicBezTo>
                    <a:pt x="11957" y="0"/>
                    <a:pt x="0" y="13407"/>
                    <a:pt x="0" y="29953"/>
                  </a:cubicBezTo>
                  <a:cubicBezTo>
                    <a:pt x="0" y="45031"/>
                    <a:pt x="9949" y="57483"/>
                    <a:pt x="22879" y="5956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4" name="Freeform 330">
              <a:extLst>
                <a:ext uri="{FF2B5EF4-FFF2-40B4-BE49-F238E27FC236}">
                  <a16:creationId xmlns:a16="http://schemas.microsoft.com/office/drawing/2014/main" id="{05499095-A2C0-0C03-8475-DA549CD8EE19}"/>
                </a:ext>
              </a:extLst>
            </p:cNvPr>
            <p:cNvSpPr/>
            <p:nvPr userDrawn="1"/>
          </p:nvSpPr>
          <p:spPr>
            <a:xfrm>
              <a:off x="8834426" y="489836"/>
              <a:ext cx="925974" cy="651181"/>
            </a:xfrm>
            <a:custGeom>
              <a:avLst/>
              <a:gdLst>
                <a:gd name="connsiteX0" fmla="*/ 26713 w 925974"/>
                <a:gd name="connsiteY0" fmla="*/ 59905 h 651181"/>
                <a:gd name="connsiteX1" fmla="*/ 53121 w 925974"/>
                <a:gd name="connsiteY1" fmla="*/ 34251 h 651181"/>
                <a:gd name="connsiteX2" fmla="*/ 552877 w 925974"/>
                <a:gd name="connsiteY2" fmla="*/ 34251 h 651181"/>
                <a:gd name="connsiteX3" fmla="*/ 738650 w 925974"/>
                <a:gd name="connsiteY3" fmla="*/ 242556 h 651181"/>
                <a:gd name="connsiteX4" fmla="*/ 738650 w 925974"/>
                <a:gd name="connsiteY4" fmla="*/ 450758 h 651181"/>
                <a:gd name="connsiteX5" fmla="*/ 739776 w 925974"/>
                <a:gd name="connsiteY5" fmla="*/ 453760 h 651181"/>
                <a:gd name="connsiteX6" fmla="*/ 876017 w 925974"/>
                <a:gd name="connsiteY6" fmla="*/ 606526 h 651181"/>
                <a:gd name="connsiteX7" fmla="*/ 872549 w 925974"/>
                <a:gd name="connsiteY7" fmla="*/ 621229 h 651181"/>
                <a:gd name="connsiteX8" fmla="*/ 899262 w 925974"/>
                <a:gd name="connsiteY8" fmla="*/ 651182 h 651181"/>
                <a:gd name="connsiteX9" fmla="*/ 925974 w 925974"/>
                <a:gd name="connsiteY9" fmla="*/ 621229 h 651181"/>
                <a:gd name="connsiteX10" fmla="*/ 899262 w 925974"/>
                <a:gd name="connsiteY10" fmla="*/ 591276 h 651181"/>
                <a:gd name="connsiteX11" fmla="*/ 880702 w 925974"/>
                <a:gd name="connsiteY11" fmla="*/ 599703 h 651181"/>
                <a:gd name="connsiteX12" fmla="*/ 746256 w 925974"/>
                <a:gd name="connsiteY12" fmla="*/ 448950 h 651181"/>
                <a:gd name="connsiteX13" fmla="*/ 746256 w 925974"/>
                <a:gd name="connsiteY13" fmla="*/ 240748 h 651181"/>
                <a:gd name="connsiteX14" fmla="*/ 745131 w 925974"/>
                <a:gd name="connsiteY14" fmla="*/ 237711 h 651181"/>
                <a:gd name="connsiteX15" fmla="*/ 557137 w 925974"/>
                <a:gd name="connsiteY15" fmla="*/ 26917 h 651181"/>
                <a:gd name="connsiteX16" fmla="*/ 554459 w 925974"/>
                <a:gd name="connsiteY16" fmla="*/ 25654 h 651181"/>
                <a:gd name="connsiteX17" fmla="*/ 53121 w 925974"/>
                <a:gd name="connsiteY17" fmla="*/ 25654 h 651181"/>
                <a:gd name="connsiteX18" fmla="*/ 26713 w 925974"/>
                <a:gd name="connsiteY18" fmla="*/ 0 h 651181"/>
                <a:gd name="connsiteX19" fmla="*/ 0 w 925974"/>
                <a:gd name="connsiteY19" fmla="*/ 29953 h 651181"/>
                <a:gd name="connsiteX20" fmla="*/ 26713 w 925974"/>
                <a:gd name="connsiteY20" fmla="*/ 59905 h 651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25974" h="651181">
                  <a:moveTo>
                    <a:pt x="26713" y="59905"/>
                  </a:moveTo>
                  <a:cubicBezTo>
                    <a:pt x="40160" y="59905"/>
                    <a:pt x="51266" y="48750"/>
                    <a:pt x="53121" y="34251"/>
                  </a:cubicBezTo>
                  <a:lnTo>
                    <a:pt x="552877" y="34251"/>
                  </a:lnTo>
                  <a:lnTo>
                    <a:pt x="738650" y="242556"/>
                  </a:lnTo>
                  <a:lnTo>
                    <a:pt x="738650" y="450758"/>
                  </a:lnTo>
                  <a:cubicBezTo>
                    <a:pt x="738650" y="451884"/>
                    <a:pt x="739046" y="452975"/>
                    <a:pt x="739776" y="453760"/>
                  </a:cubicBezTo>
                  <a:lnTo>
                    <a:pt x="876017" y="606526"/>
                  </a:lnTo>
                  <a:cubicBezTo>
                    <a:pt x="873826" y="610858"/>
                    <a:pt x="872549" y="615873"/>
                    <a:pt x="872549" y="621229"/>
                  </a:cubicBezTo>
                  <a:cubicBezTo>
                    <a:pt x="872549" y="637775"/>
                    <a:pt x="884505" y="651182"/>
                    <a:pt x="899262" y="651182"/>
                  </a:cubicBezTo>
                  <a:cubicBezTo>
                    <a:pt x="914018" y="651182"/>
                    <a:pt x="925974" y="637775"/>
                    <a:pt x="925974" y="621229"/>
                  </a:cubicBezTo>
                  <a:cubicBezTo>
                    <a:pt x="925974" y="604683"/>
                    <a:pt x="914018" y="591276"/>
                    <a:pt x="899262" y="591276"/>
                  </a:cubicBezTo>
                  <a:cubicBezTo>
                    <a:pt x="892051" y="591276"/>
                    <a:pt x="885510" y="594483"/>
                    <a:pt x="880702" y="599703"/>
                  </a:cubicBezTo>
                  <a:lnTo>
                    <a:pt x="746256" y="448950"/>
                  </a:lnTo>
                  <a:lnTo>
                    <a:pt x="746256" y="240748"/>
                  </a:lnTo>
                  <a:cubicBezTo>
                    <a:pt x="746256" y="239622"/>
                    <a:pt x="745861" y="238530"/>
                    <a:pt x="745131" y="237711"/>
                  </a:cubicBezTo>
                  <a:lnTo>
                    <a:pt x="557137" y="26917"/>
                  </a:lnTo>
                  <a:cubicBezTo>
                    <a:pt x="556437" y="26132"/>
                    <a:pt x="555463" y="25654"/>
                    <a:pt x="554459" y="25654"/>
                  </a:cubicBezTo>
                  <a:lnTo>
                    <a:pt x="53121" y="25654"/>
                  </a:lnTo>
                  <a:cubicBezTo>
                    <a:pt x="51266" y="11155"/>
                    <a:pt x="40160" y="0"/>
                    <a:pt x="26713" y="0"/>
                  </a:cubicBezTo>
                  <a:cubicBezTo>
                    <a:pt x="11957" y="0"/>
                    <a:pt x="0" y="13407"/>
                    <a:pt x="0" y="29953"/>
                  </a:cubicBezTo>
                  <a:cubicBezTo>
                    <a:pt x="0" y="46498"/>
                    <a:pt x="11957" y="59905"/>
                    <a:pt x="26713" y="5990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5" name="Freeform 331">
              <a:extLst>
                <a:ext uri="{FF2B5EF4-FFF2-40B4-BE49-F238E27FC236}">
                  <a16:creationId xmlns:a16="http://schemas.microsoft.com/office/drawing/2014/main" id="{18355BD0-E1CA-AD03-8C36-8FEF3F6FD538}"/>
                </a:ext>
              </a:extLst>
            </p:cNvPr>
            <p:cNvSpPr/>
            <p:nvPr userDrawn="1"/>
          </p:nvSpPr>
          <p:spPr>
            <a:xfrm>
              <a:off x="8814681" y="1113964"/>
              <a:ext cx="797399" cy="615668"/>
            </a:xfrm>
            <a:custGeom>
              <a:avLst/>
              <a:gdLst>
                <a:gd name="connsiteX0" fmla="*/ 26591 w 797399"/>
                <a:gd name="connsiteY0" fmla="*/ 568999 h 615668"/>
                <a:gd name="connsiteX1" fmla="*/ 53304 w 797399"/>
                <a:gd name="connsiteY1" fmla="*/ 539047 h 615668"/>
                <a:gd name="connsiteX2" fmla="*/ 30425 w 797399"/>
                <a:gd name="connsiteY2" fmla="*/ 509435 h 615668"/>
                <a:gd name="connsiteX3" fmla="*/ 30425 w 797399"/>
                <a:gd name="connsiteY3" fmla="*/ 287826 h 615668"/>
                <a:gd name="connsiteX4" fmla="*/ 279512 w 797399"/>
                <a:gd name="connsiteY4" fmla="*/ 8529 h 615668"/>
                <a:gd name="connsiteX5" fmla="*/ 667760 w 797399"/>
                <a:gd name="connsiteY5" fmla="*/ 8529 h 615668"/>
                <a:gd name="connsiteX6" fmla="*/ 766853 w 797399"/>
                <a:gd name="connsiteY6" fmla="*/ 119640 h 615668"/>
                <a:gd name="connsiteX7" fmla="*/ 766853 w 797399"/>
                <a:gd name="connsiteY7" fmla="*/ 556104 h 615668"/>
                <a:gd name="connsiteX8" fmla="*/ 743974 w 797399"/>
                <a:gd name="connsiteY8" fmla="*/ 585716 h 615668"/>
                <a:gd name="connsiteX9" fmla="*/ 770687 w 797399"/>
                <a:gd name="connsiteY9" fmla="*/ 615668 h 615668"/>
                <a:gd name="connsiteX10" fmla="*/ 797400 w 797399"/>
                <a:gd name="connsiteY10" fmla="*/ 585716 h 615668"/>
                <a:gd name="connsiteX11" fmla="*/ 774520 w 797399"/>
                <a:gd name="connsiteY11" fmla="*/ 556104 h 615668"/>
                <a:gd name="connsiteX12" fmla="*/ 774520 w 797399"/>
                <a:gd name="connsiteY12" fmla="*/ 117866 h 615668"/>
                <a:gd name="connsiteX13" fmla="*/ 773394 w 797399"/>
                <a:gd name="connsiteY13" fmla="*/ 114864 h 615668"/>
                <a:gd name="connsiteX14" fmla="*/ 672081 w 797399"/>
                <a:gd name="connsiteY14" fmla="*/ 1262 h 615668"/>
                <a:gd name="connsiteX15" fmla="*/ 669403 w 797399"/>
                <a:gd name="connsiteY15" fmla="*/ 0 h 615668"/>
                <a:gd name="connsiteX16" fmla="*/ 278021 w 797399"/>
                <a:gd name="connsiteY16" fmla="*/ 0 h 615668"/>
                <a:gd name="connsiteX17" fmla="*/ 275343 w 797399"/>
                <a:gd name="connsiteY17" fmla="*/ 1262 h 615668"/>
                <a:gd name="connsiteX18" fmla="*/ 24005 w 797399"/>
                <a:gd name="connsiteY18" fmla="*/ 283084 h 615668"/>
                <a:gd name="connsiteX19" fmla="*/ 22879 w 797399"/>
                <a:gd name="connsiteY19" fmla="*/ 286120 h 615668"/>
                <a:gd name="connsiteX20" fmla="*/ 22879 w 797399"/>
                <a:gd name="connsiteY20" fmla="*/ 509503 h 615668"/>
                <a:gd name="connsiteX21" fmla="*/ 0 w 797399"/>
                <a:gd name="connsiteY21" fmla="*/ 539115 h 615668"/>
                <a:gd name="connsiteX22" fmla="*/ 26713 w 797399"/>
                <a:gd name="connsiteY22" fmla="*/ 569068 h 6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7399" h="615668">
                  <a:moveTo>
                    <a:pt x="26591" y="568999"/>
                  </a:moveTo>
                  <a:cubicBezTo>
                    <a:pt x="41347" y="568999"/>
                    <a:pt x="53304" y="555592"/>
                    <a:pt x="53304" y="539047"/>
                  </a:cubicBezTo>
                  <a:cubicBezTo>
                    <a:pt x="53304" y="523968"/>
                    <a:pt x="43355" y="511516"/>
                    <a:pt x="30425" y="509435"/>
                  </a:cubicBezTo>
                  <a:lnTo>
                    <a:pt x="30425" y="287826"/>
                  </a:lnTo>
                  <a:lnTo>
                    <a:pt x="279512" y="8529"/>
                  </a:lnTo>
                  <a:lnTo>
                    <a:pt x="667760" y="8529"/>
                  </a:lnTo>
                  <a:lnTo>
                    <a:pt x="766853" y="119640"/>
                  </a:lnTo>
                  <a:lnTo>
                    <a:pt x="766853" y="556104"/>
                  </a:lnTo>
                  <a:cubicBezTo>
                    <a:pt x="753923" y="558185"/>
                    <a:pt x="743974" y="570637"/>
                    <a:pt x="743974" y="585716"/>
                  </a:cubicBezTo>
                  <a:cubicBezTo>
                    <a:pt x="743974" y="602261"/>
                    <a:pt x="755931" y="615668"/>
                    <a:pt x="770687" y="615668"/>
                  </a:cubicBezTo>
                  <a:cubicBezTo>
                    <a:pt x="785443" y="615668"/>
                    <a:pt x="797400" y="602261"/>
                    <a:pt x="797400" y="585716"/>
                  </a:cubicBezTo>
                  <a:cubicBezTo>
                    <a:pt x="797400" y="570637"/>
                    <a:pt x="787451" y="558185"/>
                    <a:pt x="774520" y="556104"/>
                  </a:cubicBezTo>
                  <a:lnTo>
                    <a:pt x="774520" y="117866"/>
                  </a:lnTo>
                  <a:cubicBezTo>
                    <a:pt x="774520" y="116741"/>
                    <a:pt x="774125" y="115649"/>
                    <a:pt x="773394" y="114864"/>
                  </a:cubicBezTo>
                  <a:lnTo>
                    <a:pt x="672081" y="1262"/>
                  </a:lnTo>
                  <a:cubicBezTo>
                    <a:pt x="671381" y="478"/>
                    <a:pt x="670407" y="0"/>
                    <a:pt x="669403" y="0"/>
                  </a:cubicBezTo>
                  <a:lnTo>
                    <a:pt x="278021" y="0"/>
                  </a:lnTo>
                  <a:cubicBezTo>
                    <a:pt x="277017" y="0"/>
                    <a:pt x="276043" y="444"/>
                    <a:pt x="275343" y="1262"/>
                  </a:cubicBezTo>
                  <a:lnTo>
                    <a:pt x="24005" y="283084"/>
                  </a:lnTo>
                  <a:cubicBezTo>
                    <a:pt x="23306" y="283869"/>
                    <a:pt x="22879" y="284960"/>
                    <a:pt x="22879" y="286120"/>
                  </a:cubicBezTo>
                  <a:lnTo>
                    <a:pt x="22879" y="509503"/>
                  </a:lnTo>
                  <a:cubicBezTo>
                    <a:pt x="9949" y="511584"/>
                    <a:pt x="0" y="524036"/>
                    <a:pt x="0" y="539115"/>
                  </a:cubicBezTo>
                  <a:cubicBezTo>
                    <a:pt x="0" y="555661"/>
                    <a:pt x="11957" y="569068"/>
                    <a:pt x="26713" y="569068"/>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6" name="Freeform 332">
              <a:extLst>
                <a:ext uri="{FF2B5EF4-FFF2-40B4-BE49-F238E27FC236}">
                  <a16:creationId xmlns:a16="http://schemas.microsoft.com/office/drawing/2014/main" id="{8F60C155-B70B-50E6-FD2A-63314BBE43EE}"/>
                </a:ext>
              </a:extLst>
            </p:cNvPr>
            <p:cNvSpPr/>
            <p:nvPr userDrawn="1"/>
          </p:nvSpPr>
          <p:spPr>
            <a:xfrm>
              <a:off x="8728275" y="1027211"/>
              <a:ext cx="968872" cy="715624"/>
            </a:xfrm>
            <a:custGeom>
              <a:avLst/>
              <a:gdLst>
                <a:gd name="connsiteX0" fmla="*/ 26622 w 968872"/>
                <a:gd name="connsiteY0" fmla="*/ 715625 h 715624"/>
                <a:gd name="connsiteX1" fmla="*/ 53334 w 968872"/>
                <a:gd name="connsiteY1" fmla="*/ 685672 h 715624"/>
                <a:gd name="connsiteX2" fmla="*/ 30455 w 968872"/>
                <a:gd name="connsiteY2" fmla="*/ 656060 h 715624"/>
                <a:gd name="connsiteX3" fmla="*/ 30455 w 968872"/>
                <a:gd name="connsiteY3" fmla="*/ 342409 h 715624"/>
                <a:gd name="connsiteX4" fmla="*/ 328190 w 968872"/>
                <a:gd name="connsiteY4" fmla="*/ 8563 h 715624"/>
                <a:gd name="connsiteX5" fmla="*/ 805645 w 968872"/>
                <a:gd name="connsiteY5" fmla="*/ 8563 h 715624"/>
                <a:gd name="connsiteX6" fmla="*/ 938326 w 968872"/>
                <a:gd name="connsiteY6" fmla="*/ 157337 h 715624"/>
                <a:gd name="connsiteX7" fmla="*/ 938326 w 968872"/>
                <a:gd name="connsiteY7" fmla="*/ 656026 h 715624"/>
                <a:gd name="connsiteX8" fmla="*/ 915447 w 968872"/>
                <a:gd name="connsiteY8" fmla="*/ 685638 h 715624"/>
                <a:gd name="connsiteX9" fmla="*/ 942160 w 968872"/>
                <a:gd name="connsiteY9" fmla="*/ 715591 h 715624"/>
                <a:gd name="connsiteX10" fmla="*/ 968873 w 968872"/>
                <a:gd name="connsiteY10" fmla="*/ 685638 h 715624"/>
                <a:gd name="connsiteX11" fmla="*/ 945993 w 968872"/>
                <a:gd name="connsiteY11" fmla="*/ 656026 h 715624"/>
                <a:gd name="connsiteX12" fmla="*/ 945993 w 968872"/>
                <a:gd name="connsiteY12" fmla="*/ 155563 h 715624"/>
                <a:gd name="connsiteX13" fmla="*/ 944868 w 968872"/>
                <a:gd name="connsiteY13" fmla="*/ 152527 h 715624"/>
                <a:gd name="connsiteX14" fmla="*/ 809965 w 968872"/>
                <a:gd name="connsiteY14" fmla="*/ 1262 h 715624"/>
                <a:gd name="connsiteX15" fmla="*/ 807287 w 968872"/>
                <a:gd name="connsiteY15" fmla="*/ 0 h 715624"/>
                <a:gd name="connsiteX16" fmla="*/ 326669 w 968872"/>
                <a:gd name="connsiteY16" fmla="*/ 0 h 715624"/>
                <a:gd name="connsiteX17" fmla="*/ 323962 w 968872"/>
                <a:gd name="connsiteY17" fmla="*/ 1262 h 715624"/>
                <a:gd name="connsiteX18" fmla="*/ 24005 w 968872"/>
                <a:gd name="connsiteY18" fmla="*/ 337599 h 715624"/>
                <a:gd name="connsiteX19" fmla="*/ 22879 w 968872"/>
                <a:gd name="connsiteY19" fmla="*/ 340601 h 715624"/>
                <a:gd name="connsiteX20" fmla="*/ 22879 w 968872"/>
                <a:gd name="connsiteY20" fmla="*/ 655992 h 715624"/>
                <a:gd name="connsiteX21" fmla="*/ 0 w 968872"/>
                <a:gd name="connsiteY21" fmla="*/ 685604 h 715624"/>
                <a:gd name="connsiteX22" fmla="*/ 26713 w 968872"/>
                <a:gd name="connsiteY22" fmla="*/ 715556 h 715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68872" h="715624">
                  <a:moveTo>
                    <a:pt x="26622" y="715625"/>
                  </a:moveTo>
                  <a:cubicBezTo>
                    <a:pt x="41377" y="715625"/>
                    <a:pt x="53334" y="702217"/>
                    <a:pt x="53334" y="685672"/>
                  </a:cubicBezTo>
                  <a:cubicBezTo>
                    <a:pt x="53334" y="670593"/>
                    <a:pt x="43386" y="658141"/>
                    <a:pt x="30455" y="656060"/>
                  </a:cubicBezTo>
                  <a:lnTo>
                    <a:pt x="30455" y="342409"/>
                  </a:lnTo>
                  <a:lnTo>
                    <a:pt x="328190" y="8563"/>
                  </a:lnTo>
                  <a:lnTo>
                    <a:pt x="805645" y="8563"/>
                  </a:lnTo>
                  <a:lnTo>
                    <a:pt x="938326" y="157337"/>
                  </a:lnTo>
                  <a:lnTo>
                    <a:pt x="938326" y="656026"/>
                  </a:lnTo>
                  <a:cubicBezTo>
                    <a:pt x="925396" y="658107"/>
                    <a:pt x="915447" y="670559"/>
                    <a:pt x="915447" y="685638"/>
                  </a:cubicBezTo>
                  <a:cubicBezTo>
                    <a:pt x="915447" y="702183"/>
                    <a:pt x="927404" y="715591"/>
                    <a:pt x="942160" y="715591"/>
                  </a:cubicBezTo>
                  <a:cubicBezTo>
                    <a:pt x="956916" y="715591"/>
                    <a:pt x="968873" y="702183"/>
                    <a:pt x="968873" y="685638"/>
                  </a:cubicBezTo>
                  <a:cubicBezTo>
                    <a:pt x="968873" y="670559"/>
                    <a:pt x="958924" y="658107"/>
                    <a:pt x="945993" y="656026"/>
                  </a:cubicBezTo>
                  <a:lnTo>
                    <a:pt x="945993" y="155563"/>
                  </a:lnTo>
                  <a:cubicBezTo>
                    <a:pt x="945993" y="154437"/>
                    <a:pt x="945598" y="153346"/>
                    <a:pt x="944868" y="152527"/>
                  </a:cubicBezTo>
                  <a:lnTo>
                    <a:pt x="809965" y="1262"/>
                  </a:lnTo>
                  <a:cubicBezTo>
                    <a:pt x="809265" y="478"/>
                    <a:pt x="808291" y="0"/>
                    <a:pt x="807287" y="0"/>
                  </a:cubicBezTo>
                  <a:lnTo>
                    <a:pt x="326669" y="0"/>
                  </a:lnTo>
                  <a:cubicBezTo>
                    <a:pt x="325666" y="0"/>
                    <a:pt x="324692" y="444"/>
                    <a:pt x="323962" y="1262"/>
                  </a:cubicBezTo>
                  <a:lnTo>
                    <a:pt x="24005" y="337599"/>
                  </a:lnTo>
                  <a:cubicBezTo>
                    <a:pt x="23305" y="338384"/>
                    <a:pt x="22879" y="339476"/>
                    <a:pt x="22879" y="340601"/>
                  </a:cubicBezTo>
                  <a:lnTo>
                    <a:pt x="22879" y="655992"/>
                  </a:lnTo>
                  <a:cubicBezTo>
                    <a:pt x="9949" y="658073"/>
                    <a:pt x="0" y="670525"/>
                    <a:pt x="0" y="685604"/>
                  </a:cubicBezTo>
                  <a:cubicBezTo>
                    <a:pt x="0" y="702149"/>
                    <a:pt x="11957" y="715556"/>
                    <a:pt x="26713" y="71555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7" name="Freeform 333">
              <a:extLst>
                <a:ext uri="{FF2B5EF4-FFF2-40B4-BE49-F238E27FC236}">
                  <a16:creationId xmlns:a16="http://schemas.microsoft.com/office/drawing/2014/main" id="{670F1EED-C85D-6C96-6752-E3D896BAD2E3}"/>
                </a:ext>
              </a:extLst>
            </p:cNvPr>
            <p:cNvSpPr/>
            <p:nvPr userDrawn="1"/>
          </p:nvSpPr>
          <p:spPr>
            <a:xfrm>
              <a:off x="8030364" y="1290679"/>
              <a:ext cx="659119" cy="449666"/>
            </a:xfrm>
            <a:custGeom>
              <a:avLst/>
              <a:gdLst>
                <a:gd name="connsiteX0" fmla="*/ 23001 w 659119"/>
                <a:gd name="connsiteY0" fmla="*/ 59598 h 449666"/>
                <a:gd name="connsiteX1" fmla="*/ 23001 w 659119"/>
                <a:gd name="connsiteY1" fmla="*/ 183640 h 449666"/>
                <a:gd name="connsiteX2" fmla="*/ 24127 w 659119"/>
                <a:gd name="connsiteY2" fmla="*/ 186642 h 449666"/>
                <a:gd name="connsiteX3" fmla="*/ 257576 w 659119"/>
                <a:gd name="connsiteY3" fmla="*/ 448404 h 449666"/>
                <a:gd name="connsiteX4" fmla="*/ 260253 w 659119"/>
                <a:gd name="connsiteY4" fmla="*/ 449666 h 449666"/>
                <a:gd name="connsiteX5" fmla="*/ 450315 w 659119"/>
                <a:gd name="connsiteY5" fmla="*/ 449666 h 449666"/>
                <a:gd name="connsiteX6" fmla="*/ 452993 w 659119"/>
                <a:gd name="connsiteY6" fmla="*/ 448404 h 449666"/>
                <a:gd name="connsiteX7" fmla="*/ 621059 w 659119"/>
                <a:gd name="connsiteY7" fmla="*/ 259954 h 449666"/>
                <a:gd name="connsiteX8" fmla="*/ 632407 w 659119"/>
                <a:gd name="connsiteY8" fmla="*/ 262820 h 449666"/>
                <a:gd name="connsiteX9" fmla="*/ 659120 w 659119"/>
                <a:gd name="connsiteY9" fmla="*/ 232867 h 449666"/>
                <a:gd name="connsiteX10" fmla="*/ 632407 w 659119"/>
                <a:gd name="connsiteY10" fmla="*/ 202914 h 449666"/>
                <a:gd name="connsiteX11" fmla="*/ 605694 w 659119"/>
                <a:gd name="connsiteY11" fmla="*/ 232867 h 449666"/>
                <a:gd name="connsiteX12" fmla="*/ 614578 w 659119"/>
                <a:gd name="connsiteY12" fmla="*/ 255110 h 449666"/>
                <a:gd name="connsiteX13" fmla="*/ 448703 w 659119"/>
                <a:gd name="connsiteY13" fmla="*/ 441103 h 449666"/>
                <a:gd name="connsiteX14" fmla="*/ 261774 w 659119"/>
                <a:gd name="connsiteY14" fmla="*/ 441103 h 449666"/>
                <a:gd name="connsiteX15" fmla="*/ 30546 w 659119"/>
                <a:gd name="connsiteY15" fmla="*/ 181832 h 449666"/>
                <a:gd name="connsiteX16" fmla="*/ 30546 w 659119"/>
                <a:gd name="connsiteY16" fmla="*/ 59564 h 449666"/>
                <a:gd name="connsiteX17" fmla="*/ 53426 w 659119"/>
                <a:gd name="connsiteY17" fmla="*/ 29953 h 449666"/>
                <a:gd name="connsiteX18" fmla="*/ 26713 w 659119"/>
                <a:gd name="connsiteY18" fmla="*/ 0 h 449666"/>
                <a:gd name="connsiteX19" fmla="*/ 0 w 659119"/>
                <a:gd name="connsiteY19" fmla="*/ 29953 h 449666"/>
                <a:gd name="connsiteX20" fmla="*/ 22879 w 659119"/>
                <a:gd name="connsiteY20" fmla="*/ 59564 h 449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59119" h="449666">
                  <a:moveTo>
                    <a:pt x="23001" y="59598"/>
                  </a:moveTo>
                  <a:lnTo>
                    <a:pt x="23001" y="183640"/>
                  </a:lnTo>
                  <a:cubicBezTo>
                    <a:pt x="23001" y="184765"/>
                    <a:pt x="23397" y="185857"/>
                    <a:pt x="24127" y="186642"/>
                  </a:cubicBezTo>
                  <a:lnTo>
                    <a:pt x="257576" y="448404"/>
                  </a:lnTo>
                  <a:cubicBezTo>
                    <a:pt x="258275" y="449189"/>
                    <a:pt x="259249" y="449666"/>
                    <a:pt x="260253" y="449666"/>
                  </a:cubicBezTo>
                  <a:lnTo>
                    <a:pt x="450315" y="449666"/>
                  </a:lnTo>
                  <a:cubicBezTo>
                    <a:pt x="451320" y="449666"/>
                    <a:pt x="452293" y="449223"/>
                    <a:pt x="452993" y="448404"/>
                  </a:cubicBezTo>
                  <a:lnTo>
                    <a:pt x="621059" y="259954"/>
                  </a:lnTo>
                  <a:cubicBezTo>
                    <a:pt x="624496" y="261762"/>
                    <a:pt x="628330" y="262820"/>
                    <a:pt x="632407" y="262820"/>
                  </a:cubicBezTo>
                  <a:cubicBezTo>
                    <a:pt x="647163" y="262820"/>
                    <a:pt x="659120" y="249413"/>
                    <a:pt x="659120" y="232867"/>
                  </a:cubicBezTo>
                  <a:cubicBezTo>
                    <a:pt x="659120" y="216321"/>
                    <a:pt x="647163" y="202914"/>
                    <a:pt x="632407" y="202914"/>
                  </a:cubicBezTo>
                  <a:cubicBezTo>
                    <a:pt x="617651" y="202914"/>
                    <a:pt x="605694" y="216321"/>
                    <a:pt x="605694" y="232867"/>
                  </a:cubicBezTo>
                  <a:cubicBezTo>
                    <a:pt x="605694" y="241703"/>
                    <a:pt x="609133" y="249652"/>
                    <a:pt x="614578" y="255110"/>
                  </a:cubicBezTo>
                  <a:lnTo>
                    <a:pt x="448703" y="441103"/>
                  </a:lnTo>
                  <a:lnTo>
                    <a:pt x="261774" y="441103"/>
                  </a:lnTo>
                  <a:lnTo>
                    <a:pt x="30546" y="181832"/>
                  </a:lnTo>
                  <a:lnTo>
                    <a:pt x="30546" y="59564"/>
                  </a:lnTo>
                  <a:cubicBezTo>
                    <a:pt x="43477" y="57483"/>
                    <a:pt x="53426" y="45031"/>
                    <a:pt x="53426" y="29953"/>
                  </a:cubicBezTo>
                  <a:cubicBezTo>
                    <a:pt x="53426" y="13407"/>
                    <a:pt x="41469" y="0"/>
                    <a:pt x="26713" y="0"/>
                  </a:cubicBezTo>
                  <a:cubicBezTo>
                    <a:pt x="11957" y="0"/>
                    <a:pt x="0" y="13407"/>
                    <a:pt x="0" y="29953"/>
                  </a:cubicBezTo>
                  <a:cubicBezTo>
                    <a:pt x="0" y="45031"/>
                    <a:pt x="9949" y="57483"/>
                    <a:pt x="22879" y="5956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8" name="Freeform 334">
              <a:extLst>
                <a:ext uri="{FF2B5EF4-FFF2-40B4-BE49-F238E27FC236}">
                  <a16:creationId xmlns:a16="http://schemas.microsoft.com/office/drawing/2014/main" id="{72076B1D-C317-130B-0EAB-BA8F17C6839A}"/>
                </a:ext>
              </a:extLst>
            </p:cNvPr>
            <p:cNvSpPr/>
            <p:nvPr userDrawn="1"/>
          </p:nvSpPr>
          <p:spPr>
            <a:xfrm>
              <a:off x="7817574" y="1143303"/>
              <a:ext cx="886878" cy="267186"/>
            </a:xfrm>
            <a:custGeom>
              <a:avLst/>
              <a:gdLst>
                <a:gd name="connsiteX0" fmla="*/ 26682 w 886878"/>
                <a:gd name="connsiteY0" fmla="*/ 59871 h 267186"/>
                <a:gd name="connsiteX1" fmla="*/ 53091 w 886878"/>
                <a:gd name="connsiteY1" fmla="*/ 34217 h 267186"/>
                <a:gd name="connsiteX2" fmla="*/ 243063 w 886878"/>
                <a:gd name="connsiteY2" fmla="*/ 34217 h 267186"/>
                <a:gd name="connsiteX3" fmla="*/ 426645 w 886878"/>
                <a:gd name="connsiteY3" fmla="*/ 240065 h 267186"/>
                <a:gd name="connsiteX4" fmla="*/ 429353 w 886878"/>
                <a:gd name="connsiteY4" fmla="*/ 241328 h 267186"/>
                <a:gd name="connsiteX5" fmla="*/ 833727 w 886878"/>
                <a:gd name="connsiteY5" fmla="*/ 241328 h 267186"/>
                <a:gd name="connsiteX6" fmla="*/ 860166 w 886878"/>
                <a:gd name="connsiteY6" fmla="*/ 267186 h 267186"/>
                <a:gd name="connsiteX7" fmla="*/ 886879 w 886878"/>
                <a:gd name="connsiteY7" fmla="*/ 237234 h 267186"/>
                <a:gd name="connsiteX8" fmla="*/ 860166 w 886878"/>
                <a:gd name="connsiteY8" fmla="*/ 207281 h 267186"/>
                <a:gd name="connsiteX9" fmla="*/ 833788 w 886878"/>
                <a:gd name="connsiteY9" fmla="*/ 232765 h 267186"/>
                <a:gd name="connsiteX10" fmla="*/ 430935 w 886878"/>
                <a:gd name="connsiteY10" fmla="*/ 232765 h 267186"/>
                <a:gd name="connsiteX11" fmla="*/ 247353 w 886878"/>
                <a:gd name="connsiteY11" fmla="*/ 26916 h 267186"/>
                <a:gd name="connsiteX12" fmla="*/ 244675 w 886878"/>
                <a:gd name="connsiteY12" fmla="*/ 25654 h 267186"/>
                <a:gd name="connsiteX13" fmla="*/ 53121 w 886878"/>
                <a:gd name="connsiteY13" fmla="*/ 25654 h 267186"/>
                <a:gd name="connsiteX14" fmla="*/ 26713 w 886878"/>
                <a:gd name="connsiteY14" fmla="*/ 0 h 267186"/>
                <a:gd name="connsiteX15" fmla="*/ 0 w 886878"/>
                <a:gd name="connsiteY15" fmla="*/ 29953 h 267186"/>
                <a:gd name="connsiteX16" fmla="*/ 26713 w 886878"/>
                <a:gd name="connsiteY16" fmla="*/ 59905 h 26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6878" h="267186">
                  <a:moveTo>
                    <a:pt x="26682" y="59871"/>
                  </a:moveTo>
                  <a:cubicBezTo>
                    <a:pt x="40130" y="59871"/>
                    <a:pt x="51235" y="48716"/>
                    <a:pt x="53091" y="34217"/>
                  </a:cubicBezTo>
                  <a:lnTo>
                    <a:pt x="243063" y="34217"/>
                  </a:lnTo>
                  <a:lnTo>
                    <a:pt x="426645" y="240065"/>
                  </a:lnTo>
                  <a:cubicBezTo>
                    <a:pt x="427344" y="240850"/>
                    <a:pt x="428318" y="241328"/>
                    <a:pt x="429353" y="241328"/>
                  </a:cubicBezTo>
                  <a:lnTo>
                    <a:pt x="833727" y="241328"/>
                  </a:lnTo>
                  <a:cubicBezTo>
                    <a:pt x="835522" y="255929"/>
                    <a:pt x="846657" y="267186"/>
                    <a:pt x="860166" y="267186"/>
                  </a:cubicBezTo>
                  <a:cubicBezTo>
                    <a:pt x="874922" y="267186"/>
                    <a:pt x="886879" y="253779"/>
                    <a:pt x="886879" y="237234"/>
                  </a:cubicBezTo>
                  <a:cubicBezTo>
                    <a:pt x="886879" y="220688"/>
                    <a:pt x="874922" y="207281"/>
                    <a:pt x="860166" y="207281"/>
                  </a:cubicBezTo>
                  <a:cubicBezTo>
                    <a:pt x="846779" y="207281"/>
                    <a:pt x="835704" y="218334"/>
                    <a:pt x="833788" y="232765"/>
                  </a:cubicBezTo>
                  <a:lnTo>
                    <a:pt x="430935" y="232765"/>
                  </a:lnTo>
                  <a:lnTo>
                    <a:pt x="247353" y="26916"/>
                  </a:lnTo>
                  <a:cubicBezTo>
                    <a:pt x="246653" y="26132"/>
                    <a:pt x="245679" y="25654"/>
                    <a:pt x="244675" y="25654"/>
                  </a:cubicBezTo>
                  <a:lnTo>
                    <a:pt x="53121" y="25654"/>
                  </a:lnTo>
                  <a:cubicBezTo>
                    <a:pt x="51266" y="11155"/>
                    <a:pt x="40160" y="0"/>
                    <a:pt x="26713" y="0"/>
                  </a:cubicBezTo>
                  <a:cubicBezTo>
                    <a:pt x="11957" y="0"/>
                    <a:pt x="0" y="13407"/>
                    <a:pt x="0" y="29953"/>
                  </a:cubicBezTo>
                  <a:cubicBezTo>
                    <a:pt x="0" y="46498"/>
                    <a:pt x="11957" y="59905"/>
                    <a:pt x="26713" y="5990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39" name="Freeform 335">
              <a:extLst>
                <a:ext uri="{FF2B5EF4-FFF2-40B4-BE49-F238E27FC236}">
                  <a16:creationId xmlns:a16="http://schemas.microsoft.com/office/drawing/2014/main" id="{16B31B60-7204-FF19-90A8-27D2AB7D4796}"/>
                </a:ext>
              </a:extLst>
            </p:cNvPr>
            <p:cNvSpPr/>
            <p:nvPr userDrawn="1"/>
          </p:nvSpPr>
          <p:spPr>
            <a:xfrm>
              <a:off x="7280427" y="381044"/>
              <a:ext cx="480922" cy="737185"/>
            </a:xfrm>
            <a:custGeom>
              <a:avLst/>
              <a:gdLst>
                <a:gd name="connsiteX0" fmla="*/ 22910 w 480922"/>
                <a:gd name="connsiteY0" fmla="*/ 59598 h 737185"/>
                <a:gd name="connsiteX1" fmla="*/ 22910 w 480922"/>
                <a:gd name="connsiteY1" fmla="*/ 220722 h 737185"/>
                <a:gd name="connsiteX2" fmla="*/ 24036 w 480922"/>
                <a:gd name="connsiteY2" fmla="*/ 223724 h 737185"/>
                <a:gd name="connsiteX3" fmla="*/ 435864 w 480922"/>
                <a:gd name="connsiteY3" fmla="*/ 685501 h 737185"/>
                <a:gd name="connsiteX4" fmla="*/ 427497 w 480922"/>
                <a:gd name="connsiteY4" fmla="*/ 707232 h 737185"/>
                <a:gd name="connsiteX5" fmla="*/ 454210 w 480922"/>
                <a:gd name="connsiteY5" fmla="*/ 737185 h 737185"/>
                <a:gd name="connsiteX6" fmla="*/ 480923 w 480922"/>
                <a:gd name="connsiteY6" fmla="*/ 707232 h 737185"/>
                <a:gd name="connsiteX7" fmla="*/ 454210 w 480922"/>
                <a:gd name="connsiteY7" fmla="*/ 677280 h 737185"/>
                <a:gd name="connsiteX8" fmla="*/ 442192 w 480922"/>
                <a:gd name="connsiteY8" fmla="*/ 680520 h 737185"/>
                <a:gd name="connsiteX9" fmla="*/ 30546 w 480922"/>
                <a:gd name="connsiteY9" fmla="*/ 218948 h 737185"/>
                <a:gd name="connsiteX10" fmla="*/ 30546 w 480922"/>
                <a:gd name="connsiteY10" fmla="*/ 59564 h 737185"/>
                <a:gd name="connsiteX11" fmla="*/ 53426 w 480922"/>
                <a:gd name="connsiteY11" fmla="*/ 29953 h 737185"/>
                <a:gd name="connsiteX12" fmla="*/ 26713 w 480922"/>
                <a:gd name="connsiteY12" fmla="*/ 0 h 737185"/>
                <a:gd name="connsiteX13" fmla="*/ 0 w 480922"/>
                <a:gd name="connsiteY13" fmla="*/ 29953 h 737185"/>
                <a:gd name="connsiteX14" fmla="*/ 22879 w 480922"/>
                <a:gd name="connsiteY14" fmla="*/ 59564 h 737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0922" h="737185">
                  <a:moveTo>
                    <a:pt x="22910" y="59598"/>
                  </a:moveTo>
                  <a:lnTo>
                    <a:pt x="22910" y="220722"/>
                  </a:lnTo>
                  <a:cubicBezTo>
                    <a:pt x="22910" y="221848"/>
                    <a:pt x="23306" y="222940"/>
                    <a:pt x="24036" y="223724"/>
                  </a:cubicBezTo>
                  <a:lnTo>
                    <a:pt x="435864" y="685501"/>
                  </a:lnTo>
                  <a:cubicBezTo>
                    <a:pt x="430722" y="690960"/>
                    <a:pt x="427497" y="698670"/>
                    <a:pt x="427497" y="707232"/>
                  </a:cubicBezTo>
                  <a:cubicBezTo>
                    <a:pt x="427497" y="723778"/>
                    <a:pt x="439454" y="737185"/>
                    <a:pt x="454210" y="737185"/>
                  </a:cubicBezTo>
                  <a:cubicBezTo>
                    <a:pt x="468966" y="737185"/>
                    <a:pt x="480923" y="723778"/>
                    <a:pt x="480923" y="707232"/>
                  </a:cubicBezTo>
                  <a:cubicBezTo>
                    <a:pt x="480923" y="690687"/>
                    <a:pt x="468966" y="677280"/>
                    <a:pt x="454210" y="677280"/>
                  </a:cubicBezTo>
                  <a:cubicBezTo>
                    <a:pt x="449890" y="677280"/>
                    <a:pt x="445812" y="678474"/>
                    <a:pt x="442192" y="680520"/>
                  </a:cubicBezTo>
                  <a:lnTo>
                    <a:pt x="30546" y="218948"/>
                  </a:lnTo>
                  <a:lnTo>
                    <a:pt x="30546" y="59564"/>
                  </a:lnTo>
                  <a:cubicBezTo>
                    <a:pt x="43477" y="57483"/>
                    <a:pt x="53426" y="45031"/>
                    <a:pt x="53426" y="29953"/>
                  </a:cubicBezTo>
                  <a:cubicBezTo>
                    <a:pt x="53426" y="13407"/>
                    <a:pt x="41469" y="0"/>
                    <a:pt x="26713" y="0"/>
                  </a:cubicBezTo>
                  <a:cubicBezTo>
                    <a:pt x="11957" y="0"/>
                    <a:pt x="0" y="13407"/>
                    <a:pt x="0" y="29953"/>
                  </a:cubicBezTo>
                  <a:cubicBezTo>
                    <a:pt x="0" y="45031"/>
                    <a:pt x="9949" y="57483"/>
                    <a:pt x="22879" y="5956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0" name="Freeform 336">
              <a:extLst>
                <a:ext uri="{FF2B5EF4-FFF2-40B4-BE49-F238E27FC236}">
                  <a16:creationId xmlns:a16="http://schemas.microsoft.com/office/drawing/2014/main" id="{5306CF66-F8B0-8699-2B9B-5FC16F08148C}"/>
                </a:ext>
              </a:extLst>
            </p:cNvPr>
            <p:cNvSpPr/>
            <p:nvPr userDrawn="1"/>
          </p:nvSpPr>
          <p:spPr>
            <a:xfrm>
              <a:off x="7886760" y="877754"/>
              <a:ext cx="1866369" cy="865115"/>
            </a:xfrm>
            <a:custGeom>
              <a:avLst/>
              <a:gdLst>
                <a:gd name="connsiteX0" fmla="*/ 26682 w 1866369"/>
                <a:gd name="connsiteY0" fmla="*/ 59905 h 865115"/>
                <a:gd name="connsiteX1" fmla="*/ 42655 w 1866369"/>
                <a:gd name="connsiteY1" fmla="*/ 53901 h 865115"/>
                <a:gd name="connsiteX2" fmla="*/ 390562 w 1866369"/>
                <a:gd name="connsiteY2" fmla="*/ 444003 h 865115"/>
                <a:gd name="connsiteX3" fmla="*/ 393269 w 1866369"/>
                <a:gd name="connsiteY3" fmla="*/ 445265 h 865115"/>
                <a:gd name="connsiteX4" fmla="*/ 864151 w 1866369"/>
                <a:gd name="connsiteY4" fmla="*/ 445265 h 865115"/>
                <a:gd name="connsiteX5" fmla="*/ 866829 w 1866369"/>
                <a:gd name="connsiteY5" fmla="*/ 444003 h 865115"/>
                <a:gd name="connsiteX6" fmla="*/ 1169706 w 1866369"/>
                <a:gd name="connsiteY6" fmla="*/ 104425 h 865115"/>
                <a:gd name="connsiteX7" fmla="*/ 1675151 w 1866369"/>
                <a:gd name="connsiteY7" fmla="*/ 104425 h 865115"/>
                <a:gd name="connsiteX8" fmla="*/ 1835824 w 1866369"/>
                <a:gd name="connsiteY8" fmla="*/ 284585 h 865115"/>
                <a:gd name="connsiteX9" fmla="*/ 1835824 w 1866369"/>
                <a:gd name="connsiteY9" fmla="*/ 805551 h 865115"/>
                <a:gd name="connsiteX10" fmla="*/ 1812944 w 1866369"/>
                <a:gd name="connsiteY10" fmla="*/ 835163 h 865115"/>
                <a:gd name="connsiteX11" fmla="*/ 1839657 w 1866369"/>
                <a:gd name="connsiteY11" fmla="*/ 865115 h 865115"/>
                <a:gd name="connsiteX12" fmla="*/ 1866369 w 1866369"/>
                <a:gd name="connsiteY12" fmla="*/ 835163 h 865115"/>
                <a:gd name="connsiteX13" fmla="*/ 1843491 w 1866369"/>
                <a:gd name="connsiteY13" fmla="*/ 805551 h 865115"/>
                <a:gd name="connsiteX14" fmla="*/ 1843491 w 1866369"/>
                <a:gd name="connsiteY14" fmla="*/ 282811 h 865115"/>
                <a:gd name="connsiteX15" fmla="*/ 1842365 w 1866369"/>
                <a:gd name="connsiteY15" fmla="*/ 279809 h 865115"/>
                <a:gd name="connsiteX16" fmla="*/ 1679441 w 1866369"/>
                <a:gd name="connsiteY16" fmla="*/ 97125 h 865115"/>
                <a:gd name="connsiteX17" fmla="*/ 1676764 w 1866369"/>
                <a:gd name="connsiteY17" fmla="*/ 95862 h 865115"/>
                <a:gd name="connsiteX18" fmla="*/ 1168154 w 1866369"/>
                <a:gd name="connsiteY18" fmla="*/ 95862 h 865115"/>
                <a:gd name="connsiteX19" fmla="*/ 1165447 w 1866369"/>
                <a:gd name="connsiteY19" fmla="*/ 97125 h 865115"/>
                <a:gd name="connsiteX20" fmla="*/ 862569 w 1866369"/>
                <a:gd name="connsiteY20" fmla="*/ 436703 h 865115"/>
                <a:gd name="connsiteX21" fmla="*/ 394851 w 1866369"/>
                <a:gd name="connsiteY21" fmla="*/ 436703 h 865115"/>
                <a:gd name="connsiteX22" fmla="*/ 48071 w 1866369"/>
                <a:gd name="connsiteY22" fmla="*/ 47863 h 865115"/>
                <a:gd name="connsiteX23" fmla="*/ 53426 w 1866369"/>
                <a:gd name="connsiteY23" fmla="*/ 29953 h 865115"/>
                <a:gd name="connsiteX24" fmla="*/ 26713 w 1866369"/>
                <a:gd name="connsiteY24" fmla="*/ 0 h 865115"/>
                <a:gd name="connsiteX25" fmla="*/ 0 w 1866369"/>
                <a:gd name="connsiteY25" fmla="*/ 29953 h 865115"/>
                <a:gd name="connsiteX26" fmla="*/ 26713 w 1866369"/>
                <a:gd name="connsiteY26" fmla="*/ 59905 h 86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66369" h="865115">
                  <a:moveTo>
                    <a:pt x="26682" y="59905"/>
                  </a:moveTo>
                  <a:cubicBezTo>
                    <a:pt x="32676" y="59905"/>
                    <a:pt x="38214" y="57654"/>
                    <a:pt x="42655" y="53901"/>
                  </a:cubicBezTo>
                  <a:lnTo>
                    <a:pt x="390562" y="444003"/>
                  </a:lnTo>
                  <a:cubicBezTo>
                    <a:pt x="391261" y="444788"/>
                    <a:pt x="392235" y="445265"/>
                    <a:pt x="393269" y="445265"/>
                  </a:cubicBezTo>
                  <a:lnTo>
                    <a:pt x="864151" y="445265"/>
                  </a:lnTo>
                  <a:cubicBezTo>
                    <a:pt x="865156" y="445265"/>
                    <a:pt x="866129" y="444822"/>
                    <a:pt x="866829" y="444003"/>
                  </a:cubicBezTo>
                  <a:lnTo>
                    <a:pt x="1169706" y="104425"/>
                  </a:lnTo>
                  <a:lnTo>
                    <a:pt x="1675151" y="104425"/>
                  </a:lnTo>
                  <a:lnTo>
                    <a:pt x="1835824" y="284585"/>
                  </a:lnTo>
                  <a:lnTo>
                    <a:pt x="1835824" y="805551"/>
                  </a:lnTo>
                  <a:cubicBezTo>
                    <a:pt x="1822893" y="807632"/>
                    <a:pt x="1812944" y="820084"/>
                    <a:pt x="1812944" y="835163"/>
                  </a:cubicBezTo>
                  <a:cubicBezTo>
                    <a:pt x="1812944" y="851708"/>
                    <a:pt x="1824901" y="865115"/>
                    <a:pt x="1839657" y="865115"/>
                  </a:cubicBezTo>
                  <a:cubicBezTo>
                    <a:pt x="1854413" y="865115"/>
                    <a:pt x="1866369" y="851708"/>
                    <a:pt x="1866369" y="835163"/>
                  </a:cubicBezTo>
                  <a:cubicBezTo>
                    <a:pt x="1866369" y="820084"/>
                    <a:pt x="1856421" y="807632"/>
                    <a:pt x="1843491" y="805551"/>
                  </a:cubicBezTo>
                  <a:lnTo>
                    <a:pt x="1843491" y="282811"/>
                  </a:lnTo>
                  <a:cubicBezTo>
                    <a:pt x="1843491" y="281685"/>
                    <a:pt x="1843095" y="280594"/>
                    <a:pt x="1842365" y="279809"/>
                  </a:cubicBezTo>
                  <a:lnTo>
                    <a:pt x="1679441" y="97125"/>
                  </a:lnTo>
                  <a:cubicBezTo>
                    <a:pt x="1678741" y="96340"/>
                    <a:pt x="1677767" y="95862"/>
                    <a:pt x="1676764" y="95862"/>
                  </a:cubicBezTo>
                  <a:lnTo>
                    <a:pt x="1168154" y="95862"/>
                  </a:lnTo>
                  <a:cubicBezTo>
                    <a:pt x="1167151" y="95862"/>
                    <a:pt x="1166177" y="96306"/>
                    <a:pt x="1165447" y="97125"/>
                  </a:cubicBezTo>
                  <a:lnTo>
                    <a:pt x="862569" y="436703"/>
                  </a:lnTo>
                  <a:lnTo>
                    <a:pt x="394851" y="436703"/>
                  </a:lnTo>
                  <a:lnTo>
                    <a:pt x="48071" y="47863"/>
                  </a:lnTo>
                  <a:cubicBezTo>
                    <a:pt x="51418" y="42848"/>
                    <a:pt x="53426" y="36673"/>
                    <a:pt x="53426" y="29953"/>
                  </a:cubicBezTo>
                  <a:cubicBezTo>
                    <a:pt x="53426" y="13407"/>
                    <a:pt x="41469" y="0"/>
                    <a:pt x="26713" y="0"/>
                  </a:cubicBezTo>
                  <a:cubicBezTo>
                    <a:pt x="11957" y="0"/>
                    <a:pt x="0" y="13407"/>
                    <a:pt x="0" y="29953"/>
                  </a:cubicBezTo>
                  <a:cubicBezTo>
                    <a:pt x="0" y="46498"/>
                    <a:pt x="11957" y="59905"/>
                    <a:pt x="26713" y="5990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1" name="Freeform 337">
              <a:extLst>
                <a:ext uri="{FF2B5EF4-FFF2-40B4-BE49-F238E27FC236}">
                  <a16:creationId xmlns:a16="http://schemas.microsoft.com/office/drawing/2014/main" id="{1F5C7638-5DB0-C4E0-EFDC-B401C2C321D7}"/>
                </a:ext>
              </a:extLst>
            </p:cNvPr>
            <p:cNvSpPr/>
            <p:nvPr userDrawn="1"/>
          </p:nvSpPr>
          <p:spPr>
            <a:xfrm>
              <a:off x="8050597" y="719223"/>
              <a:ext cx="980616" cy="552522"/>
            </a:xfrm>
            <a:custGeom>
              <a:avLst/>
              <a:gdLst>
                <a:gd name="connsiteX0" fmla="*/ 22971 w 980616"/>
                <a:gd name="connsiteY0" fmla="*/ 59530 h 552522"/>
                <a:gd name="connsiteX1" fmla="*/ 22971 w 980616"/>
                <a:gd name="connsiteY1" fmla="*/ 298743 h 552522"/>
                <a:gd name="connsiteX2" fmla="*/ 24096 w 980616"/>
                <a:gd name="connsiteY2" fmla="*/ 301745 h 552522"/>
                <a:gd name="connsiteX3" fmla="*/ 246622 w 980616"/>
                <a:gd name="connsiteY3" fmla="*/ 551260 h 552522"/>
                <a:gd name="connsiteX4" fmla="*/ 249299 w 980616"/>
                <a:gd name="connsiteY4" fmla="*/ 552522 h 552522"/>
                <a:gd name="connsiteX5" fmla="*/ 683733 w 980616"/>
                <a:gd name="connsiteY5" fmla="*/ 552522 h 552522"/>
                <a:gd name="connsiteX6" fmla="*/ 686410 w 980616"/>
                <a:gd name="connsiteY6" fmla="*/ 551260 h 552522"/>
                <a:gd name="connsiteX7" fmla="*/ 939026 w 980616"/>
                <a:gd name="connsiteY7" fmla="*/ 268005 h 552522"/>
                <a:gd name="connsiteX8" fmla="*/ 953904 w 980616"/>
                <a:gd name="connsiteY8" fmla="*/ 273088 h 552522"/>
                <a:gd name="connsiteX9" fmla="*/ 980617 w 980616"/>
                <a:gd name="connsiteY9" fmla="*/ 243136 h 552522"/>
                <a:gd name="connsiteX10" fmla="*/ 953904 w 980616"/>
                <a:gd name="connsiteY10" fmla="*/ 213183 h 552522"/>
                <a:gd name="connsiteX11" fmla="*/ 927191 w 980616"/>
                <a:gd name="connsiteY11" fmla="*/ 243136 h 552522"/>
                <a:gd name="connsiteX12" fmla="*/ 933367 w 980616"/>
                <a:gd name="connsiteY12" fmla="*/ 262274 h 552522"/>
                <a:gd name="connsiteX13" fmla="*/ 682120 w 980616"/>
                <a:gd name="connsiteY13" fmla="*/ 543993 h 552522"/>
                <a:gd name="connsiteX14" fmla="*/ 250821 w 980616"/>
                <a:gd name="connsiteY14" fmla="*/ 543993 h 552522"/>
                <a:gd name="connsiteX15" fmla="*/ 30546 w 980616"/>
                <a:gd name="connsiteY15" fmla="*/ 297003 h 552522"/>
                <a:gd name="connsiteX16" fmla="*/ 30546 w 980616"/>
                <a:gd name="connsiteY16" fmla="*/ 59564 h 552522"/>
                <a:gd name="connsiteX17" fmla="*/ 53426 w 980616"/>
                <a:gd name="connsiteY17" fmla="*/ 29953 h 552522"/>
                <a:gd name="connsiteX18" fmla="*/ 26713 w 980616"/>
                <a:gd name="connsiteY18" fmla="*/ 0 h 552522"/>
                <a:gd name="connsiteX19" fmla="*/ 0 w 980616"/>
                <a:gd name="connsiteY19" fmla="*/ 29953 h 552522"/>
                <a:gd name="connsiteX20" fmla="*/ 22879 w 980616"/>
                <a:gd name="connsiteY20" fmla="*/ 59564 h 552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0616" h="552522">
                  <a:moveTo>
                    <a:pt x="22971" y="59530"/>
                  </a:moveTo>
                  <a:lnTo>
                    <a:pt x="22971" y="298743"/>
                  </a:lnTo>
                  <a:cubicBezTo>
                    <a:pt x="22971" y="299868"/>
                    <a:pt x="23366" y="300960"/>
                    <a:pt x="24096" y="301745"/>
                  </a:cubicBezTo>
                  <a:lnTo>
                    <a:pt x="246622" y="551260"/>
                  </a:lnTo>
                  <a:cubicBezTo>
                    <a:pt x="247322" y="552044"/>
                    <a:pt x="248295" y="552522"/>
                    <a:pt x="249299" y="552522"/>
                  </a:cubicBezTo>
                  <a:lnTo>
                    <a:pt x="683733" y="552522"/>
                  </a:lnTo>
                  <a:cubicBezTo>
                    <a:pt x="684737" y="552522"/>
                    <a:pt x="685710" y="552079"/>
                    <a:pt x="686410" y="551260"/>
                  </a:cubicBezTo>
                  <a:lnTo>
                    <a:pt x="939026" y="268005"/>
                  </a:lnTo>
                  <a:cubicBezTo>
                    <a:pt x="943286" y="271212"/>
                    <a:pt x="948397" y="273088"/>
                    <a:pt x="953904" y="273088"/>
                  </a:cubicBezTo>
                  <a:cubicBezTo>
                    <a:pt x="968660" y="273088"/>
                    <a:pt x="980617" y="259681"/>
                    <a:pt x="980617" y="243136"/>
                  </a:cubicBezTo>
                  <a:cubicBezTo>
                    <a:pt x="980617" y="226590"/>
                    <a:pt x="968660" y="213183"/>
                    <a:pt x="953904" y="213183"/>
                  </a:cubicBezTo>
                  <a:cubicBezTo>
                    <a:pt x="939148" y="213183"/>
                    <a:pt x="927191" y="226590"/>
                    <a:pt x="927191" y="243136"/>
                  </a:cubicBezTo>
                  <a:cubicBezTo>
                    <a:pt x="927191" y="250402"/>
                    <a:pt x="929503" y="257089"/>
                    <a:pt x="933367" y="262274"/>
                  </a:cubicBezTo>
                  <a:lnTo>
                    <a:pt x="682120" y="543993"/>
                  </a:lnTo>
                  <a:lnTo>
                    <a:pt x="250821" y="543993"/>
                  </a:lnTo>
                  <a:lnTo>
                    <a:pt x="30546" y="297003"/>
                  </a:lnTo>
                  <a:lnTo>
                    <a:pt x="30546" y="59564"/>
                  </a:lnTo>
                  <a:cubicBezTo>
                    <a:pt x="43477" y="57483"/>
                    <a:pt x="53426" y="45031"/>
                    <a:pt x="53426" y="29953"/>
                  </a:cubicBezTo>
                  <a:cubicBezTo>
                    <a:pt x="53426" y="13407"/>
                    <a:pt x="41468" y="0"/>
                    <a:pt x="26713" y="0"/>
                  </a:cubicBezTo>
                  <a:cubicBezTo>
                    <a:pt x="11957" y="0"/>
                    <a:pt x="0" y="13407"/>
                    <a:pt x="0" y="29953"/>
                  </a:cubicBezTo>
                  <a:cubicBezTo>
                    <a:pt x="0" y="45031"/>
                    <a:pt x="9949" y="57483"/>
                    <a:pt x="22879" y="5956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2" name="Freeform 338">
              <a:extLst>
                <a:ext uri="{FF2B5EF4-FFF2-40B4-BE49-F238E27FC236}">
                  <a16:creationId xmlns:a16="http://schemas.microsoft.com/office/drawing/2014/main" id="{294A17A2-9FF1-EF50-3B66-0BDCC96D7373}"/>
                </a:ext>
              </a:extLst>
            </p:cNvPr>
            <p:cNvSpPr/>
            <p:nvPr userDrawn="1"/>
          </p:nvSpPr>
          <p:spPr>
            <a:xfrm>
              <a:off x="7518652" y="310699"/>
              <a:ext cx="452232" cy="807461"/>
            </a:xfrm>
            <a:custGeom>
              <a:avLst/>
              <a:gdLst>
                <a:gd name="connsiteX0" fmla="*/ 22940 w 452232"/>
                <a:gd name="connsiteY0" fmla="*/ 59633 h 807461"/>
                <a:gd name="connsiteX1" fmla="*/ 22940 w 452232"/>
                <a:gd name="connsiteY1" fmla="*/ 153755 h 807461"/>
                <a:gd name="connsiteX2" fmla="*/ 24066 w 452232"/>
                <a:gd name="connsiteY2" fmla="*/ 156757 h 807461"/>
                <a:gd name="connsiteX3" fmla="*/ 116374 w 452232"/>
                <a:gd name="connsiteY3" fmla="*/ 260261 h 807461"/>
                <a:gd name="connsiteX4" fmla="*/ 116374 w 452232"/>
                <a:gd name="connsiteY4" fmla="*/ 517282 h 807461"/>
                <a:gd name="connsiteX5" fmla="*/ 117500 w 452232"/>
                <a:gd name="connsiteY5" fmla="*/ 520284 h 807461"/>
                <a:gd name="connsiteX6" fmla="*/ 349610 w 452232"/>
                <a:gd name="connsiteY6" fmla="*/ 780545 h 807461"/>
                <a:gd name="connsiteX7" fmla="*/ 352287 w 452232"/>
                <a:gd name="connsiteY7" fmla="*/ 781807 h 807461"/>
                <a:gd name="connsiteX8" fmla="*/ 399110 w 452232"/>
                <a:gd name="connsiteY8" fmla="*/ 781807 h 807461"/>
                <a:gd name="connsiteX9" fmla="*/ 425519 w 452232"/>
                <a:gd name="connsiteY9" fmla="*/ 807461 h 807461"/>
                <a:gd name="connsiteX10" fmla="*/ 452232 w 452232"/>
                <a:gd name="connsiteY10" fmla="*/ 777509 h 807461"/>
                <a:gd name="connsiteX11" fmla="*/ 425519 w 452232"/>
                <a:gd name="connsiteY11" fmla="*/ 747556 h 807461"/>
                <a:gd name="connsiteX12" fmla="*/ 399110 w 452232"/>
                <a:gd name="connsiteY12" fmla="*/ 773210 h 807461"/>
                <a:gd name="connsiteX13" fmla="*/ 353869 w 452232"/>
                <a:gd name="connsiteY13" fmla="*/ 773210 h 807461"/>
                <a:gd name="connsiteX14" fmla="*/ 123980 w 452232"/>
                <a:gd name="connsiteY14" fmla="*/ 515439 h 807461"/>
                <a:gd name="connsiteX15" fmla="*/ 123980 w 452232"/>
                <a:gd name="connsiteY15" fmla="*/ 258419 h 807461"/>
                <a:gd name="connsiteX16" fmla="*/ 122855 w 452232"/>
                <a:gd name="connsiteY16" fmla="*/ 255417 h 807461"/>
                <a:gd name="connsiteX17" fmla="*/ 30546 w 452232"/>
                <a:gd name="connsiteY17" fmla="*/ 151913 h 807461"/>
                <a:gd name="connsiteX18" fmla="*/ 30546 w 452232"/>
                <a:gd name="connsiteY18" fmla="*/ 59564 h 807461"/>
                <a:gd name="connsiteX19" fmla="*/ 53426 w 452232"/>
                <a:gd name="connsiteY19" fmla="*/ 29953 h 807461"/>
                <a:gd name="connsiteX20" fmla="*/ 26713 w 452232"/>
                <a:gd name="connsiteY20" fmla="*/ 0 h 807461"/>
                <a:gd name="connsiteX21" fmla="*/ 0 w 452232"/>
                <a:gd name="connsiteY21" fmla="*/ 29953 h 807461"/>
                <a:gd name="connsiteX22" fmla="*/ 22879 w 452232"/>
                <a:gd name="connsiteY22" fmla="*/ 59564 h 80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2232" h="807461">
                  <a:moveTo>
                    <a:pt x="22940" y="59633"/>
                  </a:moveTo>
                  <a:lnTo>
                    <a:pt x="22940" y="153755"/>
                  </a:lnTo>
                  <a:cubicBezTo>
                    <a:pt x="22940" y="154881"/>
                    <a:pt x="23335" y="155973"/>
                    <a:pt x="24066" y="156757"/>
                  </a:cubicBezTo>
                  <a:lnTo>
                    <a:pt x="116374" y="260261"/>
                  </a:lnTo>
                  <a:lnTo>
                    <a:pt x="116374" y="517282"/>
                  </a:lnTo>
                  <a:cubicBezTo>
                    <a:pt x="116374" y="518407"/>
                    <a:pt x="116770" y="519499"/>
                    <a:pt x="117500" y="520284"/>
                  </a:cubicBezTo>
                  <a:lnTo>
                    <a:pt x="349610" y="780545"/>
                  </a:lnTo>
                  <a:cubicBezTo>
                    <a:pt x="350310" y="781330"/>
                    <a:pt x="351283" y="781807"/>
                    <a:pt x="352287" y="781807"/>
                  </a:cubicBezTo>
                  <a:lnTo>
                    <a:pt x="399110" y="781807"/>
                  </a:lnTo>
                  <a:cubicBezTo>
                    <a:pt x="400967" y="796306"/>
                    <a:pt x="412071" y="807461"/>
                    <a:pt x="425519" y="807461"/>
                  </a:cubicBezTo>
                  <a:cubicBezTo>
                    <a:pt x="440275" y="807461"/>
                    <a:pt x="452232" y="794054"/>
                    <a:pt x="452232" y="777509"/>
                  </a:cubicBezTo>
                  <a:cubicBezTo>
                    <a:pt x="452232" y="760963"/>
                    <a:pt x="440275" y="747556"/>
                    <a:pt x="425519" y="747556"/>
                  </a:cubicBezTo>
                  <a:cubicBezTo>
                    <a:pt x="412071" y="747556"/>
                    <a:pt x="400967" y="758712"/>
                    <a:pt x="399110" y="773210"/>
                  </a:cubicBezTo>
                  <a:lnTo>
                    <a:pt x="353869" y="773210"/>
                  </a:lnTo>
                  <a:lnTo>
                    <a:pt x="123980" y="515439"/>
                  </a:lnTo>
                  <a:lnTo>
                    <a:pt x="123980" y="258419"/>
                  </a:lnTo>
                  <a:cubicBezTo>
                    <a:pt x="123980" y="257293"/>
                    <a:pt x="123585" y="256202"/>
                    <a:pt x="122855" y="255417"/>
                  </a:cubicBezTo>
                  <a:lnTo>
                    <a:pt x="30546" y="151913"/>
                  </a:lnTo>
                  <a:lnTo>
                    <a:pt x="30546" y="59564"/>
                  </a:lnTo>
                  <a:cubicBezTo>
                    <a:pt x="43477" y="57483"/>
                    <a:pt x="53426" y="45031"/>
                    <a:pt x="53426" y="29953"/>
                  </a:cubicBezTo>
                  <a:cubicBezTo>
                    <a:pt x="53426" y="13407"/>
                    <a:pt x="41469" y="0"/>
                    <a:pt x="26713" y="0"/>
                  </a:cubicBezTo>
                  <a:cubicBezTo>
                    <a:pt x="11957" y="0"/>
                    <a:pt x="0" y="13407"/>
                    <a:pt x="0" y="29953"/>
                  </a:cubicBezTo>
                  <a:cubicBezTo>
                    <a:pt x="0" y="45031"/>
                    <a:pt x="9949" y="57483"/>
                    <a:pt x="22879" y="5956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3" name="Freeform 339">
              <a:extLst>
                <a:ext uri="{FF2B5EF4-FFF2-40B4-BE49-F238E27FC236}">
                  <a16:creationId xmlns:a16="http://schemas.microsoft.com/office/drawing/2014/main" id="{5682FEC8-E071-BABD-E650-6FAE2523F5F7}"/>
                </a:ext>
              </a:extLst>
            </p:cNvPr>
            <p:cNvSpPr/>
            <p:nvPr userDrawn="1"/>
          </p:nvSpPr>
          <p:spPr>
            <a:xfrm>
              <a:off x="7061704" y="1963148"/>
              <a:ext cx="2123640" cy="460992"/>
            </a:xfrm>
            <a:custGeom>
              <a:avLst/>
              <a:gdLst>
                <a:gd name="connsiteX0" fmla="*/ 26682 w 2123640"/>
                <a:gd name="connsiteY0" fmla="*/ 237507 h 460992"/>
                <a:gd name="connsiteX1" fmla="*/ 52878 w 2123640"/>
                <a:gd name="connsiteY1" fmla="*/ 213285 h 460992"/>
                <a:gd name="connsiteX2" fmla="*/ 424241 w 2123640"/>
                <a:gd name="connsiteY2" fmla="*/ 213285 h 460992"/>
                <a:gd name="connsiteX3" fmla="*/ 426949 w 2123640"/>
                <a:gd name="connsiteY3" fmla="*/ 212023 h 460992"/>
                <a:gd name="connsiteX4" fmla="*/ 608402 w 2123640"/>
                <a:gd name="connsiteY4" fmla="*/ 8563 h 460992"/>
                <a:gd name="connsiteX5" fmla="*/ 1716894 w 2123640"/>
                <a:gd name="connsiteY5" fmla="*/ 8563 h 460992"/>
                <a:gd name="connsiteX6" fmla="*/ 2076482 w 2123640"/>
                <a:gd name="connsiteY6" fmla="*/ 411765 h 460992"/>
                <a:gd name="connsiteX7" fmla="*/ 2070215 w 2123640"/>
                <a:gd name="connsiteY7" fmla="*/ 431040 h 460992"/>
                <a:gd name="connsiteX8" fmla="*/ 2096928 w 2123640"/>
                <a:gd name="connsiteY8" fmla="*/ 460992 h 460992"/>
                <a:gd name="connsiteX9" fmla="*/ 2123641 w 2123640"/>
                <a:gd name="connsiteY9" fmla="*/ 431040 h 460992"/>
                <a:gd name="connsiteX10" fmla="*/ 2096928 w 2123640"/>
                <a:gd name="connsiteY10" fmla="*/ 401087 h 460992"/>
                <a:gd name="connsiteX11" fmla="*/ 2082202 w 2123640"/>
                <a:gd name="connsiteY11" fmla="*/ 406068 h 460992"/>
                <a:gd name="connsiteX12" fmla="*/ 1721183 w 2123640"/>
                <a:gd name="connsiteY12" fmla="*/ 1262 h 460992"/>
                <a:gd name="connsiteX13" fmla="*/ 1718505 w 2123640"/>
                <a:gd name="connsiteY13" fmla="*/ 0 h 460992"/>
                <a:gd name="connsiteX14" fmla="*/ 606850 w 2123640"/>
                <a:gd name="connsiteY14" fmla="*/ 0 h 460992"/>
                <a:gd name="connsiteX15" fmla="*/ 604142 w 2123640"/>
                <a:gd name="connsiteY15" fmla="*/ 1262 h 460992"/>
                <a:gd name="connsiteX16" fmla="*/ 422689 w 2123640"/>
                <a:gd name="connsiteY16" fmla="*/ 204722 h 460992"/>
                <a:gd name="connsiteX17" fmla="*/ 53274 w 2123640"/>
                <a:gd name="connsiteY17" fmla="*/ 204722 h 460992"/>
                <a:gd name="connsiteX18" fmla="*/ 26713 w 2123640"/>
                <a:gd name="connsiteY18" fmla="*/ 177635 h 460992"/>
                <a:gd name="connsiteX19" fmla="*/ 0 w 2123640"/>
                <a:gd name="connsiteY19" fmla="*/ 207588 h 460992"/>
                <a:gd name="connsiteX20" fmla="*/ 26713 w 2123640"/>
                <a:gd name="connsiteY20" fmla="*/ 237541 h 46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23640" h="460992">
                  <a:moveTo>
                    <a:pt x="26682" y="237507"/>
                  </a:moveTo>
                  <a:cubicBezTo>
                    <a:pt x="39674" y="237507"/>
                    <a:pt x="50504" y="227068"/>
                    <a:pt x="52878" y="213285"/>
                  </a:cubicBezTo>
                  <a:lnTo>
                    <a:pt x="424241" y="213285"/>
                  </a:lnTo>
                  <a:cubicBezTo>
                    <a:pt x="425245" y="213285"/>
                    <a:pt x="426218" y="212842"/>
                    <a:pt x="426949" y="212023"/>
                  </a:cubicBezTo>
                  <a:lnTo>
                    <a:pt x="608402" y="8563"/>
                  </a:lnTo>
                  <a:lnTo>
                    <a:pt x="1716894" y="8563"/>
                  </a:lnTo>
                  <a:lnTo>
                    <a:pt x="2076482" y="411765"/>
                  </a:lnTo>
                  <a:cubicBezTo>
                    <a:pt x="2072557" y="416984"/>
                    <a:pt x="2070215" y="423705"/>
                    <a:pt x="2070215" y="431040"/>
                  </a:cubicBezTo>
                  <a:cubicBezTo>
                    <a:pt x="2070215" y="447585"/>
                    <a:pt x="2082171" y="460992"/>
                    <a:pt x="2096928" y="460992"/>
                  </a:cubicBezTo>
                  <a:cubicBezTo>
                    <a:pt x="2111684" y="460992"/>
                    <a:pt x="2123641" y="447585"/>
                    <a:pt x="2123641" y="431040"/>
                  </a:cubicBezTo>
                  <a:cubicBezTo>
                    <a:pt x="2123641" y="414494"/>
                    <a:pt x="2111684" y="401087"/>
                    <a:pt x="2096928" y="401087"/>
                  </a:cubicBezTo>
                  <a:cubicBezTo>
                    <a:pt x="2091481" y="401087"/>
                    <a:pt x="2086431" y="402929"/>
                    <a:pt x="2082202" y="406068"/>
                  </a:cubicBezTo>
                  <a:lnTo>
                    <a:pt x="1721183" y="1262"/>
                  </a:lnTo>
                  <a:cubicBezTo>
                    <a:pt x="1720483" y="478"/>
                    <a:pt x="1719510" y="0"/>
                    <a:pt x="1718505" y="0"/>
                  </a:cubicBezTo>
                  <a:lnTo>
                    <a:pt x="606850" y="0"/>
                  </a:lnTo>
                  <a:cubicBezTo>
                    <a:pt x="605846" y="0"/>
                    <a:pt x="604873" y="444"/>
                    <a:pt x="604142" y="1262"/>
                  </a:cubicBezTo>
                  <a:lnTo>
                    <a:pt x="422689" y="204722"/>
                  </a:lnTo>
                  <a:lnTo>
                    <a:pt x="53274" y="204722"/>
                  </a:lnTo>
                  <a:cubicBezTo>
                    <a:pt x="51995" y="189507"/>
                    <a:pt x="40586" y="177635"/>
                    <a:pt x="26713" y="177635"/>
                  </a:cubicBezTo>
                  <a:cubicBezTo>
                    <a:pt x="11957" y="177635"/>
                    <a:pt x="0" y="191042"/>
                    <a:pt x="0" y="207588"/>
                  </a:cubicBezTo>
                  <a:cubicBezTo>
                    <a:pt x="0" y="224134"/>
                    <a:pt x="11957" y="237541"/>
                    <a:pt x="26713" y="237541"/>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4" name="Freeform 340">
              <a:extLst>
                <a:ext uri="{FF2B5EF4-FFF2-40B4-BE49-F238E27FC236}">
                  <a16:creationId xmlns:a16="http://schemas.microsoft.com/office/drawing/2014/main" id="{D145B949-2A15-796D-BB18-A9D9ECAFB2CF}"/>
                </a:ext>
              </a:extLst>
            </p:cNvPr>
            <p:cNvSpPr/>
            <p:nvPr userDrawn="1"/>
          </p:nvSpPr>
          <p:spPr>
            <a:xfrm>
              <a:off x="7147654" y="779060"/>
              <a:ext cx="673430" cy="756946"/>
            </a:xfrm>
            <a:custGeom>
              <a:avLst/>
              <a:gdLst>
                <a:gd name="connsiteX0" fmla="*/ 26713 w 1049802"/>
                <a:gd name="connsiteY0" fmla="*/ 59905 h 1179994"/>
                <a:gd name="connsiteX1" fmla="*/ 41195 w 1049802"/>
                <a:gd name="connsiteY1" fmla="*/ 55095 h 1179994"/>
                <a:gd name="connsiteX2" fmla="*/ 1001732 w 1049802"/>
                <a:gd name="connsiteY2" fmla="*/ 1132131 h 1179994"/>
                <a:gd name="connsiteX3" fmla="*/ 996377 w 1049802"/>
                <a:gd name="connsiteY3" fmla="*/ 1150042 h 1179994"/>
                <a:gd name="connsiteX4" fmla="*/ 1023090 w 1049802"/>
                <a:gd name="connsiteY4" fmla="*/ 1179994 h 1179994"/>
                <a:gd name="connsiteX5" fmla="*/ 1049803 w 1049802"/>
                <a:gd name="connsiteY5" fmla="*/ 1150042 h 1179994"/>
                <a:gd name="connsiteX6" fmla="*/ 1023090 w 1049802"/>
                <a:gd name="connsiteY6" fmla="*/ 1120089 h 1179994"/>
                <a:gd name="connsiteX7" fmla="*/ 1007117 w 1049802"/>
                <a:gd name="connsiteY7" fmla="*/ 1126093 h 1179994"/>
                <a:gd name="connsiteX8" fmla="*/ 46945 w 1049802"/>
                <a:gd name="connsiteY8" fmla="*/ 49466 h 1179994"/>
                <a:gd name="connsiteX9" fmla="*/ 53426 w 1049802"/>
                <a:gd name="connsiteY9" fmla="*/ 29953 h 1179994"/>
                <a:gd name="connsiteX10" fmla="*/ 26713 w 1049802"/>
                <a:gd name="connsiteY10" fmla="*/ 0 h 1179994"/>
                <a:gd name="connsiteX11" fmla="*/ 0 w 1049802"/>
                <a:gd name="connsiteY11" fmla="*/ 29953 h 1179994"/>
                <a:gd name="connsiteX12" fmla="*/ 26713 w 1049802"/>
                <a:gd name="connsiteY12" fmla="*/ 59905 h 117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9802" h="1179994">
                  <a:moveTo>
                    <a:pt x="26713" y="59905"/>
                  </a:moveTo>
                  <a:cubicBezTo>
                    <a:pt x="32037" y="59905"/>
                    <a:pt x="37027" y="58132"/>
                    <a:pt x="41195" y="55095"/>
                  </a:cubicBezTo>
                  <a:lnTo>
                    <a:pt x="1001732" y="1132131"/>
                  </a:lnTo>
                  <a:cubicBezTo>
                    <a:pt x="998385" y="1137146"/>
                    <a:pt x="996377" y="1143321"/>
                    <a:pt x="996377" y="1150042"/>
                  </a:cubicBezTo>
                  <a:cubicBezTo>
                    <a:pt x="996377" y="1166587"/>
                    <a:pt x="1008333" y="1179994"/>
                    <a:pt x="1023090" y="1179994"/>
                  </a:cubicBezTo>
                  <a:cubicBezTo>
                    <a:pt x="1037845" y="1179994"/>
                    <a:pt x="1049803" y="1166587"/>
                    <a:pt x="1049803" y="1150042"/>
                  </a:cubicBezTo>
                  <a:cubicBezTo>
                    <a:pt x="1049803" y="1133496"/>
                    <a:pt x="1037845" y="1120089"/>
                    <a:pt x="1023090" y="1120089"/>
                  </a:cubicBezTo>
                  <a:cubicBezTo>
                    <a:pt x="1017096" y="1120089"/>
                    <a:pt x="1011559" y="1122340"/>
                    <a:pt x="1007117" y="1126093"/>
                  </a:cubicBezTo>
                  <a:lnTo>
                    <a:pt x="46945" y="49466"/>
                  </a:lnTo>
                  <a:cubicBezTo>
                    <a:pt x="50961" y="44213"/>
                    <a:pt x="53426" y="37424"/>
                    <a:pt x="53426" y="29953"/>
                  </a:cubicBezTo>
                  <a:cubicBezTo>
                    <a:pt x="53426" y="13407"/>
                    <a:pt x="41468" y="0"/>
                    <a:pt x="26713" y="0"/>
                  </a:cubicBezTo>
                  <a:cubicBezTo>
                    <a:pt x="11957" y="0"/>
                    <a:pt x="0" y="13407"/>
                    <a:pt x="0" y="29953"/>
                  </a:cubicBezTo>
                  <a:cubicBezTo>
                    <a:pt x="0" y="46498"/>
                    <a:pt x="11957" y="59905"/>
                    <a:pt x="26713" y="5990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5" name="Freeform 341">
              <a:extLst>
                <a:ext uri="{FF2B5EF4-FFF2-40B4-BE49-F238E27FC236}">
                  <a16:creationId xmlns:a16="http://schemas.microsoft.com/office/drawing/2014/main" id="{19260AC7-9DFA-0AAB-11A7-9BDEC1174B50}"/>
                </a:ext>
              </a:extLst>
            </p:cNvPr>
            <p:cNvSpPr/>
            <p:nvPr userDrawn="1"/>
          </p:nvSpPr>
          <p:spPr>
            <a:xfrm>
              <a:off x="6251952" y="459917"/>
              <a:ext cx="732899" cy="61986"/>
            </a:xfrm>
            <a:custGeom>
              <a:avLst/>
              <a:gdLst>
                <a:gd name="connsiteX0" fmla="*/ 26713 w 732899"/>
                <a:gd name="connsiteY0" fmla="*/ 59871 h 61986"/>
                <a:gd name="connsiteX1" fmla="*/ 53122 w 732899"/>
                <a:gd name="connsiteY1" fmla="*/ 34217 h 61986"/>
                <a:gd name="connsiteX2" fmla="*/ 679595 w 732899"/>
                <a:gd name="connsiteY2" fmla="*/ 34217 h 61986"/>
                <a:gd name="connsiteX3" fmla="*/ 706186 w 732899"/>
                <a:gd name="connsiteY3" fmla="*/ 61986 h 61986"/>
                <a:gd name="connsiteX4" fmla="*/ 732899 w 732899"/>
                <a:gd name="connsiteY4" fmla="*/ 32034 h 61986"/>
                <a:gd name="connsiteX5" fmla="*/ 706186 w 732899"/>
                <a:gd name="connsiteY5" fmla="*/ 2081 h 61986"/>
                <a:gd name="connsiteX6" fmla="*/ 680112 w 732899"/>
                <a:gd name="connsiteY6" fmla="*/ 25654 h 61986"/>
                <a:gd name="connsiteX7" fmla="*/ 53122 w 732899"/>
                <a:gd name="connsiteY7" fmla="*/ 25654 h 61986"/>
                <a:gd name="connsiteX8" fmla="*/ 26713 w 732899"/>
                <a:gd name="connsiteY8" fmla="*/ 0 h 61986"/>
                <a:gd name="connsiteX9" fmla="*/ 0 w 732899"/>
                <a:gd name="connsiteY9" fmla="*/ 29953 h 61986"/>
                <a:gd name="connsiteX10" fmla="*/ 26713 w 732899"/>
                <a:gd name="connsiteY10" fmla="*/ 59905 h 6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2899" h="61986">
                  <a:moveTo>
                    <a:pt x="26713" y="59871"/>
                  </a:moveTo>
                  <a:cubicBezTo>
                    <a:pt x="40161" y="59871"/>
                    <a:pt x="51265" y="48716"/>
                    <a:pt x="53122" y="34217"/>
                  </a:cubicBezTo>
                  <a:lnTo>
                    <a:pt x="679595" y="34217"/>
                  </a:lnTo>
                  <a:cubicBezTo>
                    <a:pt x="680600" y="49739"/>
                    <a:pt x="692100" y="61986"/>
                    <a:pt x="706186" y="61986"/>
                  </a:cubicBezTo>
                  <a:cubicBezTo>
                    <a:pt x="720273" y="61986"/>
                    <a:pt x="732899" y="48579"/>
                    <a:pt x="732899" y="32034"/>
                  </a:cubicBezTo>
                  <a:cubicBezTo>
                    <a:pt x="732899" y="15488"/>
                    <a:pt x="720943" y="2081"/>
                    <a:pt x="706186" y="2081"/>
                  </a:cubicBezTo>
                  <a:cubicBezTo>
                    <a:pt x="693378" y="2081"/>
                    <a:pt x="682699" y="12179"/>
                    <a:pt x="680112" y="25654"/>
                  </a:cubicBezTo>
                  <a:lnTo>
                    <a:pt x="53122" y="25654"/>
                  </a:lnTo>
                  <a:cubicBezTo>
                    <a:pt x="51265" y="11156"/>
                    <a:pt x="40161" y="0"/>
                    <a:pt x="26713" y="0"/>
                  </a:cubicBezTo>
                  <a:cubicBezTo>
                    <a:pt x="11957" y="0"/>
                    <a:pt x="0" y="13407"/>
                    <a:pt x="0" y="29953"/>
                  </a:cubicBezTo>
                  <a:cubicBezTo>
                    <a:pt x="0" y="46498"/>
                    <a:pt x="11957" y="59905"/>
                    <a:pt x="26713" y="5990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6" name="Freeform 342">
              <a:extLst>
                <a:ext uri="{FF2B5EF4-FFF2-40B4-BE49-F238E27FC236}">
                  <a16:creationId xmlns:a16="http://schemas.microsoft.com/office/drawing/2014/main" id="{CB968B14-F6C8-0F5D-39C6-AB11A6460976}"/>
                </a:ext>
              </a:extLst>
            </p:cNvPr>
            <p:cNvSpPr/>
            <p:nvPr userDrawn="1"/>
          </p:nvSpPr>
          <p:spPr>
            <a:xfrm>
              <a:off x="6083734" y="569186"/>
              <a:ext cx="1023546" cy="59905"/>
            </a:xfrm>
            <a:custGeom>
              <a:avLst/>
              <a:gdLst>
                <a:gd name="connsiteX0" fmla="*/ 26713 w 1023546"/>
                <a:gd name="connsiteY0" fmla="*/ 59905 h 59905"/>
                <a:gd name="connsiteX1" fmla="*/ 53122 w 1023546"/>
                <a:gd name="connsiteY1" fmla="*/ 34251 h 59905"/>
                <a:gd name="connsiteX2" fmla="*/ 970425 w 1023546"/>
                <a:gd name="connsiteY2" fmla="*/ 34251 h 59905"/>
                <a:gd name="connsiteX3" fmla="*/ 996833 w 1023546"/>
                <a:gd name="connsiteY3" fmla="*/ 59905 h 59905"/>
                <a:gd name="connsiteX4" fmla="*/ 1023546 w 1023546"/>
                <a:gd name="connsiteY4" fmla="*/ 29953 h 59905"/>
                <a:gd name="connsiteX5" fmla="*/ 996833 w 1023546"/>
                <a:gd name="connsiteY5" fmla="*/ 0 h 59905"/>
                <a:gd name="connsiteX6" fmla="*/ 970425 w 1023546"/>
                <a:gd name="connsiteY6" fmla="*/ 25654 h 59905"/>
                <a:gd name="connsiteX7" fmla="*/ 53122 w 1023546"/>
                <a:gd name="connsiteY7" fmla="*/ 25654 h 59905"/>
                <a:gd name="connsiteX8" fmla="*/ 26713 w 1023546"/>
                <a:gd name="connsiteY8" fmla="*/ 0 h 59905"/>
                <a:gd name="connsiteX9" fmla="*/ 0 w 1023546"/>
                <a:gd name="connsiteY9" fmla="*/ 29953 h 59905"/>
                <a:gd name="connsiteX10" fmla="*/ 26713 w 1023546"/>
                <a:gd name="connsiteY10" fmla="*/ 59905 h 5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3546" h="59905">
                  <a:moveTo>
                    <a:pt x="26713" y="59905"/>
                  </a:moveTo>
                  <a:cubicBezTo>
                    <a:pt x="40161" y="59905"/>
                    <a:pt x="51266" y="48750"/>
                    <a:pt x="53122" y="34251"/>
                  </a:cubicBezTo>
                  <a:lnTo>
                    <a:pt x="970425" y="34251"/>
                  </a:lnTo>
                  <a:cubicBezTo>
                    <a:pt x="972280" y="48750"/>
                    <a:pt x="983386" y="59905"/>
                    <a:pt x="996833" y="59905"/>
                  </a:cubicBezTo>
                  <a:cubicBezTo>
                    <a:pt x="1011589" y="59905"/>
                    <a:pt x="1023546" y="46498"/>
                    <a:pt x="1023546" y="29953"/>
                  </a:cubicBezTo>
                  <a:cubicBezTo>
                    <a:pt x="1023546" y="13407"/>
                    <a:pt x="1011589" y="0"/>
                    <a:pt x="996833" y="0"/>
                  </a:cubicBezTo>
                  <a:cubicBezTo>
                    <a:pt x="983386" y="0"/>
                    <a:pt x="972280" y="11156"/>
                    <a:pt x="970425" y="25654"/>
                  </a:cubicBezTo>
                  <a:lnTo>
                    <a:pt x="53122" y="25654"/>
                  </a:lnTo>
                  <a:cubicBezTo>
                    <a:pt x="51266" y="11156"/>
                    <a:pt x="40161" y="0"/>
                    <a:pt x="26713" y="0"/>
                  </a:cubicBezTo>
                  <a:cubicBezTo>
                    <a:pt x="11957" y="0"/>
                    <a:pt x="0" y="13407"/>
                    <a:pt x="0" y="29953"/>
                  </a:cubicBezTo>
                  <a:cubicBezTo>
                    <a:pt x="0" y="46498"/>
                    <a:pt x="11957" y="59905"/>
                    <a:pt x="26713" y="5990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7" name="Freeform 343">
              <a:extLst>
                <a:ext uri="{FF2B5EF4-FFF2-40B4-BE49-F238E27FC236}">
                  <a16:creationId xmlns:a16="http://schemas.microsoft.com/office/drawing/2014/main" id="{A9D56102-3656-ED3F-76BA-F446727C89A5}"/>
                </a:ext>
              </a:extLst>
            </p:cNvPr>
            <p:cNvSpPr/>
            <p:nvPr userDrawn="1"/>
          </p:nvSpPr>
          <p:spPr>
            <a:xfrm>
              <a:off x="9793624" y="389265"/>
              <a:ext cx="528689" cy="597382"/>
            </a:xfrm>
            <a:custGeom>
              <a:avLst/>
              <a:gdLst>
                <a:gd name="connsiteX0" fmla="*/ 26713 w 528689"/>
                <a:gd name="connsiteY0" fmla="*/ 597383 h 597382"/>
                <a:gd name="connsiteX1" fmla="*/ 53426 w 528689"/>
                <a:gd name="connsiteY1" fmla="*/ 567430 h 597382"/>
                <a:gd name="connsiteX2" fmla="*/ 48284 w 528689"/>
                <a:gd name="connsiteY2" fmla="*/ 549827 h 597382"/>
                <a:gd name="connsiteX3" fmla="*/ 488742 w 528689"/>
                <a:gd name="connsiteY3" fmla="*/ 55948 h 597382"/>
                <a:gd name="connsiteX4" fmla="*/ 501976 w 528689"/>
                <a:gd name="connsiteY4" fmla="*/ 59906 h 597382"/>
                <a:gd name="connsiteX5" fmla="*/ 528689 w 528689"/>
                <a:gd name="connsiteY5" fmla="*/ 29953 h 597382"/>
                <a:gd name="connsiteX6" fmla="*/ 501976 w 528689"/>
                <a:gd name="connsiteY6" fmla="*/ 0 h 597382"/>
                <a:gd name="connsiteX7" fmla="*/ 475263 w 528689"/>
                <a:gd name="connsiteY7" fmla="*/ 29953 h 597382"/>
                <a:gd name="connsiteX8" fmla="*/ 482687 w 528689"/>
                <a:gd name="connsiteY8" fmla="*/ 50626 h 597382"/>
                <a:gd name="connsiteX9" fmla="*/ 42960 w 528689"/>
                <a:gd name="connsiteY9" fmla="*/ 543686 h 597382"/>
                <a:gd name="connsiteX10" fmla="*/ 26713 w 528689"/>
                <a:gd name="connsiteY10" fmla="*/ 537443 h 597382"/>
                <a:gd name="connsiteX11" fmla="*/ 0 w 528689"/>
                <a:gd name="connsiteY11" fmla="*/ 567396 h 597382"/>
                <a:gd name="connsiteX12" fmla="*/ 26713 w 528689"/>
                <a:gd name="connsiteY12" fmla="*/ 597349 h 597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689" h="597382">
                  <a:moveTo>
                    <a:pt x="26713" y="597383"/>
                  </a:moveTo>
                  <a:cubicBezTo>
                    <a:pt x="41469" y="597383"/>
                    <a:pt x="53426" y="583976"/>
                    <a:pt x="53426" y="567430"/>
                  </a:cubicBezTo>
                  <a:cubicBezTo>
                    <a:pt x="53426" y="560846"/>
                    <a:pt x="51509" y="554774"/>
                    <a:pt x="48284" y="549827"/>
                  </a:cubicBezTo>
                  <a:lnTo>
                    <a:pt x="488742" y="55948"/>
                  </a:lnTo>
                  <a:cubicBezTo>
                    <a:pt x="492636" y="58439"/>
                    <a:pt x="497170" y="59906"/>
                    <a:pt x="501976" y="59906"/>
                  </a:cubicBezTo>
                  <a:cubicBezTo>
                    <a:pt x="516732" y="59906"/>
                    <a:pt x="528689" y="46498"/>
                    <a:pt x="528689" y="29953"/>
                  </a:cubicBezTo>
                  <a:cubicBezTo>
                    <a:pt x="528689" y="13407"/>
                    <a:pt x="516732" y="0"/>
                    <a:pt x="501976" y="0"/>
                  </a:cubicBezTo>
                  <a:cubicBezTo>
                    <a:pt x="487221" y="0"/>
                    <a:pt x="475263" y="13407"/>
                    <a:pt x="475263" y="29953"/>
                  </a:cubicBezTo>
                  <a:cubicBezTo>
                    <a:pt x="475263" y="37970"/>
                    <a:pt x="478093" y="45270"/>
                    <a:pt x="482687" y="50626"/>
                  </a:cubicBezTo>
                  <a:lnTo>
                    <a:pt x="42960" y="543686"/>
                  </a:lnTo>
                  <a:cubicBezTo>
                    <a:pt x="38457" y="539797"/>
                    <a:pt x="32828" y="537443"/>
                    <a:pt x="26713" y="537443"/>
                  </a:cubicBezTo>
                  <a:cubicBezTo>
                    <a:pt x="11957" y="537443"/>
                    <a:pt x="0" y="550851"/>
                    <a:pt x="0" y="567396"/>
                  </a:cubicBezTo>
                  <a:cubicBezTo>
                    <a:pt x="0" y="583942"/>
                    <a:pt x="11957" y="597349"/>
                    <a:pt x="26713" y="597349"/>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8" name="Freeform 344">
              <a:extLst>
                <a:ext uri="{FF2B5EF4-FFF2-40B4-BE49-F238E27FC236}">
                  <a16:creationId xmlns:a16="http://schemas.microsoft.com/office/drawing/2014/main" id="{18E5E9E6-7649-08E5-1D95-5D91C64D5112}"/>
                </a:ext>
              </a:extLst>
            </p:cNvPr>
            <p:cNvSpPr/>
            <p:nvPr userDrawn="1"/>
          </p:nvSpPr>
          <p:spPr>
            <a:xfrm>
              <a:off x="9692220" y="329394"/>
              <a:ext cx="204665" cy="583634"/>
            </a:xfrm>
            <a:custGeom>
              <a:avLst/>
              <a:gdLst>
                <a:gd name="connsiteX0" fmla="*/ 1156 w 204665"/>
                <a:gd name="connsiteY0" fmla="*/ 514518 h 583634"/>
                <a:gd name="connsiteX1" fmla="*/ 20110 w 204665"/>
                <a:gd name="connsiteY1" fmla="*/ 535772 h 583634"/>
                <a:gd name="connsiteX2" fmla="*/ 14756 w 204665"/>
                <a:gd name="connsiteY2" fmla="*/ 553682 h 583634"/>
                <a:gd name="connsiteX3" fmla="*/ 41468 w 204665"/>
                <a:gd name="connsiteY3" fmla="*/ 583635 h 583634"/>
                <a:gd name="connsiteX4" fmla="*/ 68181 w 204665"/>
                <a:gd name="connsiteY4" fmla="*/ 553682 h 583634"/>
                <a:gd name="connsiteX5" fmla="*/ 41468 w 204665"/>
                <a:gd name="connsiteY5" fmla="*/ 523729 h 583634"/>
                <a:gd name="connsiteX6" fmla="*/ 25495 w 204665"/>
                <a:gd name="connsiteY6" fmla="*/ 529733 h 583634"/>
                <a:gd name="connsiteX7" fmla="*/ 7666 w 204665"/>
                <a:gd name="connsiteY7" fmla="*/ 509742 h 583634"/>
                <a:gd name="connsiteX8" fmla="*/ 7666 w 204665"/>
                <a:gd name="connsiteY8" fmla="*/ 311638 h 583634"/>
                <a:gd name="connsiteX9" fmla="*/ 180661 w 204665"/>
                <a:gd name="connsiteY9" fmla="*/ 117662 h 583634"/>
                <a:gd name="connsiteX10" fmla="*/ 181787 w 204665"/>
                <a:gd name="connsiteY10" fmla="*/ 114625 h 583634"/>
                <a:gd name="connsiteX11" fmla="*/ 181787 w 204665"/>
                <a:gd name="connsiteY11" fmla="*/ 59564 h 583634"/>
                <a:gd name="connsiteX12" fmla="*/ 204666 w 204665"/>
                <a:gd name="connsiteY12" fmla="*/ 29953 h 583634"/>
                <a:gd name="connsiteX13" fmla="*/ 177954 w 204665"/>
                <a:gd name="connsiteY13" fmla="*/ 0 h 583634"/>
                <a:gd name="connsiteX14" fmla="*/ 151241 w 204665"/>
                <a:gd name="connsiteY14" fmla="*/ 29953 h 583634"/>
                <a:gd name="connsiteX15" fmla="*/ 174120 w 204665"/>
                <a:gd name="connsiteY15" fmla="*/ 59564 h 583634"/>
                <a:gd name="connsiteX16" fmla="*/ 174120 w 204665"/>
                <a:gd name="connsiteY16" fmla="*/ 112851 h 583634"/>
                <a:gd name="connsiteX17" fmla="*/ 1125 w 204665"/>
                <a:gd name="connsiteY17" fmla="*/ 306828 h 583634"/>
                <a:gd name="connsiteX18" fmla="*/ 0 w 204665"/>
                <a:gd name="connsiteY18" fmla="*/ 309830 h 583634"/>
                <a:gd name="connsiteX19" fmla="*/ 0 w 204665"/>
                <a:gd name="connsiteY19" fmla="*/ 511448 h 583634"/>
                <a:gd name="connsiteX20" fmla="*/ 1125 w 204665"/>
                <a:gd name="connsiteY20" fmla="*/ 514450 h 58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4665" h="583634">
                  <a:moveTo>
                    <a:pt x="1156" y="514518"/>
                  </a:moveTo>
                  <a:lnTo>
                    <a:pt x="20110" y="535772"/>
                  </a:lnTo>
                  <a:cubicBezTo>
                    <a:pt x="16763" y="540787"/>
                    <a:pt x="14756" y="546961"/>
                    <a:pt x="14756" y="553682"/>
                  </a:cubicBezTo>
                  <a:cubicBezTo>
                    <a:pt x="14756" y="570228"/>
                    <a:pt x="26712" y="583635"/>
                    <a:pt x="41468" y="583635"/>
                  </a:cubicBezTo>
                  <a:cubicBezTo>
                    <a:pt x="56225" y="583635"/>
                    <a:pt x="68181" y="570228"/>
                    <a:pt x="68181" y="553682"/>
                  </a:cubicBezTo>
                  <a:cubicBezTo>
                    <a:pt x="68181" y="537136"/>
                    <a:pt x="56225" y="523729"/>
                    <a:pt x="41468" y="523729"/>
                  </a:cubicBezTo>
                  <a:cubicBezTo>
                    <a:pt x="35475" y="523729"/>
                    <a:pt x="29968" y="525981"/>
                    <a:pt x="25495" y="529733"/>
                  </a:cubicBezTo>
                  <a:lnTo>
                    <a:pt x="7666" y="509742"/>
                  </a:lnTo>
                  <a:lnTo>
                    <a:pt x="7666" y="311638"/>
                  </a:lnTo>
                  <a:lnTo>
                    <a:pt x="180661" y="117662"/>
                  </a:lnTo>
                  <a:cubicBezTo>
                    <a:pt x="181361" y="116877"/>
                    <a:pt x="181787" y="115785"/>
                    <a:pt x="181787" y="114625"/>
                  </a:cubicBezTo>
                  <a:lnTo>
                    <a:pt x="181787" y="59564"/>
                  </a:lnTo>
                  <a:cubicBezTo>
                    <a:pt x="194718" y="57483"/>
                    <a:pt x="204666" y="45031"/>
                    <a:pt x="204666" y="29953"/>
                  </a:cubicBezTo>
                  <a:cubicBezTo>
                    <a:pt x="204666" y="13407"/>
                    <a:pt x="192709" y="0"/>
                    <a:pt x="177954" y="0"/>
                  </a:cubicBezTo>
                  <a:cubicBezTo>
                    <a:pt x="163197" y="0"/>
                    <a:pt x="151241" y="13407"/>
                    <a:pt x="151241" y="29953"/>
                  </a:cubicBezTo>
                  <a:cubicBezTo>
                    <a:pt x="151241" y="45031"/>
                    <a:pt x="161190" y="57483"/>
                    <a:pt x="174120" y="59564"/>
                  </a:cubicBezTo>
                  <a:lnTo>
                    <a:pt x="174120" y="112851"/>
                  </a:lnTo>
                  <a:lnTo>
                    <a:pt x="1125" y="306828"/>
                  </a:lnTo>
                  <a:cubicBezTo>
                    <a:pt x="426" y="307612"/>
                    <a:pt x="0" y="308704"/>
                    <a:pt x="0" y="309830"/>
                  </a:cubicBezTo>
                  <a:lnTo>
                    <a:pt x="0" y="511448"/>
                  </a:lnTo>
                  <a:cubicBezTo>
                    <a:pt x="0" y="512574"/>
                    <a:pt x="395" y="513665"/>
                    <a:pt x="1125" y="51445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49" name="Freeform 345">
              <a:extLst>
                <a:ext uri="{FF2B5EF4-FFF2-40B4-BE49-F238E27FC236}">
                  <a16:creationId xmlns:a16="http://schemas.microsoft.com/office/drawing/2014/main" id="{99CAD4DC-B4E9-4F72-C50C-921F9BC988E2}"/>
                </a:ext>
              </a:extLst>
            </p:cNvPr>
            <p:cNvSpPr/>
            <p:nvPr userDrawn="1"/>
          </p:nvSpPr>
          <p:spPr>
            <a:xfrm>
              <a:off x="8205913" y="2426563"/>
              <a:ext cx="1023089" cy="921609"/>
            </a:xfrm>
            <a:custGeom>
              <a:avLst/>
              <a:gdLst>
                <a:gd name="connsiteX0" fmla="*/ 26774 w 1023089"/>
                <a:gd name="connsiteY0" fmla="*/ 921609 h 921609"/>
                <a:gd name="connsiteX1" fmla="*/ 53487 w 1023089"/>
                <a:gd name="connsiteY1" fmla="*/ 891657 h 921609"/>
                <a:gd name="connsiteX2" fmla="*/ 48132 w 1023089"/>
                <a:gd name="connsiteY2" fmla="*/ 873746 h 921609"/>
                <a:gd name="connsiteX3" fmla="*/ 342338 w 1023089"/>
                <a:gd name="connsiteY3" fmla="*/ 543857 h 921609"/>
                <a:gd name="connsiteX4" fmla="*/ 550352 w 1023089"/>
                <a:gd name="connsiteY4" fmla="*/ 543857 h 921609"/>
                <a:gd name="connsiteX5" fmla="*/ 553029 w 1023089"/>
                <a:gd name="connsiteY5" fmla="*/ 542595 h 921609"/>
                <a:gd name="connsiteX6" fmla="*/ 985729 w 1023089"/>
                <a:gd name="connsiteY6" fmla="*/ 57415 h 921609"/>
                <a:gd name="connsiteX7" fmla="*/ 996378 w 1023089"/>
                <a:gd name="connsiteY7" fmla="*/ 59905 h 921609"/>
                <a:gd name="connsiteX8" fmla="*/ 1023090 w 1023089"/>
                <a:gd name="connsiteY8" fmla="*/ 29953 h 921609"/>
                <a:gd name="connsiteX9" fmla="*/ 996378 w 1023089"/>
                <a:gd name="connsiteY9" fmla="*/ 0 h 921609"/>
                <a:gd name="connsiteX10" fmla="*/ 969665 w 1023089"/>
                <a:gd name="connsiteY10" fmla="*/ 29953 h 921609"/>
                <a:gd name="connsiteX11" fmla="*/ 979096 w 1023089"/>
                <a:gd name="connsiteY11" fmla="*/ 52741 h 921609"/>
                <a:gd name="connsiteX12" fmla="*/ 548770 w 1023089"/>
                <a:gd name="connsiteY12" fmla="*/ 535260 h 921609"/>
                <a:gd name="connsiteX13" fmla="*/ 340726 w 1023089"/>
                <a:gd name="connsiteY13" fmla="*/ 535260 h 921609"/>
                <a:gd name="connsiteX14" fmla="*/ 338018 w 1023089"/>
                <a:gd name="connsiteY14" fmla="*/ 536522 h 921609"/>
                <a:gd name="connsiteX15" fmla="*/ 42686 w 1023089"/>
                <a:gd name="connsiteY15" fmla="*/ 867674 h 921609"/>
                <a:gd name="connsiteX16" fmla="*/ 26713 w 1023089"/>
                <a:gd name="connsiteY16" fmla="*/ 861670 h 921609"/>
                <a:gd name="connsiteX17" fmla="*/ 0 w 1023089"/>
                <a:gd name="connsiteY17" fmla="*/ 891622 h 921609"/>
                <a:gd name="connsiteX18" fmla="*/ 26713 w 1023089"/>
                <a:gd name="connsiteY18" fmla="*/ 921575 h 92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23089" h="921609">
                  <a:moveTo>
                    <a:pt x="26774" y="921609"/>
                  </a:moveTo>
                  <a:cubicBezTo>
                    <a:pt x="41530" y="921609"/>
                    <a:pt x="53487" y="908202"/>
                    <a:pt x="53487" y="891657"/>
                  </a:cubicBezTo>
                  <a:cubicBezTo>
                    <a:pt x="53487" y="884936"/>
                    <a:pt x="51479" y="878727"/>
                    <a:pt x="48132" y="873746"/>
                  </a:cubicBezTo>
                  <a:lnTo>
                    <a:pt x="342338" y="543857"/>
                  </a:lnTo>
                  <a:lnTo>
                    <a:pt x="550352" y="543857"/>
                  </a:lnTo>
                  <a:cubicBezTo>
                    <a:pt x="551356" y="543857"/>
                    <a:pt x="552329" y="543413"/>
                    <a:pt x="553029" y="542595"/>
                  </a:cubicBezTo>
                  <a:lnTo>
                    <a:pt x="985729" y="57415"/>
                  </a:lnTo>
                  <a:cubicBezTo>
                    <a:pt x="988984" y="59018"/>
                    <a:pt x="992604" y="59905"/>
                    <a:pt x="996378" y="59905"/>
                  </a:cubicBezTo>
                  <a:cubicBezTo>
                    <a:pt x="1011133" y="59905"/>
                    <a:pt x="1023090" y="46498"/>
                    <a:pt x="1023090" y="29953"/>
                  </a:cubicBezTo>
                  <a:cubicBezTo>
                    <a:pt x="1023090" y="13407"/>
                    <a:pt x="1011133" y="0"/>
                    <a:pt x="996378" y="0"/>
                  </a:cubicBezTo>
                  <a:cubicBezTo>
                    <a:pt x="981621" y="0"/>
                    <a:pt x="969665" y="13407"/>
                    <a:pt x="969665" y="29953"/>
                  </a:cubicBezTo>
                  <a:cubicBezTo>
                    <a:pt x="969665" y="39095"/>
                    <a:pt x="973315" y="47249"/>
                    <a:pt x="979096" y="52741"/>
                  </a:cubicBezTo>
                  <a:lnTo>
                    <a:pt x="548770" y="535260"/>
                  </a:lnTo>
                  <a:lnTo>
                    <a:pt x="340726" y="535260"/>
                  </a:lnTo>
                  <a:cubicBezTo>
                    <a:pt x="339722" y="535260"/>
                    <a:pt x="338748" y="535703"/>
                    <a:pt x="338018" y="536522"/>
                  </a:cubicBezTo>
                  <a:lnTo>
                    <a:pt x="42686" y="867674"/>
                  </a:lnTo>
                  <a:cubicBezTo>
                    <a:pt x="38214" y="863921"/>
                    <a:pt x="32706" y="861670"/>
                    <a:pt x="26713" y="861670"/>
                  </a:cubicBezTo>
                  <a:cubicBezTo>
                    <a:pt x="11957" y="861670"/>
                    <a:pt x="0" y="875077"/>
                    <a:pt x="0" y="891622"/>
                  </a:cubicBezTo>
                  <a:cubicBezTo>
                    <a:pt x="0" y="908168"/>
                    <a:pt x="11957" y="921575"/>
                    <a:pt x="26713" y="92157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0" name="Freeform 346">
              <a:extLst>
                <a:ext uri="{FF2B5EF4-FFF2-40B4-BE49-F238E27FC236}">
                  <a16:creationId xmlns:a16="http://schemas.microsoft.com/office/drawing/2014/main" id="{8386FC35-2E21-A1C1-D831-67E6E86EF7A8}"/>
                </a:ext>
              </a:extLst>
            </p:cNvPr>
            <p:cNvSpPr/>
            <p:nvPr userDrawn="1"/>
          </p:nvSpPr>
          <p:spPr>
            <a:xfrm>
              <a:off x="10076239" y="956696"/>
              <a:ext cx="307623" cy="920756"/>
            </a:xfrm>
            <a:custGeom>
              <a:avLst/>
              <a:gdLst>
                <a:gd name="connsiteX0" fmla="*/ 1156 w 307623"/>
                <a:gd name="connsiteY0" fmla="*/ 699284 h 920756"/>
                <a:gd name="connsiteX1" fmla="*/ 154983 w 307623"/>
                <a:gd name="connsiteY1" fmla="*/ 871768 h 920756"/>
                <a:gd name="connsiteX2" fmla="*/ 148898 w 307623"/>
                <a:gd name="connsiteY2" fmla="*/ 890804 h 920756"/>
                <a:gd name="connsiteX3" fmla="*/ 175611 w 307623"/>
                <a:gd name="connsiteY3" fmla="*/ 920756 h 920756"/>
                <a:gd name="connsiteX4" fmla="*/ 202324 w 307623"/>
                <a:gd name="connsiteY4" fmla="*/ 890804 h 920756"/>
                <a:gd name="connsiteX5" fmla="*/ 175611 w 307623"/>
                <a:gd name="connsiteY5" fmla="*/ 860851 h 920756"/>
                <a:gd name="connsiteX6" fmla="*/ 160611 w 307623"/>
                <a:gd name="connsiteY6" fmla="*/ 866002 h 920756"/>
                <a:gd name="connsiteX7" fmla="*/ 7637 w 307623"/>
                <a:gd name="connsiteY7" fmla="*/ 694473 h 920756"/>
                <a:gd name="connsiteX8" fmla="*/ 7637 w 307623"/>
                <a:gd name="connsiteY8" fmla="*/ 348755 h 920756"/>
                <a:gd name="connsiteX9" fmla="*/ 268376 w 307623"/>
                <a:gd name="connsiteY9" fmla="*/ 56392 h 920756"/>
                <a:gd name="connsiteX10" fmla="*/ 280910 w 307623"/>
                <a:gd name="connsiteY10" fmla="*/ 59905 h 920756"/>
                <a:gd name="connsiteX11" fmla="*/ 307623 w 307623"/>
                <a:gd name="connsiteY11" fmla="*/ 29953 h 920756"/>
                <a:gd name="connsiteX12" fmla="*/ 280910 w 307623"/>
                <a:gd name="connsiteY12" fmla="*/ 0 h 920756"/>
                <a:gd name="connsiteX13" fmla="*/ 254197 w 307623"/>
                <a:gd name="connsiteY13" fmla="*/ 29953 h 920756"/>
                <a:gd name="connsiteX14" fmla="*/ 262169 w 307623"/>
                <a:gd name="connsiteY14" fmla="*/ 51274 h 920756"/>
                <a:gd name="connsiteX15" fmla="*/ 1125 w 307623"/>
                <a:gd name="connsiteY15" fmla="*/ 343979 h 920756"/>
                <a:gd name="connsiteX16" fmla="*/ 0 w 307623"/>
                <a:gd name="connsiteY16" fmla="*/ 346981 h 920756"/>
                <a:gd name="connsiteX17" fmla="*/ 0 w 307623"/>
                <a:gd name="connsiteY17" fmla="*/ 696247 h 920756"/>
                <a:gd name="connsiteX18" fmla="*/ 1125 w 307623"/>
                <a:gd name="connsiteY18" fmla="*/ 699284 h 920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7623" h="920756">
                  <a:moveTo>
                    <a:pt x="1156" y="699284"/>
                  </a:moveTo>
                  <a:lnTo>
                    <a:pt x="154983" y="871768"/>
                  </a:lnTo>
                  <a:cubicBezTo>
                    <a:pt x="151180" y="876953"/>
                    <a:pt x="148898" y="883571"/>
                    <a:pt x="148898" y="890804"/>
                  </a:cubicBezTo>
                  <a:cubicBezTo>
                    <a:pt x="148898" y="907349"/>
                    <a:pt x="160855" y="920756"/>
                    <a:pt x="175611" y="920756"/>
                  </a:cubicBezTo>
                  <a:cubicBezTo>
                    <a:pt x="190366" y="920756"/>
                    <a:pt x="202324" y="907349"/>
                    <a:pt x="202324" y="890804"/>
                  </a:cubicBezTo>
                  <a:cubicBezTo>
                    <a:pt x="202324" y="874258"/>
                    <a:pt x="190366" y="860851"/>
                    <a:pt x="175611" y="860851"/>
                  </a:cubicBezTo>
                  <a:cubicBezTo>
                    <a:pt x="170043" y="860851"/>
                    <a:pt x="164901" y="862761"/>
                    <a:pt x="160611" y="866002"/>
                  </a:cubicBezTo>
                  <a:lnTo>
                    <a:pt x="7637" y="694473"/>
                  </a:lnTo>
                  <a:lnTo>
                    <a:pt x="7637" y="348755"/>
                  </a:lnTo>
                  <a:lnTo>
                    <a:pt x="268376" y="56392"/>
                  </a:lnTo>
                  <a:cubicBezTo>
                    <a:pt x="272118" y="58643"/>
                    <a:pt x="276377" y="59905"/>
                    <a:pt x="280910" y="59905"/>
                  </a:cubicBezTo>
                  <a:cubicBezTo>
                    <a:pt x="295667" y="59905"/>
                    <a:pt x="307623" y="46498"/>
                    <a:pt x="307623" y="29953"/>
                  </a:cubicBezTo>
                  <a:cubicBezTo>
                    <a:pt x="307623" y="13407"/>
                    <a:pt x="295667" y="0"/>
                    <a:pt x="280910" y="0"/>
                  </a:cubicBezTo>
                  <a:cubicBezTo>
                    <a:pt x="266155" y="0"/>
                    <a:pt x="254197" y="13407"/>
                    <a:pt x="254197" y="29953"/>
                  </a:cubicBezTo>
                  <a:cubicBezTo>
                    <a:pt x="254197" y="38311"/>
                    <a:pt x="257240" y="45850"/>
                    <a:pt x="262169" y="51274"/>
                  </a:cubicBezTo>
                  <a:lnTo>
                    <a:pt x="1125" y="343979"/>
                  </a:lnTo>
                  <a:cubicBezTo>
                    <a:pt x="426" y="344763"/>
                    <a:pt x="0" y="345855"/>
                    <a:pt x="0" y="346981"/>
                  </a:cubicBezTo>
                  <a:lnTo>
                    <a:pt x="0" y="696247"/>
                  </a:lnTo>
                  <a:cubicBezTo>
                    <a:pt x="0" y="697373"/>
                    <a:pt x="395" y="698465"/>
                    <a:pt x="1125" y="69928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1" name="Freeform 347">
              <a:extLst>
                <a:ext uri="{FF2B5EF4-FFF2-40B4-BE49-F238E27FC236}">
                  <a16:creationId xmlns:a16="http://schemas.microsoft.com/office/drawing/2014/main" id="{54812C3A-0A6D-159D-5B15-5BCB58E7184F}"/>
                </a:ext>
              </a:extLst>
            </p:cNvPr>
            <p:cNvSpPr/>
            <p:nvPr userDrawn="1"/>
          </p:nvSpPr>
          <p:spPr>
            <a:xfrm>
              <a:off x="9956792" y="853123"/>
              <a:ext cx="1441367" cy="1239012"/>
            </a:xfrm>
            <a:custGeom>
              <a:avLst/>
              <a:gdLst>
                <a:gd name="connsiteX0" fmla="*/ 1095 w 1441367"/>
                <a:gd name="connsiteY0" fmla="*/ 883264 h 1239012"/>
                <a:gd name="connsiteX1" fmla="*/ 317238 w 1441367"/>
                <a:gd name="connsiteY1" fmla="*/ 1237750 h 1239012"/>
                <a:gd name="connsiteX2" fmla="*/ 319945 w 1441367"/>
                <a:gd name="connsiteY2" fmla="*/ 1239013 h 1239012"/>
                <a:gd name="connsiteX3" fmla="*/ 417791 w 1441367"/>
                <a:gd name="connsiteY3" fmla="*/ 1239013 h 1239012"/>
                <a:gd name="connsiteX4" fmla="*/ 420499 w 1441367"/>
                <a:gd name="connsiteY4" fmla="*/ 1237750 h 1239012"/>
                <a:gd name="connsiteX5" fmla="*/ 665235 w 1441367"/>
                <a:gd name="connsiteY5" fmla="*/ 963332 h 1239012"/>
                <a:gd name="connsiteX6" fmla="*/ 1205455 w 1441367"/>
                <a:gd name="connsiteY6" fmla="*/ 963332 h 1239012"/>
                <a:gd name="connsiteX7" fmla="*/ 1392658 w 1441367"/>
                <a:gd name="connsiteY7" fmla="*/ 1173240 h 1239012"/>
                <a:gd name="connsiteX8" fmla="*/ 1387942 w 1441367"/>
                <a:gd name="connsiteY8" fmla="*/ 1190194 h 1239012"/>
                <a:gd name="connsiteX9" fmla="*/ 1414655 w 1441367"/>
                <a:gd name="connsiteY9" fmla="*/ 1220147 h 1239012"/>
                <a:gd name="connsiteX10" fmla="*/ 1441368 w 1441367"/>
                <a:gd name="connsiteY10" fmla="*/ 1190194 h 1239012"/>
                <a:gd name="connsiteX11" fmla="*/ 1414655 w 1441367"/>
                <a:gd name="connsiteY11" fmla="*/ 1160242 h 1239012"/>
                <a:gd name="connsiteX12" fmla="*/ 1397830 w 1441367"/>
                <a:gd name="connsiteY12" fmla="*/ 1166962 h 1239012"/>
                <a:gd name="connsiteX13" fmla="*/ 1209745 w 1441367"/>
                <a:gd name="connsiteY13" fmla="*/ 956065 h 1239012"/>
                <a:gd name="connsiteX14" fmla="*/ 1207037 w 1441367"/>
                <a:gd name="connsiteY14" fmla="*/ 954803 h 1239012"/>
                <a:gd name="connsiteX15" fmla="*/ 663653 w 1441367"/>
                <a:gd name="connsiteY15" fmla="*/ 954803 h 1239012"/>
                <a:gd name="connsiteX16" fmla="*/ 660975 w 1441367"/>
                <a:gd name="connsiteY16" fmla="*/ 956065 h 1239012"/>
                <a:gd name="connsiteX17" fmla="*/ 416239 w 1441367"/>
                <a:gd name="connsiteY17" fmla="*/ 1230484 h 1239012"/>
                <a:gd name="connsiteX18" fmla="*/ 321558 w 1441367"/>
                <a:gd name="connsiteY18" fmla="*/ 1230484 h 1239012"/>
                <a:gd name="connsiteX19" fmla="*/ 7637 w 1441367"/>
                <a:gd name="connsiteY19" fmla="*/ 878488 h 1239012"/>
                <a:gd name="connsiteX20" fmla="*/ 7637 w 1441367"/>
                <a:gd name="connsiteY20" fmla="*/ 416131 h 1239012"/>
                <a:gd name="connsiteX21" fmla="*/ 327765 w 1441367"/>
                <a:gd name="connsiteY21" fmla="*/ 57176 h 1239012"/>
                <a:gd name="connsiteX22" fmla="*/ 338839 w 1441367"/>
                <a:gd name="connsiteY22" fmla="*/ 59905 h 1239012"/>
                <a:gd name="connsiteX23" fmla="*/ 365552 w 1441367"/>
                <a:gd name="connsiteY23" fmla="*/ 29953 h 1239012"/>
                <a:gd name="connsiteX24" fmla="*/ 338839 w 1441367"/>
                <a:gd name="connsiteY24" fmla="*/ 0 h 1239012"/>
                <a:gd name="connsiteX25" fmla="*/ 312126 w 1441367"/>
                <a:gd name="connsiteY25" fmla="*/ 29953 h 1239012"/>
                <a:gd name="connsiteX26" fmla="*/ 321223 w 1441367"/>
                <a:gd name="connsiteY26" fmla="*/ 52434 h 1239012"/>
                <a:gd name="connsiteX27" fmla="*/ 1125 w 1441367"/>
                <a:gd name="connsiteY27" fmla="*/ 411355 h 1239012"/>
                <a:gd name="connsiteX28" fmla="*/ 0 w 1441367"/>
                <a:gd name="connsiteY28" fmla="*/ 414357 h 1239012"/>
                <a:gd name="connsiteX29" fmla="*/ 0 w 1441367"/>
                <a:gd name="connsiteY29" fmla="*/ 880228 h 1239012"/>
                <a:gd name="connsiteX30" fmla="*/ 1125 w 1441367"/>
                <a:gd name="connsiteY30" fmla="*/ 883230 h 123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41367" h="1239012">
                  <a:moveTo>
                    <a:pt x="1095" y="883264"/>
                  </a:moveTo>
                  <a:lnTo>
                    <a:pt x="317238" y="1237750"/>
                  </a:lnTo>
                  <a:cubicBezTo>
                    <a:pt x="317938" y="1238535"/>
                    <a:pt x="318911" y="1239013"/>
                    <a:pt x="319945" y="1239013"/>
                  </a:cubicBezTo>
                  <a:lnTo>
                    <a:pt x="417791" y="1239013"/>
                  </a:lnTo>
                  <a:cubicBezTo>
                    <a:pt x="418795" y="1239013"/>
                    <a:pt x="419769" y="1238569"/>
                    <a:pt x="420499" y="1237750"/>
                  </a:cubicBezTo>
                  <a:lnTo>
                    <a:pt x="665235" y="963332"/>
                  </a:lnTo>
                  <a:lnTo>
                    <a:pt x="1205455" y="963332"/>
                  </a:lnTo>
                  <a:lnTo>
                    <a:pt x="1392658" y="1173240"/>
                  </a:lnTo>
                  <a:cubicBezTo>
                    <a:pt x="1389707" y="1178050"/>
                    <a:pt x="1387942" y="1183883"/>
                    <a:pt x="1387942" y="1190194"/>
                  </a:cubicBezTo>
                  <a:cubicBezTo>
                    <a:pt x="1387942" y="1206740"/>
                    <a:pt x="1399899" y="1220147"/>
                    <a:pt x="1414655" y="1220147"/>
                  </a:cubicBezTo>
                  <a:cubicBezTo>
                    <a:pt x="1429410" y="1220147"/>
                    <a:pt x="1441368" y="1206740"/>
                    <a:pt x="1441368" y="1190194"/>
                  </a:cubicBezTo>
                  <a:cubicBezTo>
                    <a:pt x="1441368" y="1173649"/>
                    <a:pt x="1429410" y="1160242"/>
                    <a:pt x="1414655" y="1160242"/>
                  </a:cubicBezTo>
                  <a:cubicBezTo>
                    <a:pt x="1408265" y="1160242"/>
                    <a:pt x="1402424" y="1162766"/>
                    <a:pt x="1397830" y="1166962"/>
                  </a:cubicBezTo>
                  <a:lnTo>
                    <a:pt x="1209745" y="956065"/>
                  </a:lnTo>
                  <a:cubicBezTo>
                    <a:pt x="1209045" y="955280"/>
                    <a:pt x="1208071" y="954803"/>
                    <a:pt x="1207037" y="954803"/>
                  </a:cubicBezTo>
                  <a:lnTo>
                    <a:pt x="663653" y="954803"/>
                  </a:lnTo>
                  <a:cubicBezTo>
                    <a:pt x="662648" y="954803"/>
                    <a:pt x="661675" y="955246"/>
                    <a:pt x="660975" y="956065"/>
                  </a:cubicBezTo>
                  <a:lnTo>
                    <a:pt x="416239" y="1230484"/>
                  </a:lnTo>
                  <a:lnTo>
                    <a:pt x="321558" y="1230484"/>
                  </a:lnTo>
                  <a:lnTo>
                    <a:pt x="7637" y="878488"/>
                  </a:lnTo>
                  <a:lnTo>
                    <a:pt x="7637" y="416131"/>
                  </a:lnTo>
                  <a:lnTo>
                    <a:pt x="327765" y="57176"/>
                  </a:lnTo>
                  <a:cubicBezTo>
                    <a:pt x="331141" y="58916"/>
                    <a:pt x="334884" y="59905"/>
                    <a:pt x="338839" y="59905"/>
                  </a:cubicBezTo>
                  <a:cubicBezTo>
                    <a:pt x="353595" y="59905"/>
                    <a:pt x="365552" y="46498"/>
                    <a:pt x="365552" y="29953"/>
                  </a:cubicBezTo>
                  <a:cubicBezTo>
                    <a:pt x="365552" y="13407"/>
                    <a:pt x="353595" y="0"/>
                    <a:pt x="338839" y="0"/>
                  </a:cubicBezTo>
                  <a:cubicBezTo>
                    <a:pt x="324083" y="0"/>
                    <a:pt x="312126" y="13407"/>
                    <a:pt x="312126" y="29953"/>
                  </a:cubicBezTo>
                  <a:cubicBezTo>
                    <a:pt x="312126" y="38925"/>
                    <a:pt x="315656" y="46942"/>
                    <a:pt x="321223" y="52434"/>
                  </a:cubicBezTo>
                  <a:lnTo>
                    <a:pt x="1125" y="411355"/>
                  </a:lnTo>
                  <a:cubicBezTo>
                    <a:pt x="426" y="412140"/>
                    <a:pt x="0" y="413232"/>
                    <a:pt x="0" y="414357"/>
                  </a:cubicBezTo>
                  <a:lnTo>
                    <a:pt x="0" y="880228"/>
                  </a:lnTo>
                  <a:cubicBezTo>
                    <a:pt x="0" y="881354"/>
                    <a:pt x="395" y="882446"/>
                    <a:pt x="1125" y="88323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2" name="Freeform 348">
              <a:extLst>
                <a:ext uri="{FF2B5EF4-FFF2-40B4-BE49-F238E27FC236}">
                  <a16:creationId xmlns:a16="http://schemas.microsoft.com/office/drawing/2014/main" id="{1324E980-C73E-9208-55C9-8AB066E53F1A}"/>
                </a:ext>
              </a:extLst>
            </p:cNvPr>
            <p:cNvSpPr/>
            <p:nvPr userDrawn="1"/>
          </p:nvSpPr>
          <p:spPr>
            <a:xfrm>
              <a:off x="10372240" y="1228590"/>
              <a:ext cx="777623" cy="467610"/>
            </a:xfrm>
            <a:custGeom>
              <a:avLst/>
              <a:gdLst>
                <a:gd name="connsiteX0" fmla="*/ 22879 w 777623"/>
                <a:gd name="connsiteY0" fmla="*/ 59598 h 467610"/>
                <a:gd name="connsiteX1" fmla="*/ 22879 w 777623"/>
                <a:gd name="connsiteY1" fmla="*/ 273941 h 467610"/>
                <a:gd name="connsiteX2" fmla="*/ 24005 w 777623"/>
                <a:gd name="connsiteY2" fmla="*/ 276943 h 467610"/>
                <a:gd name="connsiteX3" fmla="*/ 170044 w 777623"/>
                <a:gd name="connsiteY3" fmla="*/ 440694 h 467610"/>
                <a:gd name="connsiteX4" fmla="*/ 172751 w 777623"/>
                <a:gd name="connsiteY4" fmla="*/ 441956 h 467610"/>
                <a:gd name="connsiteX5" fmla="*/ 724503 w 777623"/>
                <a:gd name="connsiteY5" fmla="*/ 441956 h 467610"/>
                <a:gd name="connsiteX6" fmla="*/ 750911 w 777623"/>
                <a:gd name="connsiteY6" fmla="*/ 467610 h 467610"/>
                <a:gd name="connsiteX7" fmla="*/ 777624 w 777623"/>
                <a:gd name="connsiteY7" fmla="*/ 437658 h 467610"/>
                <a:gd name="connsiteX8" fmla="*/ 750911 w 777623"/>
                <a:gd name="connsiteY8" fmla="*/ 407705 h 467610"/>
                <a:gd name="connsiteX9" fmla="*/ 724503 w 777623"/>
                <a:gd name="connsiteY9" fmla="*/ 433359 h 467610"/>
                <a:gd name="connsiteX10" fmla="*/ 174333 w 777623"/>
                <a:gd name="connsiteY10" fmla="*/ 433359 h 467610"/>
                <a:gd name="connsiteX11" fmla="*/ 30546 w 777623"/>
                <a:gd name="connsiteY11" fmla="*/ 272133 h 467610"/>
                <a:gd name="connsiteX12" fmla="*/ 30546 w 777623"/>
                <a:gd name="connsiteY12" fmla="*/ 59564 h 467610"/>
                <a:gd name="connsiteX13" fmla="*/ 53426 w 777623"/>
                <a:gd name="connsiteY13" fmla="*/ 29953 h 467610"/>
                <a:gd name="connsiteX14" fmla="*/ 26713 w 777623"/>
                <a:gd name="connsiteY14" fmla="*/ 0 h 467610"/>
                <a:gd name="connsiteX15" fmla="*/ 0 w 777623"/>
                <a:gd name="connsiteY15" fmla="*/ 29953 h 467610"/>
                <a:gd name="connsiteX16" fmla="*/ 22879 w 777623"/>
                <a:gd name="connsiteY16" fmla="*/ 59564 h 467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7623" h="467610">
                  <a:moveTo>
                    <a:pt x="22879" y="59598"/>
                  </a:moveTo>
                  <a:lnTo>
                    <a:pt x="22879" y="273941"/>
                  </a:lnTo>
                  <a:cubicBezTo>
                    <a:pt x="22879" y="275067"/>
                    <a:pt x="23275" y="276159"/>
                    <a:pt x="24005" y="276943"/>
                  </a:cubicBezTo>
                  <a:lnTo>
                    <a:pt x="170044" y="440694"/>
                  </a:lnTo>
                  <a:cubicBezTo>
                    <a:pt x="170743" y="441479"/>
                    <a:pt x="171717" y="441956"/>
                    <a:pt x="172751" y="441956"/>
                  </a:cubicBezTo>
                  <a:lnTo>
                    <a:pt x="724503" y="441956"/>
                  </a:lnTo>
                  <a:cubicBezTo>
                    <a:pt x="726359" y="456455"/>
                    <a:pt x="737463" y="467610"/>
                    <a:pt x="750911" y="467610"/>
                  </a:cubicBezTo>
                  <a:cubicBezTo>
                    <a:pt x="765667" y="467610"/>
                    <a:pt x="777624" y="454203"/>
                    <a:pt x="777624" y="437658"/>
                  </a:cubicBezTo>
                  <a:cubicBezTo>
                    <a:pt x="777624" y="421112"/>
                    <a:pt x="765667" y="407705"/>
                    <a:pt x="750911" y="407705"/>
                  </a:cubicBezTo>
                  <a:cubicBezTo>
                    <a:pt x="737463" y="407705"/>
                    <a:pt x="726359" y="418861"/>
                    <a:pt x="724503" y="433359"/>
                  </a:cubicBezTo>
                  <a:lnTo>
                    <a:pt x="174333" y="433359"/>
                  </a:lnTo>
                  <a:lnTo>
                    <a:pt x="30546" y="272133"/>
                  </a:lnTo>
                  <a:lnTo>
                    <a:pt x="30546" y="59564"/>
                  </a:lnTo>
                  <a:cubicBezTo>
                    <a:pt x="43477" y="57483"/>
                    <a:pt x="53426" y="45031"/>
                    <a:pt x="53426" y="29953"/>
                  </a:cubicBezTo>
                  <a:cubicBezTo>
                    <a:pt x="53426" y="13407"/>
                    <a:pt x="41469" y="0"/>
                    <a:pt x="26713" y="0"/>
                  </a:cubicBezTo>
                  <a:cubicBezTo>
                    <a:pt x="11957" y="0"/>
                    <a:pt x="0" y="13407"/>
                    <a:pt x="0" y="29953"/>
                  </a:cubicBezTo>
                  <a:cubicBezTo>
                    <a:pt x="0" y="45031"/>
                    <a:pt x="9949" y="57483"/>
                    <a:pt x="22879" y="5956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3" name="Freeform 349">
              <a:extLst>
                <a:ext uri="{FF2B5EF4-FFF2-40B4-BE49-F238E27FC236}">
                  <a16:creationId xmlns:a16="http://schemas.microsoft.com/office/drawing/2014/main" id="{17370D0B-56A1-591C-8838-D3DD35AAC977}"/>
                </a:ext>
              </a:extLst>
            </p:cNvPr>
            <p:cNvSpPr/>
            <p:nvPr userDrawn="1"/>
          </p:nvSpPr>
          <p:spPr>
            <a:xfrm>
              <a:off x="11044838" y="2979494"/>
              <a:ext cx="777623" cy="467610"/>
            </a:xfrm>
            <a:custGeom>
              <a:avLst/>
              <a:gdLst>
                <a:gd name="connsiteX0" fmla="*/ 22910 w 777623"/>
                <a:gd name="connsiteY0" fmla="*/ 59598 h 467610"/>
                <a:gd name="connsiteX1" fmla="*/ 22910 w 777623"/>
                <a:gd name="connsiteY1" fmla="*/ 273941 h 467610"/>
                <a:gd name="connsiteX2" fmla="*/ 24036 w 777623"/>
                <a:gd name="connsiteY2" fmla="*/ 276943 h 467610"/>
                <a:gd name="connsiteX3" fmla="*/ 170074 w 777623"/>
                <a:gd name="connsiteY3" fmla="*/ 440694 h 467610"/>
                <a:gd name="connsiteX4" fmla="*/ 172751 w 777623"/>
                <a:gd name="connsiteY4" fmla="*/ 441956 h 467610"/>
                <a:gd name="connsiteX5" fmla="*/ 724503 w 777623"/>
                <a:gd name="connsiteY5" fmla="*/ 441956 h 467610"/>
                <a:gd name="connsiteX6" fmla="*/ 750911 w 777623"/>
                <a:gd name="connsiteY6" fmla="*/ 467610 h 467610"/>
                <a:gd name="connsiteX7" fmla="*/ 777624 w 777623"/>
                <a:gd name="connsiteY7" fmla="*/ 437658 h 467610"/>
                <a:gd name="connsiteX8" fmla="*/ 750911 w 777623"/>
                <a:gd name="connsiteY8" fmla="*/ 407705 h 467610"/>
                <a:gd name="connsiteX9" fmla="*/ 724503 w 777623"/>
                <a:gd name="connsiteY9" fmla="*/ 433359 h 467610"/>
                <a:gd name="connsiteX10" fmla="*/ 174333 w 777623"/>
                <a:gd name="connsiteY10" fmla="*/ 433359 h 467610"/>
                <a:gd name="connsiteX11" fmla="*/ 30546 w 777623"/>
                <a:gd name="connsiteY11" fmla="*/ 272133 h 467610"/>
                <a:gd name="connsiteX12" fmla="*/ 30546 w 777623"/>
                <a:gd name="connsiteY12" fmla="*/ 59564 h 467610"/>
                <a:gd name="connsiteX13" fmla="*/ 53426 w 777623"/>
                <a:gd name="connsiteY13" fmla="*/ 29953 h 467610"/>
                <a:gd name="connsiteX14" fmla="*/ 26713 w 777623"/>
                <a:gd name="connsiteY14" fmla="*/ 0 h 467610"/>
                <a:gd name="connsiteX15" fmla="*/ 0 w 777623"/>
                <a:gd name="connsiteY15" fmla="*/ 29953 h 467610"/>
                <a:gd name="connsiteX16" fmla="*/ 22879 w 777623"/>
                <a:gd name="connsiteY16" fmla="*/ 59564 h 467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7623" h="467610">
                  <a:moveTo>
                    <a:pt x="22910" y="59598"/>
                  </a:moveTo>
                  <a:lnTo>
                    <a:pt x="22910" y="273941"/>
                  </a:lnTo>
                  <a:cubicBezTo>
                    <a:pt x="22910" y="275067"/>
                    <a:pt x="23306" y="276159"/>
                    <a:pt x="24036" y="276943"/>
                  </a:cubicBezTo>
                  <a:lnTo>
                    <a:pt x="170074" y="440694"/>
                  </a:lnTo>
                  <a:cubicBezTo>
                    <a:pt x="170774" y="441478"/>
                    <a:pt x="171747" y="441956"/>
                    <a:pt x="172751" y="441956"/>
                  </a:cubicBezTo>
                  <a:lnTo>
                    <a:pt x="724503" y="441956"/>
                  </a:lnTo>
                  <a:cubicBezTo>
                    <a:pt x="726358" y="456455"/>
                    <a:pt x="737463" y="467610"/>
                    <a:pt x="750911" y="467610"/>
                  </a:cubicBezTo>
                  <a:cubicBezTo>
                    <a:pt x="765667" y="467610"/>
                    <a:pt x="777624" y="454203"/>
                    <a:pt x="777624" y="437658"/>
                  </a:cubicBezTo>
                  <a:cubicBezTo>
                    <a:pt x="777624" y="421112"/>
                    <a:pt x="765667" y="407705"/>
                    <a:pt x="750911" y="407705"/>
                  </a:cubicBezTo>
                  <a:cubicBezTo>
                    <a:pt x="737463" y="407705"/>
                    <a:pt x="726358" y="418861"/>
                    <a:pt x="724503" y="433359"/>
                  </a:cubicBezTo>
                  <a:lnTo>
                    <a:pt x="174333" y="433359"/>
                  </a:lnTo>
                  <a:lnTo>
                    <a:pt x="30546" y="272133"/>
                  </a:lnTo>
                  <a:lnTo>
                    <a:pt x="30546" y="59564"/>
                  </a:lnTo>
                  <a:cubicBezTo>
                    <a:pt x="43477" y="57483"/>
                    <a:pt x="53426" y="45031"/>
                    <a:pt x="53426" y="29953"/>
                  </a:cubicBezTo>
                  <a:cubicBezTo>
                    <a:pt x="53426" y="13407"/>
                    <a:pt x="41469" y="0"/>
                    <a:pt x="26713" y="0"/>
                  </a:cubicBezTo>
                  <a:cubicBezTo>
                    <a:pt x="11957" y="0"/>
                    <a:pt x="0" y="13407"/>
                    <a:pt x="0" y="29953"/>
                  </a:cubicBezTo>
                  <a:cubicBezTo>
                    <a:pt x="0" y="45031"/>
                    <a:pt x="9949" y="57483"/>
                    <a:pt x="22879" y="5956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4" name="Freeform 350">
              <a:extLst>
                <a:ext uri="{FF2B5EF4-FFF2-40B4-BE49-F238E27FC236}">
                  <a16:creationId xmlns:a16="http://schemas.microsoft.com/office/drawing/2014/main" id="{42A1E420-99F0-0C8F-2E0A-76C3F142ED36}"/>
                </a:ext>
              </a:extLst>
            </p:cNvPr>
            <p:cNvSpPr/>
            <p:nvPr userDrawn="1"/>
          </p:nvSpPr>
          <p:spPr>
            <a:xfrm>
              <a:off x="11091297" y="2917678"/>
              <a:ext cx="777623" cy="467610"/>
            </a:xfrm>
            <a:custGeom>
              <a:avLst/>
              <a:gdLst>
                <a:gd name="connsiteX0" fmla="*/ 22910 w 777623"/>
                <a:gd name="connsiteY0" fmla="*/ 59599 h 467610"/>
                <a:gd name="connsiteX1" fmla="*/ 22910 w 777623"/>
                <a:gd name="connsiteY1" fmla="*/ 273941 h 467610"/>
                <a:gd name="connsiteX2" fmla="*/ 24036 w 777623"/>
                <a:gd name="connsiteY2" fmla="*/ 276944 h 467610"/>
                <a:gd name="connsiteX3" fmla="*/ 170074 w 777623"/>
                <a:gd name="connsiteY3" fmla="*/ 440694 h 467610"/>
                <a:gd name="connsiteX4" fmla="*/ 172751 w 777623"/>
                <a:gd name="connsiteY4" fmla="*/ 441956 h 467610"/>
                <a:gd name="connsiteX5" fmla="*/ 724503 w 777623"/>
                <a:gd name="connsiteY5" fmla="*/ 441956 h 467610"/>
                <a:gd name="connsiteX6" fmla="*/ 750911 w 777623"/>
                <a:gd name="connsiteY6" fmla="*/ 467611 h 467610"/>
                <a:gd name="connsiteX7" fmla="*/ 777624 w 777623"/>
                <a:gd name="connsiteY7" fmla="*/ 437658 h 467610"/>
                <a:gd name="connsiteX8" fmla="*/ 750911 w 777623"/>
                <a:gd name="connsiteY8" fmla="*/ 407705 h 467610"/>
                <a:gd name="connsiteX9" fmla="*/ 724503 w 777623"/>
                <a:gd name="connsiteY9" fmla="*/ 433359 h 467610"/>
                <a:gd name="connsiteX10" fmla="*/ 174333 w 777623"/>
                <a:gd name="connsiteY10" fmla="*/ 433359 h 467610"/>
                <a:gd name="connsiteX11" fmla="*/ 30546 w 777623"/>
                <a:gd name="connsiteY11" fmla="*/ 272133 h 467610"/>
                <a:gd name="connsiteX12" fmla="*/ 30546 w 777623"/>
                <a:gd name="connsiteY12" fmla="*/ 59564 h 467610"/>
                <a:gd name="connsiteX13" fmla="*/ 53426 w 777623"/>
                <a:gd name="connsiteY13" fmla="*/ 29953 h 467610"/>
                <a:gd name="connsiteX14" fmla="*/ 26713 w 777623"/>
                <a:gd name="connsiteY14" fmla="*/ 0 h 467610"/>
                <a:gd name="connsiteX15" fmla="*/ 0 w 777623"/>
                <a:gd name="connsiteY15" fmla="*/ 29953 h 467610"/>
                <a:gd name="connsiteX16" fmla="*/ 22879 w 777623"/>
                <a:gd name="connsiteY16" fmla="*/ 59564 h 467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7623" h="467610">
                  <a:moveTo>
                    <a:pt x="22910" y="59599"/>
                  </a:moveTo>
                  <a:lnTo>
                    <a:pt x="22910" y="273941"/>
                  </a:lnTo>
                  <a:cubicBezTo>
                    <a:pt x="22910" y="275067"/>
                    <a:pt x="23305" y="276159"/>
                    <a:pt x="24036" y="276944"/>
                  </a:cubicBezTo>
                  <a:lnTo>
                    <a:pt x="170074" y="440694"/>
                  </a:lnTo>
                  <a:cubicBezTo>
                    <a:pt x="170774" y="441479"/>
                    <a:pt x="171747" y="441956"/>
                    <a:pt x="172751" y="441956"/>
                  </a:cubicBezTo>
                  <a:lnTo>
                    <a:pt x="724503" y="441956"/>
                  </a:lnTo>
                  <a:cubicBezTo>
                    <a:pt x="726358" y="456455"/>
                    <a:pt x="737463" y="467611"/>
                    <a:pt x="750911" y="467611"/>
                  </a:cubicBezTo>
                  <a:cubicBezTo>
                    <a:pt x="765666" y="467611"/>
                    <a:pt x="777624" y="454204"/>
                    <a:pt x="777624" y="437658"/>
                  </a:cubicBezTo>
                  <a:cubicBezTo>
                    <a:pt x="777624" y="421112"/>
                    <a:pt x="765666" y="407705"/>
                    <a:pt x="750911" y="407705"/>
                  </a:cubicBezTo>
                  <a:cubicBezTo>
                    <a:pt x="737463" y="407705"/>
                    <a:pt x="726358" y="418860"/>
                    <a:pt x="724503" y="433359"/>
                  </a:cubicBezTo>
                  <a:lnTo>
                    <a:pt x="174333" y="433359"/>
                  </a:lnTo>
                  <a:lnTo>
                    <a:pt x="30546" y="272133"/>
                  </a:lnTo>
                  <a:lnTo>
                    <a:pt x="30546" y="59564"/>
                  </a:lnTo>
                  <a:cubicBezTo>
                    <a:pt x="43477" y="57483"/>
                    <a:pt x="53426" y="45031"/>
                    <a:pt x="53426" y="29953"/>
                  </a:cubicBezTo>
                  <a:cubicBezTo>
                    <a:pt x="53426" y="13407"/>
                    <a:pt x="41469" y="0"/>
                    <a:pt x="26713" y="0"/>
                  </a:cubicBezTo>
                  <a:cubicBezTo>
                    <a:pt x="11957" y="0"/>
                    <a:pt x="0" y="13407"/>
                    <a:pt x="0" y="29953"/>
                  </a:cubicBezTo>
                  <a:cubicBezTo>
                    <a:pt x="0" y="45031"/>
                    <a:pt x="9949" y="57483"/>
                    <a:pt x="22879" y="5956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5" name="Freeform 351">
              <a:extLst>
                <a:ext uri="{FF2B5EF4-FFF2-40B4-BE49-F238E27FC236}">
                  <a16:creationId xmlns:a16="http://schemas.microsoft.com/office/drawing/2014/main" id="{DE53C828-2B2F-E8CA-6513-65B4097F1FD8}"/>
                </a:ext>
              </a:extLst>
            </p:cNvPr>
            <p:cNvSpPr/>
            <p:nvPr userDrawn="1"/>
          </p:nvSpPr>
          <p:spPr>
            <a:xfrm>
              <a:off x="11196231" y="877720"/>
              <a:ext cx="295362" cy="1099176"/>
            </a:xfrm>
            <a:custGeom>
              <a:avLst/>
              <a:gdLst>
                <a:gd name="connsiteX0" fmla="*/ 22910 w 295362"/>
                <a:gd name="connsiteY0" fmla="*/ 59598 h 1099176"/>
                <a:gd name="connsiteX1" fmla="*/ 22910 w 295362"/>
                <a:gd name="connsiteY1" fmla="*/ 806915 h 1099176"/>
                <a:gd name="connsiteX2" fmla="*/ 24036 w 295362"/>
                <a:gd name="connsiteY2" fmla="*/ 809918 h 1099176"/>
                <a:gd name="connsiteX3" fmla="*/ 244310 w 295362"/>
                <a:gd name="connsiteY3" fmla="*/ 1056908 h 1099176"/>
                <a:gd name="connsiteX4" fmla="*/ 241937 w 295362"/>
                <a:gd name="connsiteY4" fmla="*/ 1069224 h 1099176"/>
                <a:gd name="connsiteX5" fmla="*/ 268650 w 295362"/>
                <a:gd name="connsiteY5" fmla="*/ 1099177 h 1099176"/>
                <a:gd name="connsiteX6" fmla="*/ 295363 w 295362"/>
                <a:gd name="connsiteY6" fmla="*/ 1069224 h 1099176"/>
                <a:gd name="connsiteX7" fmla="*/ 268650 w 295362"/>
                <a:gd name="connsiteY7" fmla="*/ 1039271 h 1099176"/>
                <a:gd name="connsiteX8" fmla="*/ 248539 w 295362"/>
                <a:gd name="connsiteY8" fmla="*/ 1049540 h 1099176"/>
                <a:gd name="connsiteX9" fmla="*/ 30546 w 295362"/>
                <a:gd name="connsiteY9" fmla="*/ 805108 h 1099176"/>
                <a:gd name="connsiteX10" fmla="*/ 30546 w 295362"/>
                <a:gd name="connsiteY10" fmla="*/ 59564 h 1099176"/>
                <a:gd name="connsiteX11" fmla="*/ 53426 w 295362"/>
                <a:gd name="connsiteY11" fmla="*/ 29953 h 1099176"/>
                <a:gd name="connsiteX12" fmla="*/ 26713 w 295362"/>
                <a:gd name="connsiteY12" fmla="*/ 0 h 1099176"/>
                <a:gd name="connsiteX13" fmla="*/ 0 w 295362"/>
                <a:gd name="connsiteY13" fmla="*/ 29953 h 1099176"/>
                <a:gd name="connsiteX14" fmla="*/ 22879 w 295362"/>
                <a:gd name="connsiteY14" fmla="*/ 59564 h 109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5362" h="1099176">
                  <a:moveTo>
                    <a:pt x="22910" y="59598"/>
                  </a:moveTo>
                  <a:lnTo>
                    <a:pt x="22910" y="806915"/>
                  </a:lnTo>
                  <a:cubicBezTo>
                    <a:pt x="22910" y="808041"/>
                    <a:pt x="23306" y="809133"/>
                    <a:pt x="24036" y="809918"/>
                  </a:cubicBezTo>
                  <a:lnTo>
                    <a:pt x="244310" y="1056908"/>
                  </a:lnTo>
                  <a:cubicBezTo>
                    <a:pt x="242789" y="1060661"/>
                    <a:pt x="241937" y="1064823"/>
                    <a:pt x="241937" y="1069224"/>
                  </a:cubicBezTo>
                  <a:cubicBezTo>
                    <a:pt x="241937" y="1085769"/>
                    <a:pt x="253894" y="1099177"/>
                    <a:pt x="268650" y="1099177"/>
                  </a:cubicBezTo>
                  <a:cubicBezTo>
                    <a:pt x="283406" y="1099177"/>
                    <a:pt x="295363" y="1085769"/>
                    <a:pt x="295363" y="1069224"/>
                  </a:cubicBezTo>
                  <a:cubicBezTo>
                    <a:pt x="295363" y="1052678"/>
                    <a:pt x="283406" y="1039271"/>
                    <a:pt x="268650" y="1039271"/>
                  </a:cubicBezTo>
                  <a:cubicBezTo>
                    <a:pt x="260618" y="1039271"/>
                    <a:pt x="253437" y="1043262"/>
                    <a:pt x="248539" y="1049540"/>
                  </a:cubicBezTo>
                  <a:lnTo>
                    <a:pt x="30546" y="805108"/>
                  </a:lnTo>
                  <a:lnTo>
                    <a:pt x="30546" y="59564"/>
                  </a:lnTo>
                  <a:cubicBezTo>
                    <a:pt x="43477" y="57483"/>
                    <a:pt x="53426" y="45031"/>
                    <a:pt x="53426" y="29953"/>
                  </a:cubicBezTo>
                  <a:cubicBezTo>
                    <a:pt x="53426" y="13407"/>
                    <a:pt x="41469" y="0"/>
                    <a:pt x="26713" y="0"/>
                  </a:cubicBezTo>
                  <a:cubicBezTo>
                    <a:pt x="11957" y="0"/>
                    <a:pt x="0" y="13407"/>
                    <a:pt x="0" y="29953"/>
                  </a:cubicBezTo>
                  <a:cubicBezTo>
                    <a:pt x="0" y="45031"/>
                    <a:pt x="9949" y="57483"/>
                    <a:pt x="22879" y="5956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6" name="Freeform 353">
              <a:extLst>
                <a:ext uri="{FF2B5EF4-FFF2-40B4-BE49-F238E27FC236}">
                  <a16:creationId xmlns:a16="http://schemas.microsoft.com/office/drawing/2014/main" id="{869614E1-6C5C-8F46-FC7D-8B9071DAD91A}"/>
                </a:ext>
              </a:extLst>
            </p:cNvPr>
            <p:cNvSpPr/>
            <p:nvPr userDrawn="1"/>
          </p:nvSpPr>
          <p:spPr>
            <a:xfrm>
              <a:off x="10296361" y="1745462"/>
              <a:ext cx="1860771" cy="318290"/>
            </a:xfrm>
            <a:custGeom>
              <a:avLst/>
              <a:gdLst>
                <a:gd name="connsiteX0" fmla="*/ 26713 w 1860771"/>
                <a:gd name="connsiteY0" fmla="*/ 281856 h 318290"/>
                <a:gd name="connsiteX1" fmla="*/ 53426 w 1860771"/>
                <a:gd name="connsiteY1" fmla="*/ 251903 h 318290"/>
                <a:gd name="connsiteX2" fmla="*/ 48558 w 1860771"/>
                <a:gd name="connsiteY2" fmla="*/ 234675 h 318290"/>
                <a:gd name="connsiteX3" fmla="*/ 250182 w 1860771"/>
                <a:gd name="connsiteY3" fmla="*/ 8597 h 318290"/>
                <a:gd name="connsiteX4" fmla="*/ 917577 w 1860771"/>
                <a:gd name="connsiteY4" fmla="*/ 8597 h 318290"/>
                <a:gd name="connsiteX5" fmla="*/ 1169767 w 1860771"/>
                <a:gd name="connsiteY5" fmla="*/ 291374 h 318290"/>
                <a:gd name="connsiteX6" fmla="*/ 1172445 w 1860771"/>
                <a:gd name="connsiteY6" fmla="*/ 292636 h 318290"/>
                <a:gd name="connsiteX7" fmla="*/ 1807650 w 1860771"/>
                <a:gd name="connsiteY7" fmla="*/ 292636 h 318290"/>
                <a:gd name="connsiteX8" fmla="*/ 1834059 w 1860771"/>
                <a:gd name="connsiteY8" fmla="*/ 318290 h 318290"/>
                <a:gd name="connsiteX9" fmla="*/ 1860772 w 1860771"/>
                <a:gd name="connsiteY9" fmla="*/ 288338 h 318290"/>
                <a:gd name="connsiteX10" fmla="*/ 1834059 w 1860771"/>
                <a:gd name="connsiteY10" fmla="*/ 258385 h 318290"/>
                <a:gd name="connsiteX11" fmla="*/ 1807650 w 1860771"/>
                <a:gd name="connsiteY11" fmla="*/ 284039 h 318290"/>
                <a:gd name="connsiteX12" fmla="*/ 1174027 w 1860771"/>
                <a:gd name="connsiteY12" fmla="*/ 284039 h 318290"/>
                <a:gd name="connsiteX13" fmla="*/ 921836 w 1860771"/>
                <a:gd name="connsiteY13" fmla="*/ 1262 h 318290"/>
                <a:gd name="connsiteX14" fmla="*/ 919129 w 1860771"/>
                <a:gd name="connsiteY14" fmla="*/ 0 h 318290"/>
                <a:gd name="connsiteX15" fmla="*/ 248600 w 1860771"/>
                <a:gd name="connsiteY15" fmla="*/ 0 h 318290"/>
                <a:gd name="connsiteX16" fmla="*/ 245892 w 1860771"/>
                <a:gd name="connsiteY16" fmla="*/ 1262 h 318290"/>
                <a:gd name="connsiteX17" fmla="*/ 43294 w 1860771"/>
                <a:gd name="connsiteY17" fmla="*/ 228432 h 318290"/>
                <a:gd name="connsiteX18" fmla="*/ 26713 w 1860771"/>
                <a:gd name="connsiteY18" fmla="*/ 221916 h 318290"/>
                <a:gd name="connsiteX19" fmla="*/ 0 w 1860771"/>
                <a:gd name="connsiteY19" fmla="*/ 251869 h 318290"/>
                <a:gd name="connsiteX20" fmla="*/ 26713 w 1860771"/>
                <a:gd name="connsiteY20" fmla="*/ 281822 h 318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60771" h="318290">
                  <a:moveTo>
                    <a:pt x="26713" y="281856"/>
                  </a:moveTo>
                  <a:cubicBezTo>
                    <a:pt x="41469" y="281856"/>
                    <a:pt x="53426" y="268449"/>
                    <a:pt x="53426" y="251903"/>
                  </a:cubicBezTo>
                  <a:cubicBezTo>
                    <a:pt x="53426" y="245490"/>
                    <a:pt x="51600" y="239554"/>
                    <a:pt x="48558" y="234675"/>
                  </a:cubicBezTo>
                  <a:lnTo>
                    <a:pt x="250182" y="8597"/>
                  </a:lnTo>
                  <a:lnTo>
                    <a:pt x="917577" y="8597"/>
                  </a:lnTo>
                  <a:lnTo>
                    <a:pt x="1169767" y="291374"/>
                  </a:lnTo>
                  <a:cubicBezTo>
                    <a:pt x="1170467" y="292159"/>
                    <a:pt x="1171440" y="292636"/>
                    <a:pt x="1172445" y="292636"/>
                  </a:cubicBezTo>
                  <a:lnTo>
                    <a:pt x="1807650" y="292636"/>
                  </a:lnTo>
                  <a:cubicBezTo>
                    <a:pt x="1809506" y="307135"/>
                    <a:pt x="1820611" y="318290"/>
                    <a:pt x="1834059" y="318290"/>
                  </a:cubicBezTo>
                  <a:cubicBezTo>
                    <a:pt x="1848815" y="318290"/>
                    <a:pt x="1860772" y="304883"/>
                    <a:pt x="1860772" y="288338"/>
                  </a:cubicBezTo>
                  <a:cubicBezTo>
                    <a:pt x="1860772" y="271792"/>
                    <a:pt x="1848815" y="258385"/>
                    <a:pt x="1834059" y="258385"/>
                  </a:cubicBezTo>
                  <a:cubicBezTo>
                    <a:pt x="1820611" y="258385"/>
                    <a:pt x="1809506" y="269540"/>
                    <a:pt x="1807650" y="284039"/>
                  </a:cubicBezTo>
                  <a:lnTo>
                    <a:pt x="1174027" y="284039"/>
                  </a:lnTo>
                  <a:lnTo>
                    <a:pt x="921836" y="1262"/>
                  </a:lnTo>
                  <a:cubicBezTo>
                    <a:pt x="921137" y="478"/>
                    <a:pt x="920163" y="0"/>
                    <a:pt x="919129" y="0"/>
                  </a:cubicBezTo>
                  <a:lnTo>
                    <a:pt x="248600" y="0"/>
                  </a:lnTo>
                  <a:cubicBezTo>
                    <a:pt x="247596" y="0"/>
                    <a:pt x="246622" y="444"/>
                    <a:pt x="245892" y="1262"/>
                  </a:cubicBezTo>
                  <a:lnTo>
                    <a:pt x="43294" y="228432"/>
                  </a:lnTo>
                  <a:cubicBezTo>
                    <a:pt x="38731" y="224373"/>
                    <a:pt x="32981" y="221916"/>
                    <a:pt x="26713" y="221916"/>
                  </a:cubicBezTo>
                  <a:cubicBezTo>
                    <a:pt x="11957" y="221916"/>
                    <a:pt x="0" y="235324"/>
                    <a:pt x="0" y="251869"/>
                  </a:cubicBezTo>
                  <a:cubicBezTo>
                    <a:pt x="0" y="268415"/>
                    <a:pt x="11957" y="281822"/>
                    <a:pt x="26713" y="281822"/>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7" name="Freeform 354">
              <a:extLst>
                <a:ext uri="{FF2B5EF4-FFF2-40B4-BE49-F238E27FC236}">
                  <a16:creationId xmlns:a16="http://schemas.microsoft.com/office/drawing/2014/main" id="{3905DB4D-DAD7-AC93-9E0F-40C64918A061}"/>
                </a:ext>
              </a:extLst>
            </p:cNvPr>
            <p:cNvSpPr/>
            <p:nvPr userDrawn="1"/>
          </p:nvSpPr>
          <p:spPr>
            <a:xfrm>
              <a:off x="9010342" y="3355950"/>
              <a:ext cx="297735" cy="1029139"/>
            </a:xfrm>
            <a:custGeom>
              <a:avLst/>
              <a:gdLst>
                <a:gd name="connsiteX0" fmla="*/ 26743 w 297735"/>
                <a:gd name="connsiteY0" fmla="*/ 1029139 h 1029139"/>
                <a:gd name="connsiteX1" fmla="*/ 53456 w 297735"/>
                <a:gd name="connsiteY1" fmla="*/ 999186 h 1029139"/>
                <a:gd name="connsiteX2" fmla="*/ 45272 w 297735"/>
                <a:gd name="connsiteY2" fmla="*/ 977660 h 1029139"/>
                <a:gd name="connsiteX3" fmla="*/ 273730 w 297735"/>
                <a:gd name="connsiteY3" fmla="*/ 721492 h 1029139"/>
                <a:gd name="connsiteX4" fmla="*/ 274857 w 297735"/>
                <a:gd name="connsiteY4" fmla="*/ 718490 h 1029139"/>
                <a:gd name="connsiteX5" fmla="*/ 274857 w 297735"/>
                <a:gd name="connsiteY5" fmla="*/ 59564 h 1029139"/>
                <a:gd name="connsiteX6" fmla="*/ 297736 w 297735"/>
                <a:gd name="connsiteY6" fmla="*/ 29953 h 1029139"/>
                <a:gd name="connsiteX7" fmla="*/ 271023 w 297735"/>
                <a:gd name="connsiteY7" fmla="*/ 0 h 1029139"/>
                <a:gd name="connsiteX8" fmla="*/ 244310 w 297735"/>
                <a:gd name="connsiteY8" fmla="*/ 29953 h 1029139"/>
                <a:gd name="connsiteX9" fmla="*/ 267189 w 297735"/>
                <a:gd name="connsiteY9" fmla="*/ 59564 h 1029139"/>
                <a:gd name="connsiteX10" fmla="*/ 267189 w 297735"/>
                <a:gd name="connsiteY10" fmla="*/ 716716 h 1029139"/>
                <a:gd name="connsiteX11" fmla="*/ 38974 w 297735"/>
                <a:gd name="connsiteY11" fmla="*/ 972611 h 1029139"/>
                <a:gd name="connsiteX12" fmla="*/ 26713 w 297735"/>
                <a:gd name="connsiteY12" fmla="*/ 969233 h 1029139"/>
                <a:gd name="connsiteX13" fmla="*/ 0 w 297735"/>
                <a:gd name="connsiteY13" fmla="*/ 999186 h 1029139"/>
                <a:gd name="connsiteX14" fmla="*/ 26713 w 297735"/>
                <a:gd name="connsiteY14" fmla="*/ 1029139 h 102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7735" h="1029139">
                  <a:moveTo>
                    <a:pt x="26743" y="1029139"/>
                  </a:moveTo>
                  <a:cubicBezTo>
                    <a:pt x="41499" y="1029139"/>
                    <a:pt x="53456" y="1015732"/>
                    <a:pt x="53456" y="999186"/>
                  </a:cubicBezTo>
                  <a:cubicBezTo>
                    <a:pt x="53456" y="990726"/>
                    <a:pt x="50322" y="983118"/>
                    <a:pt x="45272" y="977660"/>
                  </a:cubicBezTo>
                  <a:lnTo>
                    <a:pt x="273730" y="721492"/>
                  </a:lnTo>
                  <a:cubicBezTo>
                    <a:pt x="274430" y="720708"/>
                    <a:pt x="274857" y="719616"/>
                    <a:pt x="274857" y="718490"/>
                  </a:cubicBezTo>
                  <a:lnTo>
                    <a:pt x="274857" y="59564"/>
                  </a:lnTo>
                  <a:cubicBezTo>
                    <a:pt x="287787" y="57483"/>
                    <a:pt x="297736" y="45031"/>
                    <a:pt x="297736" y="29953"/>
                  </a:cubicBezTo>
                  <a:cubicBezTo>
                    <a:pt x="297736" y="13407"/>
                    <a:pt x="285779" y="0"/>
                    <a:pt x="271023" y="0"/>
                  </a:cubicBezTo>
                  <a:cubicBezTo>
                    <a:pt x="256267" y="0"/>
                    <a:pt x="244310" y="13407"/>
                    <a:pt x="244310" y="29953"/>
                  </a:cubicBezTo>
                  <a:cubicBezTo>
                    <a:pt x="244310" y="45031"/>
                    <a:pt x="254259" y="57483"/>
                    <a:pt x="267189" y="59564"/>
                  </a:cubicBezTo>
                  <a:lnTo>
                    <a:pt x="267189" y="716716"/>
                  </a:lnTo>
                  <a:lnTo>
                    <a:pt x="38974" y="972611"/>
                  </a:lnTo>
                  <a:cubicBezTo>
                    <a:pt x="35293" y="970461"/>
                    <a:pt x="31124" y="969233"/>
                    <a:pt x="26713" y="969233"/>
                  </a:cubicBezTo>
                  <a:cubicBezTo>
                    <a:pt x="11957" y="969233"/>
                    <a:pt x="0" y="982641"/>
                    <a:pt x="0" y="999186"/>
                  </a:cubicBezTo>
                  <a:cubicBezTo>
                    <a:pt x="0" y="1015732"/>
                    <a:pt x="11957" y="1029139"/>
                    <a:pt x="26713" y="1029139"/>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8" name="Freeform 355">
              <a:extLst>
                <a:ext uri="{FF2B5EF4-FFF2-40B4-BE49-F238E27FC236}">
                  <a16:creationId xmlns:a16="http://schemas.microsoft.com/office/drawing/2014/main" id="{2AD06F86-2DC5-72B4-FAA9-7E265C4E3144}"/>
                </a:ext>
              </a:extLst>
            </p:cNvPr>
            <p:cNvSpPr/>
            <p:nvPr userDrawn="1"/>
          </p:nvSpPr>
          <p:spPr>
            <a:xfrm>
              <a:off x="8937140" y="3370415"/>
              <a:ext cx="304307" cy="1004269"/>
            </a:xfrm>
            <a:custGeom>
              <a:avLst/>
              <a:gdLst>
                <a:gd name="connsiteX0" fmla="*/ 26774 w 304307"/>
                <a:gd name="connsiteY0" fmla="*/ 1004269 h 1004269"/>
                <a:gd name="connsiteX1" fmla="*/ 53487 w 304307"/>
                <a:gd name="connsiteY1" fmla="*/ 974316 h 1004269"/>
                <a:gd name="connsiteX2" fmla="*/ 49653 w 304307"/>
                <a:gd name="connsiteY2" fmla="*/ 958897 h 1004269"/>
                <a:gd name="connsiteX3" fmla="*/ 280242 w 304307"/>
                <a:gd name="connsiteY3" fmla="*/ 715795 h 1004269"/>
                <a:gd name="connsiteX4" fmla="*/ 281428 w 304307"/>
                <a:gd name="connsiteY4" fmla="*/ 712691 h 1004269"/>
                <a:gd name="connsiteX5" fmla="*/ 281428 w 304307"/>
                <a:gd name="connsiteY5" fmla="*/ 59564 h 1004269"/>
                <a:gd name="connsiteX6" fmla="*/ 304307 w 304307"/>
                <a:gd name="connsiteY6" fmla="*/ 29953 h 1004269"/>
                <a:gd name="connsiteX7" fmla="*/ 277594 w 304307"/>
                <a:gd name="connsiteY7" fmla="*/ 0 h 1004269"/>
                <a:gd name="connsiteX8" fmla="*/ 250882 w 304307"/>
                <a:gd name="connsiteY8" fmla="*/ 29953 h 1004269"/>
                <a:gd name="connsiteX9" fmla="*/ 273761 w 304307"/>
                <a:gd name="connsiteY9" fmla="*/ 59564 h 1004269"/>
                <a:gd name="connsiteX10" fmla="*/ 273761 w 304307"/>
                <a:gd name="connsiteY10" fmla="*/ 710849 h 1004269"/>
                <a:gd name="connsiteX11" fmla="*/ 44755 w 304307"/>
                <a:gd name="connsiteY11" fmla="*/ 952278 h 1004269"/>
                <a:gd name="connsiteX12" fmla="*/ 26713 w 304307"/>
                <a:gd name="connsiteY12" fmla="*/ 944364 h 1004269"/>
                <a:gd name="connsiteX13" fmla="*/ 0 w 304307"/>
                <a:gd name="connsiteY13" fmla="*/ 974316 h 1004269"/>
                <a:gd name="connsiteX14" fmla="*/ 26713 w 304307"/>
                <a:gd name="connsiteY14" fmla="*/ 1004269 h 1004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4307" h="1004269">
                  <a:moveTo>
                    <a:pt x="26774" y="1004269"/>
                  </a:moveTo>
                  <a:cubicBezTo>
                    <a:pt x="41530" y="1004269"/>
                    <a:pt x="53487" y="990862"/>
                    <a:pt x="53487" y="974316"/>
                  </a:cubicBezTo>
                  <a:cubicBezTo>
                    <a:pt x="53487" y="968687"/>
                    <a:pt x="52057" y="963400"/>
                    <a:pt x="49653" y="958897"/>
                  </a:cubicBezTo>
                  <a:lnTo>
                    <a:pt x="280242" y="715795"/>
                  </a:lnTo>
                  <a:cubicBezTo>
                    <a:pt x="281002" y="714976"/>
                    <a:pt x="281428" y="713851"/>
                    <a:pt x="281428" y="712691"/>
                  </a:cubicBezTo>
                  <a:lnTo>
                    <a:pt x="281428" y="59564"/>
                  </a:lnTo>
                  <a:cubicBezTo>
                    <a:pt x="294358" y="57483"/>
                    <a:pt x="304307" y="45031"/>
                    <a:pt x="304307" y="29953"/>
                  </a:cubicBezTo>
                  <a:cubicBezTo>
                    <a:pt x="304307" y="13407"/>
                    <a:pt x="292351" y="0"/>
                    <a:pt x="277594" y="0"/>
                  </a:cubicBezTo>
                  <a:cubicBezTo>
                    <a:pt x="262839" y="0"/>
                    <a:pt x="250882" y="13407"/>
                    <a:pt x="250882" y="29953"/>
                  </a:cubicBezTo>
                  <a:cubicBezTo>
                    <a:pt x="250882" y="45031"/>
                    <a:pt x="260830" y="57483"/>
                    <a:pt x="273761" y="59564"/>
                  </a:cubicBezTo>
                  <a:lnTo>
                    <a:pt x="273761" y="710849"/>
                  </a:lnTo>
                  <a:lnTo>
                    <a:pt x="44755" y="952278"/>
                  </a:lnTo>
                  <a:cubicBezTo>
                    <a:pt x="40009" y="947400"/>
                    <a:pt x="33680" y="944364"/>
                    <a:pt x="26713" y="944364"/>
                  </a:cubicBezTo>
                  <a:cubicBezTo>
                    <a:pt x="11957" y="944364"/>
                    <a:pt x="0" y="957771"/>
                    <a:pt x="0" y="974316"/>
                  </a:cubicBezTo>
                  <a:cubicBezTo>
                    <a:pt x="0" y="990862"/>
                    <a:pt x="11957" y="1004269"/>
                    <a:pt x="26713" y="1004269"/>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9" name="Freeform 356">
              <a:extLst>
                <a:ext uri="{FF2B5EF4-FFF2-40B4-BE49-F238E27FC236}">
                  <a16:creationId xmlns:a16="http://schemas.microsoft.com/office/drawing/2014/main" id="{6CAFD98A-129E-206C-817D-5334A16BD2F6}"/>
                </a:ext>
              </a:extLst>
            </p:cNvPr>
            <p:cNvSpPr/>
            <p:nvPr userDrawn="1"/>
          </p:nvSpPr>
          <p:spPr>
            <a:xfrm>
              <a:off x="8316995" y="4759634"/>
              <a:ext cx="1565986" cy="1135884"/>
            </a:xfrm>
            <a:custGeom>
              <a:avLst/>
              <a:gdLst>
                <a:gd name="connsiteX0" fmla="*/ 0 w 1565986"/>
                <a:gd name="connsiteY0" fmla="*/ 1105931 h 1135884"/>
                <a:gd name="connsiteX1" fmla="*/ 26712 w 1565986"/>
                <a:gd name="connsiteY1" fmla="*/ 1135884 h 1135884"/>
                <a:gd name="connsiteX2" fmla="*/ 53425 w 1565986"/>
                <a:gd name="connsiteY2" fmla="*/ 1105931 h 1135884"/>
                <a:gd name="connsiteX3" fmla="*/ 30546 w 1565986"/>
                <a:gd name="connsiteY3" fmla="*/ 1076320 h 1135884"/>
                <a:gd name="connsiteX4" fmla="*/ 30546 w 1565986"/>
                <a:gd name="connsiteY4" fmla="*/ 693450 h 1135884"/>
                <a:gd name="connsiteX5" fmla="*/ 641351 w 1565986"/>
                <a:gd name="connsiteY5" fmla="*/ 8563 h 1135884"/>
                <a:gd name="connsiteX6" fmla="*/ 1102894 w 1565986"/>
                <a:gd name="connsiteY6" fmla="*/ 8563 h 1135884"/>
                <a:gd name="connsiteX7" fmla="*/ 1520502 w 1565986"/>
                <a:gd name="connsiteY7" fmla="*/ 476822 h 1135884"/>
                <a:gd name="connsiteX8" fmla="*/ 1512561 w 1565986"/>
                <a:gd name="connsiteY8" fmla="*/ 498109 h 1135884"/>
                <a:gd name="connsiteX9" fmla="*/ 1539274 w 1565986"/>
                <a:gd name="connsiteY9" fmla="*/ 528062 h 1135884"/>
                <a:gd name="connsiteX10" fmla="*/ 1565987 w 1565986"/>
                <a:gd name="connsiteY10" fmla="*/ 498109 h 1135884"/>
                <a:gd name="connsiteX11" fmla="*/ 1539274 w 1565986"/>
                <a:gd name="connsiteY11" fmla="*/ 468156 h 1135884"/>
                <a:gd name="connsiteX12" fmla="*/ 1526739 w 1565986"/>
                <a:gd name="connsiteY12" fmla="*/ 471670 h 1135884"/>
                <a:gd name="connsiteX13" fmla="*/ 1107214 w 1565986"/>
                <a:gd name="connsiteY13" fmla="*/ 1262 h 1135884"/>
                <a:gd name="connsiteX14" fmla="*/ 1104505 w 1565986"/>
                <a:gd name="connsiteY14" fmla="*/ 0 h 1135884"/>
                <a:gd name="connsiteX15" fmla="*/ 639830 w 1565986"/>
                <a:gd name="connsiteY15" fmla="*/ 0 h 1135884"/>
                <a:gd name="connsiteX16" fmla="*/ 637122 w 1565986"/>
                <a:gd name="connsiteY16" fmla="*/ 1262 h 1135884"/>
                <a:gd name="connsiteX17" fmla="*/ 24096 w 1565986"/>
                <a:gd name="connsiteY17" fmla="*/ 688640 h 1135884"/>
                <a:gd name="connsiteX18" fmla="*/ 22970 w 1565986"/>
                <a:gd name="connsiteY18" fmla="*/ 691642 h 1135884"/>
                <a:gd name="connsiteX19" fmla="*/ 22970 w 1565986"/>
                <a:gd name="connsiteY19" fmla="*/ 1076285 h 1135884"/>
                <a:gd name="connsiteX20" fmla="*/ 91 w 1565986"/>
                <a:gd name="connsiteY20" fmla="*/ 1105897 h 113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65986" h="1135884">
                  <a:moveTo>
                    <a:pt x="0" y="1105931"/>
                  </a:moveTo>
                  <a:cubicBezTo>
                    <a:pt x="0" y="1122477"/>
                    <a:pt x="11957" y="1135884"/>
                    <a:pt x="26712" y="1135884"/>
                  </a:cubicBezTo>
                  <a:cubicBezTo>
                    <a:pt x="41468" y="1135884"/>
                    <a:pt x="53425" y="1122477"/>
                    <a:pt x="53425" y="1105931"/>
                  </a:cubicBezTo>
                  <a:cubicBezTo>
                    <a:pt x="53425" y="1090853"/>
                    <a:pt x="43476" y="1078401"/>
                    <a:pt x="30546" y="1076320"/>
                  </a:cubicBezTo>
                  <a:lnTo>
                    <a:pt x="30546" y="693450"/>
                  </a:lnTo>
                  <a:lnTo>
                    <a:pt x="641351" y="8563"/>
                  </a:lnTo>
                  <a:lnTo>
                    <a:pt x="1102894" y="8563"/>
                  </a:lnTo>
                  <a:lnTo>
                    <a:pt x="1520502" y="476822"/>
                  </a:lnTo>
                  <a:cubicBezTo>
                    <a:pt x="1515604" y="482246"/>
                    <a:pt x="1512561" y="489785"/>
                    <a:pt x="1512561" y="498109"/>
                  </a:cubicBezTo>
                  <a:cubicBezTo>
                    <a:pt x="1512561" y="514655"/>
                    <a:pt x="1524518" y="528062"/>
                    <a:pt x="1539274" y="528062"/>
                  </a:cubicBezTo>
                  <a:cubicBezTo>
                    <a:pt x="1554030" y="528062"/>
                    <a:pt x="1565987" y="514655"/>
                    <a:pt x="1565987" y="498109"/>
                  </a:cubicBezTo>
                  <a:cubicBezTo>
                    <a:pt x="1565987" y="481564"/>
                    <a:pt x="1554030" y="468156"/>
                    <a:pt x="1539274" y="468156"/>
                  </a:cubicBezTo>
                  <a:cubicBezTo>
                    <a:pt x="1534741" y="468156"/>
                    <a:pt x="1530481" y="469419"/>
                    <a:pt x="1526739" y="471670"/>
                  </a:cubicBezTo>
                  <a:lnTo>
                    <a:pt x="1107214" y="1262"/>
                  </a:lnTo>
                  <a:cubicBezTo>
                    <a:pt x="1106514" y="478"/>
                    <a:pt x="1105540" y="0"/>
                    <a:pt x="1104505" y="0"/>
                  </a:cubicBezTo>
                  <a:lnTo>
                    <a:pt x="639830" y="0"/>
                  </a:lnTo>
                  <a:cubicBezTo>
                    <a:pt x="638826" y="0"/>
                    <a:pt x="637852" y="444"/>
                    <a:pt x="637122" y="1262"/>
                  </a:cubicBezTo>
                  <a:lnTo>
                    <a:pt x="24096" y="688640"/>
                  </a:lnTo>
                  <a:cubicBezTo>
                    <a:pt x="23396" y="689425"/>
                    <a:pt x="22970" y="690516"/>
                    <a:pt x="22970" y="691642"/>
                  </a:cubicBezTo>
                  <a:lnTo>
                    <a:pt x="22970" y="1076285"/>
                  </a:lnTo>
                  <a:cubicBezTo>
                    <a:pt x="10040" y="1078366"/>
                    <a:pt x="91" y="1090818"/>
                    <a:pt x="91" y="1105897"/>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0" name="Freeform 357">
              <a:extLst>
                <a:ext uri="{FF2B5EF4-FFF2-40B4-BE49-F238E27FC236}">
                  <a16:creationId xmlns:a16="http://schemas.microsoft.com/office/drawing/2014/main" id="{7271B582-BC7C-E070-BBBD-5D079D1AAD3E}"/>
                </a:ext>
              </a:extLst>
            </p:cNvPr>
            <p:cNvSpPr/>
            <p:nvPr userDrawn="1"/>
          </p:nvSpPr>
          <p:spPr>
            <a:xfrm>
              <a:off x="11276309" y="4337363"/>
              <a:ext cx="329499" cy="1344597"/>
            </a:xfrm>
            <a:custGeom>
              <a:avLst/>
              <a:gdLst>
                <a:gd name="connsiteX0" fmla="*/ 1064 w 329499"/>
                <a:gd name="connsiteY0" fmla="*/ 980423 h 1344597"/>
                <a:gd name="connsiteX1" fmla="*/ 282158 w 329499"/>
                <a:gd name="connsiteY1" fmla="*/ 1295609 h 1344597"/>
                <a:gd name="connsiteX2" fmla="*/ 276073 w 329499"/>
                <a:gd name="connsiteY2" fmla="*/ 1314645 h 1344597"/>
                <a:gd name="connsiteX3" fmla="*/ 302786 w 329499"/>
                <a:gd name="connsiteY3" fmla="*/ 1344597 h 1344597"/>
                <a:gd name="connsiteX4" fmla="*/ 329499 w 329499"/>
                <a:gd name="connsiteY4" fmla="*/ 1314645 h 1344597"/>
                <a:gd name="connsiteX5" fmla="*/ 302786 w 329499"/>
                <a:gd name="connsiteY5" fmla="*/ 1284692 h 1344597"/>
                <a:gd name="connsiteX6" fmla="*/ 287817 w 329499"/>
                <a:gd name="connsiteY6" fmla="*/ 1289844 h 1344597"/>
                <a:gd name="connsiteX7" fmla="*/ 7606 w 329499"/>
                <a:gd name="connsiteY7" fmla="*/ 975647 h 1344597"/>
                <a:gd name="connsiteX8" fmla="*/ 7606 w 329499"/>
                <a:gd name="connsiteY8" fmla="*/ 0 h 1344597"/>
                <a:gd name="connsiteX9" fmla="*/ 0 w 329499"/>
                <a:gd name="connsiteY9" fmla="*/ 0 h 1344597"/>
                <a:gd name="connsiteX10" fmla="*/ 0 w 329499"/>
                <a:gd name="connsiteY10" fmla="*/ 977421 h 1344597"/>
                <a:gd name="connsiteX11" fmla="*/ 1125 w 329499"/>
                <a:gd name="connsiteY11" fmla="*/ 980457 h 134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99" h="1344597">
                  <a:moveTo>
                    <a:pt x="1064" y="980423"/>
                  </a:moveTo>
                  <a:lnTo>
                    <a:pt x="282158" y="1295609"/>
                  </a:lnTo>
                  <a:cubicBezTo>
                    <a:pt x="278355" y="1300794"/>
                    <a:pt x="276073" y="1307413"/>
                    <a:pt x="276073" y="1314645"/>
                  </a:cubicBezTo>
                  <a:cubicBezTo>
                    <a:pt x="276073" y="1331191"/>
                    <a:pt x="288030" y="1344597"/>
                    <a:pt x="302786" y="1344597"/>
                  </a:cubicBezTo>
                  <a:cubicBezTo>
                    <a:pt x="317542" y="1344597"/>
                    <a:pt x="329499" y="1331191"/>
                    <a:pt x="329499" y="1314645"/>
                  </a:cubicBezTo>
                  <a:cubicBezTo>
                    <a:pt x="329499" y="1298099"/>
                    <a:pt x="317542" y="1284692"/>
                    <a:pt x="302786" y="1284692"/>
                  </a:cubicBezTo>
                  <a:cubicBezTo>
                    <a:pt x="297218" y="1284692"/>
                    <a:pt x="292077" y="1286602"/>
                    <a:pt x="287817" y="1289844"/>
                  </a:cubicBezTo>
                  <a:lnTo>
                    <a:pt x="7606" y="975647"/>
                  </a:lnTo>
                  <a:lnTo>
                    <a:pt x="7606" y="0"/>
                  </a:lnTo>
                  <a:lnTo>
                    <a:pt x="0" y="0"/>
                  </a:lnTo>
                  <a:lnTo>
                    <a:pt x="0" y="977421"/>
                  </a:lnTo>
                  <a:cubicBezTo>
                    <a:pt x="0" y="978547"/>
                    <a:pt x="395" y="979638"/>
                    <a:pt x="1125" y="980457"/>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358">
              <a:extLst>
                <a:ext uri="{FF2B5EF4-FFF2-40B4-BE49-F238E27FC236}">
                  <a16:creationId xmlns:a16="http://schemas.microsoft.com/office/drawing/2014/main" id="{C48D134E-D038-F50C-C394-16D8ACE3EDF2}"/>
                </a:ext>
              </a:extLst>
            </p:cNvPr>
            <p:cNvSpPr/>
            <p:nvPr userDrawn="1"/>
          </p:nvSpPr>
          <p:spPr>
            <a:xfrm>
              <a:off x="11334329" y="5118726"/>
              <a:ext cx="683672" cy="177294"/>
            </a:xfrm>
            <a:custGeom>
              <a:avLst/>
              <a:gdLst>
                <a:gd name="connsiteX0" fmla="*/ 26773 w 683672"/>
                <a:gd name="connsiteY0" fmla="*/ 59906 h 177294"/>
                <a:gd name="connsiteX1" fmla="*/ 42746 w 683672"/>
                <a:gd name="connsiteY1" fmla="*/ 53901 h 177294"/>
                <a:gd name="connsiteX2" fmla="*/ 151666 w 683672"/>
                <a:gd name="connsiteY2" fmla="*/ 176032 h 177294"/>
                <a:gd name="connsiteX3" fmla="*/ 154344 w 683672"/>
                <a:gd name="connsiteY3" fmla="*/ 177294 h 177294"/>
                <a:gd name="connsiteX4" fmla="*/ 584944 w 683672"/>
                <a:gd name="connsiteY4" fmla="*/ 177294 h 177294"/>
                <a:gd name="connsiteX5" fmla="*/ 587621 w 683672"/>
                <a:gd name="connsiteY5" fmla="*/ 176032 h 177294"/>
                <a:gd name="connsiteX6" fmla="*/ 642233 w 683672"/>
                <a:gd name="connsiteY6" fmla="*/ 114796 h 177294"/>
                <a:gd name="connsiteX7" fmla="*/ 656959 w 683672"/>
                <a:gd name="connsiteY7" fmla="*/ 119777 h 177294"/>
                <a:gd name="connsiteX8" fmla="*/ 683672 w 683672"/>
                <a:gd name="connsiteY8" fmla="*/ 89824 h 177294"/>
                <a:gd name="connsiteX9" fmla="*/ 656959 w 683672"/>
                <a:gd name="connsiteY9" fmla="*/ 59872 h 177294"/>
                <a:gd name="connsiteX10" fmla="*/ 630246 w 683672"/>
                <a:gd name="connsiteY10" fmla="*/ 89824 h 177294"/>
                <a:gd name="connsiteX11" fmla="*/ 636514 w 683672"/>
                <a:gd name="connsiteY11" fmla="*/ 109099 h 177294"/>
                <a:gd name="connsiteX12" fmla="*/ 583332 w 683672"/>
                <a:gd name="connsiteY12" fmla="*/ 168732 h 177294"/>
                <a:gd name="connsiteX13" fmla="*/ 155865 w 683672"/>
                <a:gd name="connsiteY13" fmla="*/ 168732 h 177294"/>
                <a:gd name="connsiteX14" fmla="*/ 48070 w 683672"/>
                <a:gd name="connsiteY14" fmla="*/ 47863 h 177294"/>
                <a:gd name="connsiteX15" fmla="*/ 53425 w 683672"/>
                <a:gd name="connsiteY15" fmla="*/ 29953 h 177294"/>
                <a:gd name="connsiteX16" fmla="*/ 26712 w 683672"/>
                <a:gd name="connsiteY16" fmla="*/ 0 h 177294"/>
                <a:gd name="connsiteX17" fmla="*/ 0 w 683672"/>
                <a:gd name="connsiteY17" fmla="*/ 29953 h 177294"/>
                <a:gd name="connsiteX18" fmla="*/ 26712 w 683672"/>
                <a:gd name="connsiteY18" fmla="*/ 59906 h 17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3672" h="177294">
                  <a:moveTo>
                    <a:pt x="26773" y="59906"/>
                  </a:moveTo>
                  <a:cubicBezTo>
                    <a:pt x="32767" y="59906"/>
                    <a:pt x="38304" y="57654"/>
                    <a:pt x="42746" y="53901"/>
                  </a:cubicBezTo>
                  <a:lnTo>
                    <a:pt x="151666" y="176032"/>
                  </a:lnTo>
                  <a:cubicBezTo>
                    <a:pt x="152366" y="176817"/>
                    <a:pt x="153340" y="177294"/>
                    <a:pt x="154344" y="177294"/>
                  </a:cubicBezTo>
                  <a:lnTo>
                    <a:pt x="584944" y="177294"/>
                  </a:lnTo>
                  <a:cubicBezTo>
                    <a:pt x="585948" y="177294"/>
                    <a:pt x="586922" y="176851"/>
                    <a:pt x="587621" y="176032"/>
                  </a:cubicBezTo>
                  <a:lnTo>
                    <a:pt x="642233" y="114796"/>
                  </a:lnTo>
                  <a:cubicBezTo>
                    <a:pt x="646463" y="117935"/>
                    <a:pt x="651513" y="119777"/>
                    <a:pt x="656959" y="119777"/>
                  </a:cubicBezTo>
                  <a:cubicBezTo>
                    <a:pt x="671715" y="119777"/>
                    <a:pt x="683672" y="106370"/>
                    <a:pt x="683672" y="89824"/>
                  </a:cubicBezTo>
                  <a:cubicBezTo>
                    <a:pt x="683672" y="73278"/>
                    <a:pt x="671715" y="59872"/>
                    <a:pt x="656959" y="59872"/>
                  </a:cubicBezTo>
                  <a:cubicBezTo>
                    <a:pt x="642203" y="59872"/>
                    <a:pt x="630246" y="73278"/>
                    <a:pt x="630246" y="89824"/>
                  </a:cubicBezTo>
                  <a:cubicBezTo>
                    <a:pt x="630246" y="97159"/>
                    <a:pt x="632620" y="103880"/>
                    <a:pt x="636514" y="109099"/>
                  </a:cubicBezTo>
                  <a:lnTo>
                    <a:pt x="583332" y="168732"/>
                  </a:lnTo>
                  <a:lnTo>
                    <a:pt x="155865" y="168732"/>
                  </a:lnTo>
                  <a:lnTo>
                    <a:pt x="48070" y="47863"/>
                  </a:lnTo>
                  <a:cubicBezTo>
                    <a:pt x="51417" y="42848"/>
                    <a:pt x="53425" y="36673"/>
                    <a:pt x="53425" y="29953"/>
                  </a:cubicBezTo>
                  <a:cubicBezTo>
                    <a:pt x="53425" y="13407"/>
                    <a:pt x="41468" y="0"/>
                    <a:pt x="26712" y="0"/>
                  </a:cubicBezTo>
                  <a:cubicBezTo>
                    <a:pt x="11957" y="0"/>
                    <a:pt x="0" y="13407"/>
                    <a:pt x="0" y="29953"/>
                  </a:cubicBezTo>
                  <a:cubicBezTo>
                    <a:pt x="0" y="46498"/>
                    <a:pt x="11957" y="59906"/>
                    <a:pt x="26712" y="5990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2" name="Freeform 359">
              <a:extLst>
                <a:ext uri="{FF2B5EF4-FFF2-40B4-BE49-F238E27FC236}">
                  <a16:creationId xmlns:a16="http://schemas.microsoft.com/office/drawing/2014/main" id="{0F65B256-4153-7F96-C7B5-B0FFE434AF7D}"/>
                </a:ext>
              </a:extLst>
            </p:cNvPr>
            <p:cNvSpPr/>
            <p:nvPr userDrawn="1"/>
          </p:nvSpPr>
          <p:spPr>
            <a:xfrm>
              <a:off x="10130821" y="5368991"/>
              <a:ext cx="1110408" cy="466996"/>
            </a:xfrm>
            <a:custGeom>
              <a:avLst/>
              <a:gdLst>
                <a:gd name="connsiteX0" fmla="*/ 26713 w 1110408"/>
                <a:gd name="connsiteY0" fmla="*/ 466962 h 466996"/>
                <a:gd name="connsiteX1" fmla="*/ 53121 w 1110408"/>
                <a:gd name="connsiteY1" fmla="*/ 441308 h 466996"/>
                <a:gd name="connsiteX2" fmla="*/ 720668 w 1110408"/>
                <a:gd name="connsiteY2" fmla="*/ 441308 h 466996"/>
                <a:gd name="connsiteX3" fmla="*/ 723346 w 1110408"/>
                <a:gd name="connsiteY3" fmla="*/ 440046 h 466996"/>
                <a:gd name="connsiteX4" fmla="*/ 1067722 w 1110408"/>
                <a:gd name="connsiteY4" fmla="*/ 53901 h 466996"/>
                <a:gd name="connsiteX5" fmla="*/ 1083695 w 1110408"/>
                <a:gd name="connsiteY5" fmla="*/ 59906 h 466996"/>
                <a:gd name="connsiteX6" fmla="*/ 1110408 w 1110408"/>
                <a:gd name="connsiteY6" fmla="*/ 29953 h 466996"/>
                <a:gd name="connsiteX7" fmla="*/ 1083695 w 1110408"/>
                <a:gd name="connsiteY7" fmla="*/ 0 h 466996"/>
                <a:gd name="connsiteX8" fmla="*/ 1056982 w 1110408"/>
                <a:gd name="connsiteY8" fmla="*/ 29953 h 466996"/>
                <a:gd name="connsiteX9" fmla="*/ 1062337 w 1110408"/>
                <a:gd name="connsiteY9" fmla="*/ 47863 h 466996"/>
                <a:gd name="connsiteX10" fmla="*/ 719086 w 1110408"/>
                <a:gd name="connsiteY10" fmla="*/ 432746 h 466996"/>
                <a:gd name="connsiteX11" fmla="*/ 53121 w 1110408"/>
                <a:gd name="connsiteY11" fmla="*/ 432746 h 466996"/>
                <a:gd name="connsiteX12" fmla="*/ 26713 w 1110408"/>
                <a:gd name="connsiteY12" fmla="*/ 407091 h 466996"/>
                <a:gd name="connsiteX13" fmla="*/ 0 w 1110408"/>
                <a:gd name="connsiteY13" fmla="*/ 437044 h 466996"/>
                <a:gd name="connsiteX14" fmla="*/ 26713 w 1110408"/>
                <a:gd name="connsiteY14" fmla="*/ 466997 h 466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10408" h="466996">
                  <a:moveTo>
                    <a:pt x="26713" y="466962"/>
                  </a:moveTo>
                  <a:cubicBezTo>
                    <a:pt x="40160" y="466962"/>
                    <a:pt x="51265" y="455807"/>
                    <a:pt x="53121" y="441308"/>
                  </a:cubicBezTo>
                  <a:lnTo>
                    <a:pt x="720668" y="441308"/>
                  </a:lnTo>
                  <a:cubicBezTo>
                    <a:pt x="721673" y="441308"/>
                    <a:pt x="722646" y="440865"/>
                    <a:pt x="723346" y="440046"/>
                  </a:cubicBezTo>
                  <a:lnTo>
                    <a:pt x="1067722" y="53901"/>
                  </a:lnTo>
                  <a:cubicBezTo>
                    <a:pt x="1072195" y="57654"/>
                    <a:pt x="1077702" y="59906"/>
                    <a:pt x="1083695" y="59906"/>
                  </a:cubicBezTo>
                  <a:cubicBezTo>
                    <a:pt x="1098452" y="59906"/>
                    <a:pt x="1110408" y="46498"/>
                    <a:pt x="1110408" y="29953"/>
                  </a:cubicBezTo>
                  <a:cubicBezTo>
                    <a:pt x="1110408" y="13407"/>
                    <a:pt x="1098452" y="0"/>
                    <a:pt x="1083695" y="0"/>
                  </a:cubicBezTo>
                  <a:cubicBezTo>
                    <a:pt x="1068940" y="0"/>
                    <a:pt x="1056982" y="13407"/>
                    <a:pt x="1056982" y="29953"/>
                  </a:cubicBezTo>
                  <a:cubicBezTo>
                    <a:pt x="1056982" y="36673"/>
                    <a:pt x="1058991" y="42882"/>
                    <a:pt x="1062337" y="47863"/>
                  </a:cubicBezTo>
                  <a:lnTo>
                    <a:pt x="719086" y="432746"/>
                  </a:lnTo>
                  <a:lnTo>
                    <a:pt x="53121" y="432746"/>
                  </a:lnTo>
                  <a:cubicBezTo>
                    <a:pt x="51265" y="418247"/>
                    <a:pt x="40160" y="407091"/>
                    <a:pt x="26713" y="407091"/>
                  </a:cubicBezTo>
                  <a:cubicBezTo>
                    <a:pt x="11957" y="407091"/>
                    <a:pt x="0" y="420498"/>
                    <a:pt x="0" y="437044"/>
                  </a:cubicBezTo>
                  <a:cubicBezTo>
                    <a:pt x="0" y="453590"/>
                    <a:pt x="11957" y="466997"/>
                    <a:pt x="26713" y="466997"/>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3" name="Freeform 360">
              <a:extLst>
                <a:ext uri="{FF2B5EF4-FFF2-40B4-BE49-F238E27FC236}">
                  <a16:creationId xmlns:a16="http://schemas.microsoft.com/office/drawing/2014/main" id="{267672C2-4533-E8F0-7729-0E2D9A994FE6}"/>
                </a:ext>
              </a:extLst>
            </p:cNvPr>
            <p:cNvSpPr/>
            <p:nvPr userDrawn="1"/>
          </p:nvSpPr>
          <p:spPr>
            <a:xfrm>
              <a:off x="9203143" y="4873134"/>
              <a:ext cx="1944712" cy="759120"/>
            </a:xfrm>
            <a:custGeom>
              <a:avLst/>
              <a:gdLst>
                <a:gd name="connsiteX0" fmla="*/ 22909 w 1944712"/>
                <a:gd name="connsiteY0" fmla="*/ 59632 h 759120"/>
                <a:gd name="connsiteX1" fmla="*/ 22909 w 1944712"/>
                <a:gd name="connsiteY1" fmla="*/ 153550 h 759120"/>
                <a:gd name="connsiteX2" fmla="*/ 24035 w 1944712"/>
                <a:gd name="connsiteY2" fmla="*/ 156553 h 759120"/>
                <a:gd name="connsiteX3" fmla="*/ 560300 w 1944712"/>
                <a:gd name="connsiteY3" fmla="*/ 757859 h 759120"/>
                <a:gd name="connsiteX4" fmla="*/ 563008 w 1944712"/>
                <a:gd name="connsiteY4" fmla="*/ 759121 h 759120"/>
                <a:gd name="connsiteX5" fmla="*/ 1561605 w 1944712"/>
                <a:gd name="connsiteY5" fmla="*/ 759121 h 759120"/>
                <a:gd name="connsiteX6" fmla="*/ 1564313 w 1944712"/>
                <a:gd name="connsiteY6" fmla="*/ 757859 h 759120"/>
                <a:gd name="connsiteX7" fmla="*/ 1900840 w 1944712"/>
                <a:gd name="connsiteY7" fmla="*/ 380516 h 759120"/>
                <a:gd name="connsiteX8" fmla="*/ 1918000 w 1944712"/>
                <a:gd name="connsiteY8" fmla="*/ 387543 h 759120"/>
                <a:gd name="connsiteX9" fmla="*/ 1944713 w 1944712"/>
                <a:gd name="connsiteY9" fmla="*/ 357591 h 759120"/>
                <a:gd name="connsiteX10" fmla="*/ 1918000 w 1944712"/>
                <a:gd name="connsiteY10" fmla="*/ 327638 h 759120"/>
                <a:gd name="connsiteX11" fmla="*/ 1891287 w 1944712"/>
                <a:gd name="connsiteY11" fmla="*/ 357591 h 759120"/>
                <a:gd name="connsiteX12" fmla="*/ 1895759 w 1944712"/>
                <a:gd name="connsiteY12" fmla="*/ 374136 h 759120"/>
                <a:gd name="connsiteX13" fmla="*/ 1560054 w 1944712"/>
                <a:gd name="connsiteY13" fmla="*/ 750558 h 759120"/>
                <a:gd name="connsiteX14" fmla="*/ 564590 w 1944712"/>
                <a:gd name="connsiteY14" fmla="*/ 750558 h 759120"/>
                <a:gd name="connsiteX15" fmla="*/ 30546 w 1944712"/>
                <a:gd name="connsiteY15" fmla="*/ 151742 h 759120"/>
                <a:gd name="connsiteX16" fmla="*/ 30546 w 1944712"/>
                <a:gd name="connsiteY16" fmla="*/ 59564 h 759120"/>
                <a:gd name="connsiteX17" fmla="*/ 53425 w 1944712"/>
                <a:gd name="connsiteY17" fmla="*/ 29953 h 759120"/>
                <a:gd name="connsiteX18" fmla="*/ 26712 w 1944712"/>
                <a:gd name="connsiteY18" fmla="*/ 0 h 759120"/>
                <a:gd name="connsiteX19" fmla="*/ 0 w 1944712"/>
                <a:gd name="connsiteY19" fmla="*/ 29953 h 759120"/>
                <a:gd name="connsiteX20" fmla="*/ 22879 w 1944712"/>
                <a:gd name="connsiteY20" fmla="*/ 59564 h 75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44712" h="759120">
                  <a:moveTo>
                    <a:pt x="22909" y="59632"/>
                  </a:moveTo>
                  <a:lnTo>
                    <a:pt x="22909" y="153550"/>
                  </a:lnTo>
                  <a:cubicBezTo>
                    <a:pt x="22909" y="154676"/>
                    <a:pt x="23305" y="155768"/>
                    <a:pt x="24035" y="156553"/>
                  </a:cubicBezTo>
                  <a:lnTo>
                    <a:pt x="560300" y="757859"/>
                  </a:lnTo>
                  <a:cubicBezTo>
                    <a:pt x="561000" y="758643"/>
                    <a:pt x="561974" y="759121"/>
                    <a:pt x="563008" y="759121"/>
                  </a:cubicBezTo>
                  <a:lnTo>
                    <a:pt x="1561605" y="759121"/>
                  </a:lnTo>
                  <a:cubicBezTo>
                    <a:pt x="1562610" y="759121"/>
                    <a:pt x="1563583" y="758677"/>
                    <a:pt x="1564313" y="757859"/>
                  </a:cubicBezTo>
                  <a:lnTo>
                    <a:pt x="1900840" y="380516"/>
                  </a:lnTo>
                  <a:cubicBezTo>
                    <a:pt x="1905495" y="384883"/>
                    <a:pt x="1911458" y="387543"/>
                    <a:pt x="1918000" y="387543"/>
                  </a:cubicBezTo>
                  <a:cubicBezTo>
                    <a:pt x="1932756" y="387543"/>
                    <a:pt x="1944713" y="374136"/>
                    <a:pt x="1944713" y="357591"/>
                  </a:cubicBezTo>
                  <a:cubicBezTo>
                    <a:pt x="1944713" y="341045"/>
                    <a:pt x="1932756" y="327638"/>
                    <a:pt x="1918000" y="327638"/>
                  </a:cubicBezTo>
                  <a:cubicBezTo>
                    <a:pt x="1903244" y="327638"/>
                    <a:pt x="1891287" y="341045"/>
                    <a:pt x="1891287" y="357591"/>
                  </a:cubicBezTo>
                  <a:cubicBezTo>
                    <a:pt x="1891287" y="363697"/>
                    <a:pt x="1892930" y="369394"/>
                    <a:pt x="1895759" y="374136"/>
                  </a:cubicBezTo>
                  <a:lnTo>
                    <a:pt x="1560054" y="750558"/>
                  </a:lnTo>
                  <a:lnTo>
                    <a:pt x="564590" y="750558"/>
                  </a:lnTo>
                  <a:lnTo>
                    <a:pt x="30546" y="151742"/>
                  </a:lnTo>
                  <a:lnTo>
                    <a:pt x="30546" y="59564"/>
                  </a:lnTo>
                  <a:cubicBezTo>
                    <a:pt x="43476" y="57483"/>
                    <a:pt x="53425" y="45032"/>
                    <a:pt x="53425" y="29953"/>
                  </a:cubicBezTo>
                  <a:cubicBezTo>
                    <a:pt x="53425" y="13407"/>
                    <a:pt x="41468" y="0"/>
                    <a:pt x="26712" y="0"/>
                  </a:cubicBezTo>
                  <a:cubicBezTo>
                    <a:pt x="11957" y="0"/>
                    <a:pt x="0" y="13407"/>
                    <a:pt x="0" y="29953"/>
                  </a:cubicBezTo>
                  <a:cubicBezTo>
                    <a:pt x="0" y="45032"/>
                    <a:pt x="9948" y="57483"/>
                    <a:pt x="22879" y="59564"/>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4" name="Freeform 361">
              <a:extLst>
                <a:ext uri="{FF2B5EF4-FFF2-40B4-BE49-F238E27FC236}">
                  <a16:creationId xmlns:a16="http://schemas.microsoft.com/office/drawing/2014/main" id="{832D7232-7F93-BF6B-A601-19B55B466142}"/>
                </a:ext>
              </a:extLst>
            </p:cNvPr>
            <p:cNvSpPr/>
            <p:nvPr userDrawn="1"/>
          </p:nvSpPr>
          <p:spPr>
            <a:xfrm>
              <a:off x="8619324" y="5294690"/>
              <a:ext cx="1266912" cy="856040"/>
            </a:xfrm>
            <a:custGeom>
              <a:avLst/>
              <a:gdLst>
                <a:gd name="connsiteX0" fmla="*/ 26682 w 1266912"/>
                <a:gd name="connsiteY0" fmla="*/ 395117 h 856040"/>
                <a:gd name="connsiteX1" fmla="*/ 53395 w 1266912"/>
                <a:gd name="connsiteY1" fmla="*/ 365164 h 856040"/>
                <a:gd name="connsiteX2" fmla="*/ 48893 w 1266912"/>
                <a:gd name="connsiteY2" fmla="*/ 348550 h 856040"/>
                <a:gd name="connsiteX3" fmla="*/ 352104 w 1266912"/>
                <a:gd name="connsiteY3" fmla="*/ 8562 h 856040"/>
                <a:gd name="connsiteX4" fmla="*/ 501946 w 1266912"/>
                <a:gd name="connsiteY4" fmla="*/ 8562 h 856040"/>
                <a:gd name="connsiteX5" fmla="*/ 1217321 w 1266912"/>
                <a:gd name="connsiteY5" fmla="*/ 810702 h 856040"/>
                <a:gd name="connsiteX6" fmla="*/ 1213487 w 1266912"/>
                <a:gd name="connsiteY6" fmla="*/ 826088 h 856040"/>
                <a:gd name="connsiteX7" fmla="*/ 1240200 w 1266912"/>
                <a:gd name="connsiteY7" fmla="*/ 856041 h 856040"/>
                <a:gd name="connsiteX8" fmla="*/ 1266913 w 1266912"/>
                <a:gd name="connsiteY8" fmla="*/ 826088 h 856040"/>
                <a:gd name="connsiteX9" fmla="*/ 1240200 w 1266912"/>
                <a:gd name="connsiteY9" fmla="*/ 796135 h 856040"/>
                <a:gd name="connsiteX10" fmla="*/ 1222158 w 1266912"/>
                <a:gd name="connsiteY10" fmla="*/ 804050 h 856040"/>
                <a:gd name="connsiteX11" fmla="*/ 506206 w 1266912"/>
                <a:gd name="connsiteY11" fmla="*/ 1262 h 856040"/>
                <a:gd name="connsiteX12" fmla="*/ 503528 w 1266912"/>
                <a:gd name="connsiteY12" fmla="*/ 0 h 856040"/>
                <a:gd name="connsiteX13" fmla="*/ 350553 w 1266912"/>
                <a:gd name="connsiteY13" fmla="*/ 0 h 856040"/>
                <a:gd name="connsiteX14" fmla="*/ 347876 w 1266912"/>
                <a:gd name="connsiteY14" fmla="*/ 1262 h 856040"/>
                <a:gd name="connsiteX15" fmla="*/ 43811 w 1266912"/>
                <a:gd name="connsiteY15" fmla="*/ 342205 h 856040"/>
                <a:gd name="connsiteX16" fmla="*/ 26713 w 1266912"/>
                <a:gd name="connsiteY16" fmla="*/ 335245 h 856040"/>
                <a:gd name="connsiteX17" fmla="*/ 0 w 1266912"/>
                <a:gd name="connsiteY17" fmla="*/ 365198 h 856040"/>
                <a:gd name="connsiteX18" fmla="*/ 26713 w 1266912"/>
                <a:gd name="connsiteY18" fmla="*/ 395151 h 85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66912" h="856040">
                  <a:moveTo>
                    <a:pt x="26682" y="395117"/>
                  </a:moveTo>
                  <a:cubicBezTo>
                    <a:pt x="41439" y="395117"/>
                    <a:pt x="53395" y="381709"/>
                    <a:pt x="53395" y="365164"/>
                  </a:cubicBezTo>
                  <a:cubicBezTo>
                    <a:pt x="53395" y="359023"/>
                    <a:pt x="51722" y="353292"/>
                    <a:pt x="48893" y="348550"/>
                  </a:cubicBezTo>
                  <a:lnTo>
                    <a:pt x="352104" y="8562"/>
                  </a:lnTo>
                  <a:lnTo>
                    <a:pt x="501946" y="8562"/>
                  </a:lnTo>
                  <a:lnTo>
                    <a:pt x="1217321" y="810702"/>
                  </a:lnTo>
                  <a:cubicBezTo>
                    <a:pt x="1214917" y="815205"/>
                    <a:pt x="1213487" y="820459"/>
                    <a:pt x="1213487" y="826088"/>
                  </a:cubicBezTo>
                  <a:cubicBezTo>
                    <a:pt x="1213487" y="842634"/>
                    <a:pt x="1225444" y="856041"/>
                    <a:pt x="1240200" y="856041"/>
                  </a:cubicBezTo>
                  <a:cubicBezTo>
                    <a:pt x="1254956" y="856041"/>
                    <a:pt x="1266913" y="842634"/>
                    <a:pt x="1266913" y="826088"/>
                  </a:cubicBezTo>
                  <a:cubicBezTo>
                    <a:pt x="1266913" y="809542"/>
                    <a:pt x="1254956" y="796135"/>
                    <a:pt x="1240200" y="796135"/>
                  </a:cubicBezTo>
                  <a:cubicBezTo>
                    <a:pt x="1233233" y="796135"/>
                    <a:pt x="1226904" y="799137"/>
                    <a:pt x="1222158" y="804050"/>
                  </a:cubicBezTo>
                  <a:lnTo>
                    <a:pt x="506206" y="1262"/>
                  </a:lnTo>
                  <a:cubicBezTo>
                    <a:pt x="505505" y="477"/>
                    <a:pt x="504532" y="0"/>
                    <a:pt x="503528" y="0"/>
                  </a:cubicBezTo>
                  <a:lnTo>
                    <a:pt x="350553" y="0"/>
                  </a:lnTo>
                  <a:cubicBezTo>
                    <a:pt x="349549" y="0"/>
                    <a:pt x="348575" y="444"/>
                    <a:pt x="347876" y="1262"/>
                  </a:cubicBezTo>
                  <a:lnTo>
                    <a:pt x="43811" y="342205"/>
                  </a:lnTo>
                  <a:cubicBezTo>
                    <a:pt x="39187" y="337872"/>
                    <a:pt x="33223" y="335245"/>
                    <a:pt x="26713" y="335245"/>
                  </a:cubicBezTo>
                  <a:cubicBezTo>
                    <a:pt x="11957" y="335245"/>
                    <a:pt x="0" y="348652"/>
                    <a:pt x="0" y="365198"/>
                  </a:cubicBezTo>
                  <a:cubicBezTo>
                    <a:pt x="0" y="381743"/>
                    <a:pt x="11957" y="395151"/>
                    <a:pt x="26713" y="395151"/>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5" name="Freeform 362">
              <a:extLst>
                <a:ext uri="{FF2B5EF4-FFF2-40B4-BE49-F238E27FC236}">
                  <a16:creationId xmlns:a16="http://schemas.microsoft.com/office/drawing/2014/main" id="{7FA33786-72E3-D79E-9DA0-D6121A541810}"/>
                </a:ext>
              </a:extLst>
            </p:cNvPr>
            <p:cNvSpPr/>
            <p:nvPr userDrawn="1"/>
          </p:nvSpPr>
          <p:spPr>
            <a:xfrm>
              <a:off x="10104139" y="2655609"/>
              <a:ext cx="703600" cy="2401983"/>
            </a:xfrm>
            <a:custGeom>
              <a:avLst/>
              <a:gdLst>
                <a:gd name="connsiteX0" fmla="*/ 0 w 703600"/>
                <a:gd name="connsiteY0" fmla="*/ 2372031 h 2401983"/>
                <a:gd name="connsiteX1" fmla="*/ 26713 w 703600"/>
                <a:gd name="connsiteY1" fmla="*/ 2401984 h 2401983"/>
                <a:gd name="connsiteX2" fmla="*/ 53426 w 703600"/>
                <a:gd name="connsiteY2" fmla="*/ 2372031 h 2401983"/>
                <a:gd name="connsiteX3" fmla="*/ 30546 w 703600"/>
                <a:gd name="connsiteY3" fmla="*/ 2342419 h 2401983"/>
                <a:gd name="connsiteX4" fmla="*/ 30546 w 703600"/>
                <a:gd name="connsiteY4" fmla="*/ 1482012 h 2401983"/>
                <a:gd name="connsiteX5" fmla="*/ 382742 w 703600"/>
                <a:gd name="connsiteY5" fmla="*/ 1087100 h 2401983"/>
                <a:gd name="connsiteX6" fmla="*/ 383868 w 703600"/>
                <a:gd name="connsiteY6" fmla="*/ 1084098 h 2401983"/>
                <a:gd name="connsiteX7" fmla="*/ 383868 w 703600"/>
                <a:gd name="connsiteY7" fmla="*/ 372226 h 2401983"/>
                <a:gd name="connsiteX8" fmla="*/ 665143 w 703600"/>
                <a:gd name="connsiteY8" fmla="*/ 56835 h 2401983"/>
                <a:gd name="connsiteX9" fmla="*/ 676888 w 703600"/>
                <a:gd name="connsiteY9" fmla="*/ 59905 h 2401983"/>
                <a:gd name="connsiteX10" fmla="*/ 703600 w 703600"/>
                <a:gd name="connsiteY10" fmla="*/ 29953 h 2401983"/>
                <a:gd name="connsiteX11" fmla="*/ 676888 w 703600"/>
                <a:gd name="connsiteY11" fmla="*/ 0 h 2401983"/>
                <a:gd name="connsiteX12" fmla="*/ 650175 w 703600"/>
                <a:gd name="connsiteY12" fmla="*/ 29953 h 2401983"/>
                <a:gd name="connsiteX13" fmla="*/ 658755 w 703600"/>
                <a:gd name="connsiteY13" fmla="*/ 51888 h 2401983"/>
                <a:gd name="connsiteX14" fmla="*/ 377357 w 703600"/>
                <a:gd name="connsiteY14" fmla="*/ 367415 h 2401983"/>
                <a:gd name="connsiteX15" fmla="*/ 376231 w 703600"/>
                <a:gd name="connsiteY15" fmla="*/ 370418 h 2401983"/>
                <a:gd name="connsiteX16" fmla="*/ 376231 w 703600"/>
                <a:gd name="connsiteY16" fmla="*/ 1082289 h 2401983"/>
                <a:gd name="connsiteX17" fmla="*/ 24035 w 703600"/>
                <a:gd name="connsiteY17" fmla="*/ 1477202 h 2401983"/>
                <a:gd name="connsiteX18" fmla="*/ 22910 w 703600"/>
                <a:gd name="connsiteY18" fmla="*/ 1480204 h 2401983"/>
                <a:gd name="connsiteX19" fmla="*/ 22910 w 703600"/>
                <a:gd name="connsiteY19" fmla="*/ 2342385 h 2401983"/>
                <a:gd name="connsiteX20" fmla="*/ 30 w 703600"/>
                <a:gd name="connsiteY20" fmla="*/ 2371997 h 240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3600" h="2401983">
                  <a:moveTo>
                    <a:pt x="0" y="2372031"/>
                  </a:moveTo>
                  <a:cubicBezTo>
                    <a:pt x="0" y="2388577"/>
                    <a:pt x="11957" y="2401984"/>
                    <a:pt x="26713" y="2401984"/>
                  </a:cubicBezTo>
                  <a:cubicBezTo>
                    <a:pt x="41468" y="2401984"/>
                    <a:pt x="53426" y="2388577"/>
                    <a:pt x="53426" y="2372031"/>
                  </a:cubicBezTo>
                  <a:cubicBezTo>
                    <a:pt x="53426" y="2356952"/>
                    <a:pt x="43477" y="2344500"/>
                    <a:pt x="30546" y="2342419"/>
                  </a:cubicBezTo>
                  <a:lnTo>
                    <a:pt x="30546" y="1482012"/>
                  </a:lnTo>
                  <a:lnTo>
                    <a:pt x="382742" y="1087100"/>
                  </a:lnTo>
                  <a:cubicBezTo>
                    <a:pt x="383442" y="1086315"/>
                    <a:pt x="383868" y="1085223"/>
                    <a:pt x="383868" y="1084098"/>
                  </a:cubicBezTo>
                  <a:lnTo>
                    <a:pt x="383868" y="372226"/>
                  </a:lnTo>
                  <a:lnTo>
                    <a:pt x="665143" y="56835"/>
                  </a:lnTo>
                  <a:cubicBezTo>
                    <a:pt x="668703" y="58780"/>
                    <a:pt x="672659" y="59905"/>
                    <a:pt x="676888" y="59905"/>
                  </a:cubicBezTo>
                  <a:cubicBezTo>
                    <a:pt x="691644" y="59905"/>
                    <a:pt x="703600" y="46498"/>
                    <a:pt x="703600" y="29953"/>
                  </a:cubicBezTo>
                  <a:cubicBezTo>
                    <a:pt x="703600" y="13407"/>
                    <a:pt x="691644" y="0"/>
                    <a:pt x="676888" y="0"/>
                  </a:cubicBezTo>
                  <a:cubicBezTo>
                    <a:pt x="662131" y="0"/>
                    <a:pt x="650175" y="13407"/>
                    <a:pt x="650175" y="29953"/>
                  </a:cubicBezTo>
                  <a:cubicBezTo>
                    <a:pt x="650175" y="38618"/>
                    <a:pt x="653491" y="46430"/>
                    <a:pt x="658755" y="51888"/>
                  </a:cubicBezTo>
                  <a:lnTo>
                    <a:pt x="377357" y="367415"/>
                  </a:lnTo>
                  <a:cubicBezTo>
                    <a:pt x="376657" y="368200"/>
                    <a:pt x="376231" y="369292"/>
                    <a:pt x="376231" y="370418"/>
                  </a:cubicBezTo>
                  <a:lnTo>
                    <a:pt x="376231" y="1082289"/>
                  </a:lnTo>
                  <a:lnTo>
                    <a:pt x="24035" y="1477202"/>
                  </a:lnTo>
                  <a:cubicBezTo>
                    <a:pt x="23335" y="1477986"/>
                    <a:pt x="22910" y="1479078"/>
                    <a:pt x="22910" y="1480204"/>
                  </a:cubicBezTo>
                  <a:lnTo>
                    <a:pt x="22910" y="2342385"/>
                  </a:lnTo>
                  <a:cubicBezTo>
                    <a:pt x="9979" y="2344466"/>
                    <a:pt x="30" y="2356918"/>
                    <a:pt x="30" y="2371997"/>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6" name="Freeform 366">
              <a:extLst>
                <a:ext uri="{FF2B5EF4-FFF2-40B4-BE49-F238E27FC236}">
                  <a16:creationId xmlns:a16="http://schemas.microsoft.com/office/drawing/2014/main" id="{15DD9567-C1E2-96C7-39BC-216A24CBA7E0}"/>
                </a:ext>
              </a:extLst>
            </p:cNvPr>
            <p:cNvSpPr/>
            <p:nvPr userDrawn="1"/>
          </p:nvSpPr>
          <p:spPr>
            <a:xfrm>
              <a:off x="10323705" y="4098150"/>
              <a:ext cx="383746" cy="902266"/>
            </a:xfrm>
            <a:custGeom>
              <a:avLst/>
              <a:gdLst>
                <a:gd name="connsiteX0" fmla="*/ 26713 w 383746"/>
                <a:gd name="connsiteY0" fmla="*/ 59872 h 902266"/>
                <a:gd name="connsiteX1" fmla="*/ 42808 w 383746"/>
                <a:gd name="connsiteY1" fmla="*/ 53765 h 902266"/>
                <a:gd name="connsiteX2" fmla="*/ 353200 w 383746"/>
                <a:gd name="connsiteY2" fmla="*/ 401803 h 902266"/>
                <a:gd name="connsiteX3" fmla="*/ 353200 w 383746"/>
                <a:gd name="connsiteY3" fmla="*/ 842702 h 902266"/>
                <a:gd name="connsiteX4" fmla="*/ 330321 w 383746"/>
                <a:gd name="connsiteY4" fmla="*/ 872314 h 902266"/>
                <a:gd name="connsiteX5" fmla="*/ 357034 w 383746"/>
                <a:gd name="connsiteY5" fmla="*/ 902267 h 902266"/>
                <a:gd name="connsiteX6" fmla="*/ 383746 w 383746"/>
                <a:gd name="connsiteY6" fmla="*/ 872314 h 902266"/>
                <a:gd name="connsiteX7" fmla="*/ 360867 w 383746"/>
                <a:gd name="connsiteY7" fmla="*/ 842702 h 902266"/>
                <a:gd name="connsiteX8" fmla="*/ 360867 w 383746"/>
                <a:gd name="connsiteY8" fmla="*/ 400063 h 902266"/>
                <a:gd name="connsiteX9" fmla="*/ 359741 w 383746"/>
                <a:gd name="connsiteY9" fmla="*/ 397061 h 902266"/>
                <a:gd name="connsiteX10" fmla="*/ 48193 w 383746"/>
                <a:gd name="connsiteY10" fmla="*/ 47727 h 902266"/>
                <a:gd name="connsiteX11" fmla="*/ 53426 w 383746"/>
                <a:gd name="connsiteY11" fmla="*/ 29953 h 902266"/>
                <a:gd name="connsiteX12" fmla="*/ 26713 w 383746"/>
                <a:gd name="connsiteY12" fmla="*/ 0 h 902266"/>
                <a:gd name="connsiteX13" fmla="*/ 0 w 383746"/>
                <a:gd name="connsiteY13" fmla="*/ 29953 h 902266"/>
                <a:gd name="connsiteX14" fmla="*/ 26713 w 383746"/>
                <a:gd name="connsiteY14" fmla="*/ 59906 h 90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3746" h="902266">
                  <a:moveTo>
                    <a:pt x="26713" y="59872"/>
                  </a:moveTo>
                  <a:cubicBezTo>
                    <a:pt x="32767" y="59872"/>
                    <a:pt x="38335" y="57586"/>
                    <a:pt x="42808" y="53765"/>
                  </a:cubicBezTo>
                  <a:lnTo>
                    <a:pt x="353200" y="401803"/>
                  </a:lnTo>
                  <a:lnTo>
                    <a:pt x="353200" y="842702"/>
                  </a:lnTo>
                  <a:cubicBezTo>
                    <a:pt x="340270" y="844783"/>
                    <a:pt x="330321" y="857235"/>
                    <a:pt x="330321" y="872314"/>
                  </a:cubicBezTo>
                  <a:cubicBezTo>
                    <a:pt x="330321" y="888859"/>
                    <a:pt x="342277" y="902267"/>
                    <a:pt x="357034" y="902267"/>
                  </a:cubicBezTo>
                  <a:cubicBezTo>
                    <a:pt x="371789" y="902267"/>
                    <a:pt x="383746" y="888859"/>
                    <a:pt x="383746" y="872314"/>
                  </a:cubicBezTo>
                  <a:cubicBezTo>
                    <a:pt x="383746" y="857235"/>
                    <a:pt x="373798" y="844783"/>
                    <a:pt x="360867" y="842702"/>
                  </a:cubicBezTo>
                  <a:lnTo>
                    <a:pt x="360867" y="400063"/>
                  </a:lnTo>
                  <a:cubicBezTo>
                    <a:pt x="360867" y="398938"/>
                    <a:pt x="360471" y="397846"/>
                    <a:pt x="359741" y="397061"/>
                  </a:cubicBezTo>
                  <a:lnTo>
                    <a:pt x="48193" y="47727"/>
                  </a:lnTo>
                  <a:cubicBezTo>
                    <a:pt x="51478" y="42746"/>
                    <a:pt x="53426" y="36605"/>
                    <a:pt x="53426" y="29953"/>
                  </a:cubicBezTo>
                  <a:cubicBezTo>
                    <a:pt x="53426" y="13407"/>
                    <a:pt x="41469" y="0"/>
                    <a:pt x="26713" y="0"/>
                  </a:cubicBezTo>
                  <a:cubicBezTo>
                    <a:pt x="11957" y="0"/>
                    <a:pt x="0" y="13407"/>
                    <a:pt x="0" y="29953"/>
                  </a:cubicBezTo>
                  <a:cubicBezTo>
                    <a:pt x="0" y="46498"/>
                    <a:pt x="11957" y="59906"/>
                    <a:pt x="26713" y="5990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7" name="Freeform 367">
              <a:extLst>
                <a:ext uri="{FF2B5EF4-FFF2-40B4-BE49-F238E27FC236}">
                  <a16:creationId xmlns:a16="http://schemas.microsoft.com/office/drawing/2014/main" id="{721AD911-F5E3-19A0-B752-9776237666A2}"/>
                </a:ext>
              </a:extLst>
            </p:cNvPr>
            <p:cNvSpPr/>
            <p:nvPr userDrawn="1"/>
          </p:nvSpPr>
          <p:spPr>
            <a:xfrm rot="16996800">
              <a:off x="11252865" y="4302328"/>
              <a:ext cx="53425" cy="59905"/>
            </a:xfrm>
            <a:custGeom>
              <a:avLst/>
              <a:gdLst>
                <a:gd name="connsiteX0" fmla="*/ 53426 w 53425"/>
                <a:gd name="connsiteY0" fmla="*/ 29953 h 59905"/>
                <a:gd name="connsiteX1" fmla="*/ 26713 w 53425"/>
                <a:gd name="connsiteY1" fmla="*/ 59906 h 59905"/>
                <a:gd name="connsiteX2" fmla="*/ 0 w 53425"/>
                <a:gd name="connsiteY2" fmla="*/ 29953 h 59905"/>
                <a:gd name="connsiteX3" fmla="*/ 26713 w 53425"/>
                <a:gd name="connsiteY3" fmla="*/ 0 h 59905"/>
                <a:gd name="connsiteX4" fmla="*/ 53426 w 53425"/>
                <a:gd name="connsiteY4" fmla="*/ 29953 h 59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425" h="59905">
                  <a:moveTo>
                    <a:pt x="53426" y="29953"/>
                  </a:moveTo>
                  <a:cubicBezTo>
                    <a:pt x="53426" y="46495"/>
                    <a:pt x="41466" y="59906"/>
                    <a:pt x="26713" y="59906"/>
                  </a:cubicBezTo>
                  <a:cubicBezTo>
                    <a:pt x="11959" y="59906"/>
                    <a:pt x="0" y="46495"/>
                    <a:pt x="0" y="29953"/>
                  </a:cubicBezTo>
                  <a:cubicBezTo>
                    <a:pt x="0" y="13410"/>
                    <a:pt x="11959" y="0"/>
                    <a:pt x="26713" y="0"/>
                  </a:cubicBezTo>
                  <a:cubicBezTo>
                    <a:pt x="41466" y="0"/>
                    <a:pt x="53426" y="13410"/>
                    <a:pt x="53426" y="29953"/>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8" name="Freeform 368">
              <a:extLst>
                <a:ext uri="{FF2B5EF4-FFF2-40B4-BE49-F238E27FC236}">
                  <a16:creationId xmlns:a16="http://schemas.microsoft.com/office/drawing/2014/main" id="{FC4B9B16-77D4-DD36-93D9-2059EDB0E55E}"/>
                </a:ext>
              </a:extLst>
            </p:cNvPr>
            <p:cNvSpPr/>
            <p:nvPr userDrawn="1"/>
          </p:nvSpPr>
          <p:spPr>
            <a:xfrm>
              <a:off x="11131231" y="3679801"/>
              <a:ext cx="736837" cy="568010"/>
            </a:xfrm>
            <a:custGeom>
              <a:avLst/>
              <a:gdLst>
                <a:gd name="connsiteX0" fmla="*/ 1109 w 736837"/>
                <a:gd name="connsiteY0" fmla="*/ 450007 h 568010"/>
                <a:gd name="connsiteX1" fmla="*/ 63510 w 736837"/>
                <a:gd name="connsiteY1" fmla="*/ 519976 h 568010"/>
                <a:gd name="connsiteX2" fmla="*/ 58064 w 736837"/>
                <a:gd name="connsiteY2" fmla="*/ 538057 h 568010"/>
                <a:gd name="connsiteX3" fmla="*/ 84776 w 736837"/>
                <a:gd name="connsiteY3" fmla="*/ 568010 h 568010"/>
                <a:gd name="connsiteX4" fmla="*/ 111489 w 736837"/>
                <a:gd name="connsiteY4" fmla="*/ 538057 h 568010"/>
                <a:gd name="connsiteX5" fmla="*/ 84776 w 736837"/>
                <a:gd name="connsiteY5" fmla="*/ 508105 h 568010"/>
                <a:gd name="connsiteX6" fmla="*/ 68956 w 736837"/>
                <a:gd name="connsiteY6" fmla="*/ 513972 h 568010"/>
                <a:gd name="connsiteX7" fmla="*/ 13005 w 736837"/>
                <a:gd name="connsiteY7" fmla="*/ 451235 h 568010"/>
                <a:gd name="connsiteX8" fmla="*/ 342564 w 736837"/>
                <a:gd name="connsiteY8" fmla="*/ 451235 h 568010"/>
                <a:gd name="connsiteX9" fmla="*/ 345273 w 736837"/>
                <a:gd name="connsiteY9" fmla="*/ 449973 h 568010"/>
                <a:gd name="connsiteX10" fmla="*/ 696769 w 736837"/>
                <a:gd name="connsiteY10" fmla="*/ 55846 h 568010"/>
                <a:gd name="connsiteX11" fmla="*/ 710125 w 736837"/>
                <a:gd name="connsiteY11" fmla="*/ 59905 h 568010"/>
                <a:gd name="connsiteX12" fmla="*/ 736838 w 736837"/>
                <a:gd name="connsiteY12" fmla="*/ 29952 h 568010"/>
                <a:gd name="connsiteX13" fmla="*/ 710125 w 736837"/>
                <a:gd name="connsiteY13" fmla="*/ 0 h 568010"/>
                <a:gd name="connsiteX14" fmla="*/ 683412 w 736837"/>
                <a:gd name="connsiteY14" fmla="*/ 29952 h 568010"/>
                <a:gd name="connsiteX15" fmla="*/ 690744 w 736837"/>
                <a:gd name="connsiteY15" fmla="*/ 50524 h 568010"/>
                <a:gd name="connsiteX16" fmla="*/ 340982 w 736837"/>
                <a:gd name="connsiteY16" fmla="*/ 442706 h 568010"/>
                <a:gd name="connsiteX17" fmla="*/ 3817 w 736837"/>
                <a:gd name="connsiteY17" fmla="*/ 442706 h 568010"/>
                <a:gd name="connsiteX18" fmla="*/ 287 w 736837"/>
                <a:gd name="connsiteY18" fmla="*/ 445333 h 568010"/>
                <a:gd name="connsiteX19" fmla="*/ 1109 w 736837"/>
                <a:gd name="connsiteY19" fmla="*/ 449973 h 56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6837" h="568010">
                  <a:moveTo>
                    <a:pt x="1109" y="450007"/>
                  </a:moveTo>
                  <a:lnTo>
                    <a:pt x="63510" y="519976"/>
                  </a:lnTo>
                  <a:cubicBezTo>
                    <a:pt x="60102" y="524991"/>
                    <a:pt x="58064" y="531269"/>
                    <a:pt x="58064" y="538057"/>
                  </a:cubicBezTo>
                  <a:cubicBezTo>
                    <a:pt x="58064" y="554603"/>
                    <a:pt x="70021" y="568010"/>
                    <a:pt x="84776" y="568010"/>
                  </a:cubicBezTo>
                  <a:cubicBezTo>
                    <a:pt x="99533" y="568010"/>
                    <a:pt x="111489" y="554603"/>
                    <a:pt x="111489" y="538057"/>
                  </a:cubicBezTo>
                  <a:cubicBezTo>
                    <a:pt x="111489" y="521512"/>
                    <a:pt x="99533" y="508105"/>
                    <a:pt x="84776" y="508105"/>
                  </a:cubicBezTo>
                  <a:cubicBezTo>
                    <a:pt x="78844" y="508105"/>
                    <a:pt x="73367" y="510288"/>
                    <a:pt x="68956" y="513972"/>
                  </a:cubicBezTo>
                  <a:lnTo>
                    <a:pt x="13005" y="451235"/>
                  </a:lnTo>
                  <a:lnTo>
                    <a:pt x="342564" y="451235"/>
                  </a:lnTo>
                  <a:cubicBezTo>
                    <a:pt x="343569" y="451235"/>
                    <a:pt x="344543" y="450792"/>
                    <a:pt x="345273" y="449973"/>
                  </a:cubicBezTo>
                  <a:lnTo>
                    <a:pt x="696769" y="55846"/>
                  </a:lnTo>
                  <a:cubicBezTo>
                    <a:pt x="700693" y="58404"/>
                    <a:pt x="705257" y="59905"/>
                    <a:pt x="710125" y="59905"/>
                  </a:cubicBezTo>
                  <a:cubicBezTo>
                    <a:pt x="724881" y="59905"/>
                    <a:pt x="736838" y="46498"/>
                    <a:pt x="736838" y="29952"/>
                  </a:cubicBezTo>
                  <a:cubicBezTo>
                    <a:pt x="736838" y="13407"/>
                    <a:pt x="724881" y="0"/>
                    <a:pt x="710125" y="0"/>
                  </a:cubicBezTo>
                  <a:cubicBezTo>
                    <a:pt x="695369" y="0"/>
                    <a:pt x="683412" y="13407"/>
                    <a:pt x="683412" y="29952"/>
                  </a:cubicBezTo>
                  <a:cubicBezTo>
                    <a:pt x="683412" y="37936"/>
                    <a:pt x="686211" y="45134"/>
                    <a:pt x="690744" y="50524"/>
                  </a:cubicBezTo>
                  <a:lnTo>
                    <a:pt x="340982" y="442706"/>
                  </a:lnTo>
                  <a:lnTo>
                    <a:pt x="3817" y="442706"/>
                  </a:lnTo>
                  <a:cubicBezTo>
                    <a:pt x="2265" y="442706"/>
                    <a:pt x="896" y="443730"/>
                    <a:pt x="287" y="445333"/>
                  </a:cubicBezTo>
                  <a:cubicBezTo>
                    <a:pt x="-291" y="446937"/>
                    <a:pt x="14" y="448779"/>
                    <a:pt x="1109" y="449973"/>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9" name="Freeform 369">
              <a:extLst>
                <a:ext uri="{FF2B5EF4-FFF2-40B4-BE49-F238E27FC236}">
                  <a16:creationId xmlns:a16="http://schemas.microsoft.com/office/drawing/2014/main" id="{B1CD73D9-D4B8-15AA-1D6B-5430A6B5EE2D}"/>
                </a:ext>
              </a:extLst>
            </p:cNvPr>
            <p:cNvSpPr/>
            <p:nvPr userDrawn="1"/>
          </p:nvSpPr>
          <p:spPr>
            <a:xfrm>
              <a:off x="10721972" y="2788008"/>
              <a:ext cx="1450403" cy="1242833"/>
            </a:xfrm>
            <a:custGeom>
              <a:avLst/>
              <a:gdLst>
                <a:gd name="connsiteX0" fmla="*/ 1064 w 1450403"/>
                <a:gd name="connsiteY0" fmla="*/ 910761 h 1242833"/>
                <a:gd name="connsiteX1" fmla="*/ 296092 w 1450403"/>
                <a:gd name="connsiteY1" fmla="*/ 1241571 h 1242833"/>
                <a:gd name="connsiteX2" fmla="*/ 298800 w 1450403"/>
                <a:gd name="connsiteY2" fmla="*/ 1242833 h 1242833"/>
                <a:gd name="connsiteX3" fmla="*/ 706095 w 1450403"/>
                <a:gd name="connsiteY3" fmla="*/ 1242833 h 1242833"/>
                <a:gd name="connsiteX4" fmla="*/ 708803 w 1450403"/>
                <a:gd name="connsiteY4" fmla="*/ 1241571 h 1242833"/>
                <a:gd name="connsiteX5" fmla="*/ 1043991 w 1450403"/>
                <a:gd name="connsiteY5" fmla="*/ 865729 h 1242833"/>
                <a:gd name="connsiteX6" fmla="*/ 1059751 w 1450403"/>
                <a:gd name="connsiteY6" fmla="*/ 871529 h 1242833"/>
                <a:gd name="connsiteX7" fmla="*/ 1086464 w 1450403"/>
                <a:gd name="connsiteY7" fmla="*/ 841576 h 1242833"/>
                <a:gd name="connsiteX8" fmla="*/ 1059751 w 1450403"/>
                <a:gd name="connsiteY8" fmla="*/ 811624 h 1242833"/>
                <a:gd name="connsiteX9" fmla="*/ 1033039 w 1450403"/>
                <a:gd name="connsiteY9" fmla="*/ 841576 h 1242833"/>
                <a:gd name="connsiteX10" fmla="*/ 1038545 w 1450403"/>
                <a:gd name="connsiteY10" fmla="*/ 859725 h 1242833"/>
                <a:gd name="connsiteX11" fmla="*/ 704513 w 1450403"/>
                <a:gd name="connsiteY11" fmla="*/ 1234271 h 1242833"/>
                <a:gd name="connsiteX12" fmla="*/ 300383 w 1450403"/>
                <a:gd name="connsiteY12" fmla="*/ 1234271 h 1242833"/>
                <a:gd name="connsiteX13" fmla="*/ 7576 w 1450403"/>
                <a:gd name="connsiteY13" fmla="*/ 905950 h 1242833"/>
                <a:gd name="connsiteX14" fmla="*/ 7576 w 1450403"/>
                <a:gd name="connsiteY14" fmla="*/ 319143 h 1242833"/>
                <a:gd name="connsiteX15" fmla="*/ 261652 w 1450403"/>
                <a:gd name="connsiteY15" fmla="*/ 34251 h 1242833"/>
                <a:gd name="connsiteX16" fmla="*/ 1397282 w 1450403"/>
                <a:gd name="connsiteY16" fmla="*/ 34251 h 1242833"/>
                <a:gd name="connsiteX17" fmla="*/ 1423691 w 1450403"/>
                <a:gd name="connsiteY17" fmla="*/ 59905 h 1242833"/>
                <a:gd name="connsiteX18" fmla="*/ 1450404 w 1450403"/>
                <a:gd name="connsiteY18" fmla="*/ 29953 h 1242833"/>
                <a:gd name="connsiteX19" fmla="*/ 1423691 w 1450403"/>
                <a:gd name="connsiteY19" fmla="*/ 0 h 1242833"/>
                <a:gd name="connsiteX20" fmla="*/ 1397282 w 1450403"/>
                <a:gd name="connsiteY20" fmla="*/ 25654 h 1242833"/>
                <a:gd name="connsiteX21" fmla="*/ 260100 w 1450403"/>
                <a:gd name="connsiteY21" fmla="*/ 25654 h 1242833"/>
                <a:gd name="connsiteX22" fmla="*/ 257423 w 1450403"/>
                <a:gd name="connsiteY22" fmla="*/ 26916 h 1242833"/>
                <a:gd name="connsiteX23" fmla="*/ 1125 w 1450403"/>
                <a:gd name="connsiteY23" fmla="*/ 314299 h 1242833"/>
                <a:gd name="connsiteX24" fmla="*/ 0 w 1450403"/>
                <a:gd name="connsiteY24" fmla="*/ 317301 h 1242833"/>
                <a:gd name="connsiteX25" fmla="*/ 0 w 1450403"/>
                <a:gd name="connsiteY25" fmla="*/ 907656 h 1242833"/>
                <a:gd name="connsiteX26" fmla="*/ 1125 w 1450403"/>
                <a:gd name="connsiteY26" fmla="*/ 910658 h 1242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50403" h="1242833">
                  <a:moveTo>
                    <a:pt x="1064" y="910761"/>
                  </a:moveTo>
                  <a:lnTo>
                    <a:pt x="296092" y="1241571"/>
                  </a:lnTo>
                  <a:cubicBezTo>
                    <a:pt x="296792" y="1242356"/>
                    <a:pt x="297766" y="1242833"/>
                    <a:pt x="298800" y="1242833"/>
                  </a:cubicBezTo>
                  <a:lnTo>
                    <a:pt x="706095" y="1242833"/>
                  </a:lnTo>
                  <a:cubicBezTo>
                    <a:pt x="707099" y="1242833"/>
                    <a:pt x="708073" y="1242390"/>
                    <a:pt x="708803" y="1241571"/>
                  </a:cubicBezTo>
                  <a:lnTo>
                    <a:pt x="1043991" y="865729"/>
                  </a:lnTo>
                  <a:cubicBezTo>
                    <a:pt x="1048402" y="869380"/>
                    <a:pt x="1053849" y="871529"/>
                    <a:pt x="1059751" y="871529"/>
                  </a:cubicBezTo>
                  <a:cubicBezTo>
                    <a:pt x="1074507" y="871529"/>
                    <a:pt x="1086464" y="858122"/>
                    <a:pt x="1086464" y="841576"/>
                  </a:cubicBezTo>
                  <a:cubicBezTo>
                    <a:pt x="1086464" y="825030"/>
                    <a:pt x="1074507" y="811624"/>
                    <a:pt x="1059751" y="811624"/>
                  </a:cubicBezTo>
                  <a:cubicBezTo>
                    <a:pt x="1044995" y="811624"/>
                    <a:pt x="1033039" y="825030"/>
                    <a:pt x="1033039" y="841576"/>
                  </a:cubicBezTo>
                  <a:cubicBezTo>
                    <a:pt x="1033039" y="848399"/>
                    <a:pt x="1035107" y="854676"/>
                    <a:pt x="1038545" y="859725"/>
                  </a:cubicBezTo>
                  <a:lnTo>
                    <a:pt x="704513" y="1234271"/>
                  </a:lnTo>
                  <a:lnTo>
                    <a:pt x="300383" y="1234271"/>
                  </a:lnTo>
                  <a:lnTo>
                    <a:pt x="7576" y="905950"/>
                  </a:lnTo>
                  <a:lnTo>
                    <a:pt x="7576" y="319143"/>
                  </a:lnTo>
                  <a:lnTo>
                    <a:pt x="261652" y="34251"/>
                  </a:lnTo>
                  <a:lnTo>
                    <a:pt x="1397282" y="34251"/>
                  </a:lnTo>
                  <a:cubicBezTo>
                    <a:pt x="1399138" y="48750"/>
                    <a:pt x="1410243" y="59905"/>
                    <a:pt x="1423691" y="59905"/>
                  </a:cubicBezTo>
                  <a:cubicBezTo>
                    <a:pt x="1438447" y="59905"/>
                    <a:pt x="1450404" y="46498"/>
                    <a:pt x="1450404" y="29953"/>
                  </a:cubicBezTo>
                  <a:cubicBezTo>
                    <a:pt x="1450404" y="13407"/>
                    <a:pt x="1438447" y="0"/>
                    <a:pt x="1423691" y="0"/>
                  </a:cubicBezTo>
                  <a:cubicBezTo>
                    <a:pt x="1410243" y="0"/>
                    <a:pt x="1399138" y="11155"/>
                    <a:pt x="1397282" y="25654"/>
                  </a:cubicBezTo>
                  <a:lnTo>
                    <a:pt x="260100" y="25654"/>
                  </a:lnTo>
                  <a:cubicBezTo>
                    <a:pt x="259096" y="25654"/>
                    <a:pt x="258122" y="26098"/>
                    <a:pt x="257423" y="26916"/>
                  </a:cubicBezTo>
                  <a:lnTo>
                    <a:pt x="1125" y="314299"/>
                  </a:lnTo>
                  <a:cubicBezTo>
                    <a:pt x="426" y="315084"/>
                    <a:pt x="0" y="316175"/>
                    <a:pt x="0" y="317301"/>
                  </a:cubicBezTo>
                  <a:lnTo>
                    <a:pt x="0" y="907656"/>
                  </a:lnTo>
                  <a:cubicBezTo>
                    <a:pt x="0" y="908782"/>
                    <a:pt x="395" y="909874"/>
                    <a:pt x="1125" y="910658"/>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0" name="Freeform 370">
              <a:extLst>
                <a:ext uri="{FF2B5EF4-FFF2-40B4-BE49-F238E27FC236}">
                  <a16:creationId xmlns:a16="http://schemas.microsoft.com/office/drawing/2014/main" id="{59D6B9F0-89CB-185D-A55A-57643AFB5AD9}"/>
                </a:ext>
              </a:extLst>
            </p:cNvPr>
            <p:cNvSpPr/>
            <p:nvPr userDrawn="1"/>
          </p:nvSpPr>
          <p:spPr>
            <a:xfrm>
              <a:off x="9993697" y="2685562"/>
              <a:ext cx="2178648" cy="3051186"/>
            </a:xfrm>
            <a:custGeom>
              <a:avLst/>
              <a:gdLst>
                <a:gd name="connsiteX0" fmla="*/ 26743 w 2178648"/>
                <a:gd name="connsiteY0" fmla="*/ 3051153 h 3051186"/>
                <a:gd name="connsiteX1" fmla="*/ 53152 w 2178648"/>
                <a:gd name="connsiteY1" fmla="*/ 3025498 h 3051186"/>
                <a:gd name="connsiteX2" fmla="*/ 809113 w 2178648"/>
                <a:gd name="connsiteY2" fmla="*/ 3025498 h 3051186"/>
                <a:gd name="connsiteX3" fmla="*/ 811791 w 2178648"/>
                <a:gd name="connsiteY3" fmla="*/ 3024236 h 3051186"/>
                <a:gd name="connsiteX4" fmla="*/ 1208619 w 2178648"/>
                <a:gd name="connsiteY4" fmla="*/ 2579278 h 3051186"/>
                <a:gd name="connsiteX5" fmla="*/ 1209745 w 2178648"/>
                <a:gd name="connsiteY5" fmla="*/ 2576242 h 3051186"/>
                <a:gd name="connsiteX6" fmla="*/ 1209745 w 2178648"/>
                <a:gd name="connsiteY6" fmla="*/ 1652824 h 3051186"/>
                <a:gd name="connsiteX7" fmla="*/ 1208619 w 2178648"/>
                <a:gd name="connsiteY7" fmla="*/ 1649822 h 3051186"/>
                <a:gd name="connsiteX8" fmla="*/ 656442 w 2178648"/>
                <a:gd name="connsiteY8" fmla="*/ 1030674 h 3051186"/>
                <a:gd name="connsiteX9" fmla="*/ 656442 w 2178648"/>
                <a:gd name="connsiteY9" fmla="*/ 386008 h 3051186"/>
                <a:gd name="connsiteX10" fmla="*/ 970151 w 2178648"/>
                <a:gd name="connsiteY10" fmla="*/ 34251 h 3051186"/>
                <a:gd name="connsiteX11" fmla="*/ 2125527 w 2178648"/>
                <a:gd name="connsiteY11" fmla="*/ 34251 h 3051186"/>
                <a:gd name="connsiteX12" fmla="*/ 2151936 w 2178648"/>
                <a:gd name="connsiteY12" fmla="*/ 59905 h 3051186"/>
                <a:gd name="connsiteX13" fmla="*/ 2178649 w 2178648"/>
                <a:gd name="connsiteY13" fmla="*/ 29953 h 3051186"/>
                <a:gd name="connsiteX14" fmla="*/ 2151936 w 2178648"/>
                <a:gd name="connsiteY14" fmla="*/ 0 h 3051186"/>
                <a:gd name="connsiteX15" fmla="*/ 2125527 w 2178648"/>
                <a:gd name="connsiteY15" fmla="*/ 25654 h 3051186"/>
                <a:gd name="connsiteX16" fmla="*/ 968569 w 2178648"/>
                <a:gd name="connsiteY16" fmla="*/ 25654 h 3051186"/>
                <a:gd name="connsiteX17" fmla="*/ 965861 w 2178648"/>
                <a:gd name="connsiteY17" fmla="*/ 26917 h 3051186"/>
                <a:gd name="connsiteX18" fmla="*/ 649901 w 2178648"/>
                <a:gd name="connsiteY18" fmla="*/ 381198 h 3051186"/>
                <a:gd name="connsiteX19" fmla="*/ 648775 w 2178648"/>
                <a:gd name="connsiteY19" fmla="*/ 384234 h 3051186"/>
                <a:gd name="connsiteX20" fmla="*/ 648775 w 2178648"/>
                <a:gd name="connsiteY20" fmla="*/ 1032448 h 3051186"/>
                <a:gd name="connsiteX21" fmla="*/ 649901 w 2178648"/>
                <a:gd name="connsiteY21" fmla="*/ 1035450 h 3051186"/>
                <a:gd name="connsiteX22" fmla="*/ 1202078 w 2178648"/>
                <a:gd name="connsiteY22" fmla="*/ 1654598 h 3051186"/>
                <a:gd name="connsiteX23" fmla="*/ 1202078 w 2178648"/>
                <a:gd name="connsiteY23" fmla="*/ 2574502 h 3051186"/>
                <a:gd name="connsiteX24" fmla="*/ 807501 w 2178648"/>
                <a:gd name="connsiteY24" fmla="*/ 3016936 h 3051186"/>
                <a:gd name="connsiteX25" fmla="*/ 53121 w 2178648"/>
                <a:gd name="connsiteY25" fmla="*/ 3016936 h 3051186"/>
                <a:gd name="connsiteX26" fmla="*/ 26713 w 2178648"/>
                <a:gd name="connsiteY26" fmla="*/ 2991281 h 3051186"/>
                <a:gd name="connsiteX27" fmla="*/ 0 w 2178648"/>
                <a:gd name="connsiteY27" fmla="*/ 3021234 h 3051186"/>
                <a:gd name="connsiteX28" fmla="*/ 26713 w 2178648"/>
                <a:gd name="connsiteY28" fmla="*/ 3051187 h 305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78648" h="3051186">
                  <a:moveTo>
                    <a:pt x="26743" y="3051153"/>
                  </a:moveTo>
                  <a:cubicBezTo>
                    <a:pt x="40191" y="3051153"/>
                    <a:pt x="51296" y="3039997"/>
                    <a:pt x="53152" y="3025498"/>
                  </a:cubicBezTo>
                  <a:lnTo>
                    <a:pt x="809113" y="3025498"/>
                  </a:lnTo>
                  <a:cubicBezTo>
                    <a:pt x="810117" y="3025498"/>
                    <a:pt x="811091" y="3025055"/>
                    <a:pt x="811791" y="3024236"/>
                  </a:cubicBezTo>
                  <a:lnTo>
                    <a:pt x="1208619" y="2579278"/>
                  </a:lnTo>
                  <a:cubicBezTo>
                    <a:pt x="1209319" y="2578493"/>
                    <a:pt x="1209745" y="2577402"/>
                    <a:pt x="1209745" y="2576242"/>
                  </a:cubicBezTo>
                  <a:lnTo>
                    <a:pt x="1209745" y="1652824"/>
                  </a:lnTo>
                  <a:cubicBezTo>
                    <a:pt x="1209745" y="1651699"/>
                    <a:pt x="1209349" y="1650607"/>
                    <a:pt x="1208619" y="1649822"/>
                  </a:cubicBezTo>
                  <a:lnTo>
                    <a:pt x="656442" y="1030674"/>
                  </a:lnTo>
                  <a:lnTo>
                    <a:pt x="656442" y="386008"/>
                  </a:lnTo>
                  <a:lnTo>
                    <a:pt x="970151" y="34251"/>
                  </a:lnTo>
                  <a:lnTo>
                    <a:pt x="2125527" y="34251"/>
                  </a:lnTo>
                  <a:cubicBezTo>
                    <a:pt x="2127383" y="48750"/>
                    <a:pt x="2138488" y="59905"/>
                    <a:pt x="2151936" y="59905"/>
                  </a:cubicBezTo>
                  <a:cubicBezTo>
                    <a:pt x="2166692" y="59905"/>
                    <a:pt x="2178649" y="46498"/>
                    <a:pt x="2178649" y="29953"/>
                  </a:cubicBezTo>
                  <a:cubicBezTo>
                    <a:pt x="2178649" y="13407"/>
                    <a:pt x="2166692" y="0"/>
                    <a:pt x="2151936" y="0"/>
                  </a:cubicBezTo>
                  <a:cubicBezTo>
                    <a:pt x="2138488" y="0"/>
                    <a:pt x="2127383" y="11156"/>
                    <a:pt x="2125527" y="25654"/>
                  </a:cubicBezTo>
                  <a:lnTo>
                    <a:pt x="968569" y="25654"/>
                  </a:lnTo>
                  <a:cubicBezTo>
                    <a:pt x="967565" y="25654"/>
                    <a:pt x="966591" y="26098"/>
                    <a:pt x="965861" y="26917"/>
                  </a:cubicBezTo>
                  <a:lnTo>
                    <a:pt x="649901" y="381198"/>
                  </a:lnTo>
                  <a:cubicBezTo>
                    <a:pt x="649202" y="381983"/>
                    <a:pt x="648775" y="383074"/>
                    <a:pt x="648775" y="384234"/>
                  </a:cubicBezTo>
                  <a:lnTo>
                    <a:pt x="648775" y="1032448"/>
                  </a:lnTo>
                  <a:cubicBezTo>
                    <a:pt x="648775" y="1033574"/>
                    <a:pt x="649171" y="1034666"/>
                    <a:pt x="649901" y="1035450"/>
                  </a:cubicBezTo>
                  <a:lnTo>
                    <a:pt x="1202078" y="1654598"/>
                  </a:lnTo>
                  <a:lnTo>
                    <a:pt x="1202078" y="2574502"/>
                  </a:lnTo>
                  <a:lnTo>
                    <a:pt x="807501" y="3016936"/>
                  </a:lnTo>
                  <a:lnTo>
                    <a:pt x="53121" y="3016936"/>
                  </a:lnTo>
                  <a:cubicBezTo>
                    <a:pt x="51266" y="3002437"/>
                    <a:pt x="40160" y="2991281"/>
                    <a:pt x="26713" y="2991281"/>
                  </a:cubicBezTo>
                  <a:cubicBezTo>
                    <a:pt x="11957" y="2991281"/>
                    <a:pt x="0" y="3004689"/>
                    <a:pt x="0" y="3021234"/>
                  </a:cubicBezTo>
                  <a:cubicBezTo>
                    <a:pt x="0" y="3037780"/>
                    <a:pt x="11957" y="3051187"/>
                    <a:pt x="26713" y="3051187"/>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1" name="Freeform 372">
              <a:extLst>
                <a:ext uri="{FF2B5EF4-FFF2-40B4-BE49-F238E27FC236}">
                  <a16:creationId xmlns:a16="http://schemas.microsoft.com/office/drawing/2014/main" id="{D5477B77-1D44-F18F-048C-DD44C591EAAC}"/>
                </a:ext>
              </a:extLst>
            </p:cNvPr>
            <p:cNvSpPr/>
            <p:nvPr userDrawn="1"/>
          </p:nvSpPr>
          <p:spPr>
            <a:xfrm>
              <a:off x="8714931" y="2496815"/>
              <a:ext cx="1911903" cy="1358756"/>
            </a:xfrm>
            <a:custGeom>
              <a:avLst/>
              <a:gdLst>
                <a:gd name="connsiteX0" fmla="*/ 0 w 2636599"/>
                <a:gd name="connsiteY0" fmla="*/ 1843833 h 1873785"/>
                <a:gd name="connsiteX1" fmla="*/ 26713 w 2636599"/>
                <a:gd name="connsiteY1" fmla="*/ 1873785 h 1873785"/>
                <a:gd name="connsiteX2" fmla="*/ 53426 w 2636599"/>
                <a:gd name="connsiteY2" fmla="*/ 1843833 h 1873785"/>
                <a:gd name="connsiteX3" fmla="*/ 30546 w 2636599"/>
                <a:gd name="connsiteY3" fmla="*/ 1814221 h 1873785"/>
                <a:gd name="connsiteX4" fmla="*/ 30546 w 2636599"/>
                <a:gd name="connsiteY4" fmla="*/ 1429373 h 1873785"/>
                <a:gd name="connsiteX5" fmla="*/ 300626 w 2636599"/>
                <a:gd name="connsiteY5" fmla="*/ 1126536 h 1873785"/>
                <a:gd name="connsiteX6" fmla="*/ 301751 w 2636599"/>
                <a:gd name="connsiteY6" fmla="*/ 1123534 h 1873785"/>
                <a:gd name="connsiteX7" fmla="*/ 301751 w 2636599"/>
                <a:gd name="connsiteY7" fmla="*/ 534953 h 1873785"/>
                <a:gd name="connsiteX8" fmla="*/ 746560 w 2636599"/>
                <a:gd name="connsiteY8" fmla="*/ 36196 h 1873785"/>
                <a:gd name="connsiteX9" fmla="*/ 2583783 w 2636599"/>
                <a:gd name="connsiteY9" fmla="*/ 36196 h 1873785"/>
                <a:gd name="connsiteX10" fmla="*/ 2609887 w 2636599"/>
                <a:gd name="connsiteY10" fmla="*/ 59905 h 1873785"/>
                <a:gd name="connsiteX11" fmla="*/ 2636600 w 2636599"/>
                <a:gd name="connsiteY11" fmla="*/ 29953 h 1873785"/>
                <a:gd name="connsiteX12" fmla="*/ 2609887 w 2636599"/>
                <a:gd name="connsiteY12" fmla="*/ 0 h 1873785"/>
                <a:gd name="connsiteX13" fmla="*/ 2583296 w 2636599"/>
                <a:gd name="connsiteY13" fmla="*/ 27633 h 1873785"/>
                <a:gd name="connsiteX14" fmla="*/ 744978 w 2636599"/>
                <a:gd name="connsiteY14" fmla="*/ 27633 h 1873785"/>
                <a:gd name="connsiteX15" fmla="*/ 742270 w 2636599"/>
                <a:gd name="connsiteY15" fmla="*/ 28895 h 1873785"/>
                <a:gd name="connsiteX16" fmla="*/ 295241 w 2636599"/>
                <a:gd name="connsiteY16" fmla="*/ 530143 h 1873785"/>
                <a:gd name="connsiteX17" fmla="*/ 294115 w 2636599"/>
                <a:gd name="connsiteY17" fmla="*/ 533179 h 1873785"/>
                <a:gd name="connsiteX18" fmla="*/ 294115 w 2636599"/>
                <a:gd name="connsiteY18" fmla="*/ 1121760 h 1873785"/>
                <a:gd name="connsiteX19" fmla="*/ 24035 w 2636599"/>
                <a:gd name="connsiteY19" fmla="*/ 1424597 h 1873785"/>
                <a:gd name="connsiteX20" fmla="*/ 22910 w 2636599"/>
                <a:gd name="connsiteY20" fmla="*/ 1427633 h 1873785"/>
                <a:gd name="connsiteX21" fmla="*/ 22910 w 2636599"/>
                <a:gd name="connsiteY21" fmla="*/ 1814255 h 1873785"/>
                <a:gd name="connsiteX22" fmla="*/ 30 w 2636599"/>
                <a:gd name="connsiteY22" fmla="*/ 1843867 h 1873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36599" h="1873785">
                  <a:moveTo>
                    <a:pt x="0" y="1843833"/>
                  </a:moveTo>
                  <a:cubicBezTo>
                    <a:pt x="0" y="1860378"/>
                    <a:pt x="11957" y="1873785"/>
                    <a:pt x="26713" y="1873785"/>
                  </a:cubicBezTo>
                  <a:cubicBezTo>
                    <a:pt x="41468" y="1873785"/>
                    <a:pt x="53426" y="1860378"/>
                    <a:pt x="53426" y="1843833"/>
                  </a:cubicBezTo>
                  <a:cubicBezTo>
                    <a:pt x="53426" y="1828754"/>
                    <a:pt x="43477" y="1816302"/>
                    <a:pt x="30546" y="1814221"/>
                  </a:cubicBezTo>
                  <a:lnTo>
                    <a:pt x="30546" y="1429373"/>
                  </a:lnTo>
                  <a:lnTo>
                    <a:pt x="300626" y="1126536"/>
                  </a:lnTo>
                  <a:cubicBezTo>
                    <a:pt x="301326" y="1125752"/>
                    <a:pt x="301751" y="1124660"/>
                    <a:pt x="301751" y="1123534"/>
                  </a:cubicBezTo>
                  <a:lnTo>
                    <a:pt x="301751" y="534953"/>
                  </a:lnTo>
                  <a:lnTo>
                    <a:pt x="746560" y="36196"/>
                  </a:lnTo>
                  <a:lnTo>
                    <a:pt x="2583783" y="36196"/>
                  </a:lnTo>
                  <a:cubicBezTo>
                    <a:pt x="2586338" y="49739"/>
                    <a:pt x="2597048" y="59905"/>
                    <a:pt x="2609887" y="59905"/>
                  </a:cubicBezTo>
                  <a:cubicBezTo>
                    <a:pt x="2624643" y="59905"/>
                    <a:pt x="2636600" y="46498"/>
                    <a:pt x="2636600" y="29953"/>
                  </a:cubicBezTo>
                  <a:cubicBezTo>
                    <a:pt x="2636600" y="13407"/>
                    <a:pt x="2624643" y="0"/>
                    <a:pt x="2609887" y="0"/>
                  </a:cubicBezTo>
                  <a:cubicBezTo>
                    <a:pt x="2595131" y="0"/>
                    <a:pt x="2584361" y="12179"/>
                    <a:pt x="2583296" y="27633"/>
                  </a:cubicBezTo>
                  <a:lnTo>
                    <a:pt x="744978" y="27633"/>
                  </a:lnTo>
                  <a:cubicBezTo>
                    <a:pt x="743974" y="27633"/>
                    <a:pt x="743000" y="28076"/>
                    <a:pt x="742270" y="28895"/>
                  </a:cubicBezTo>
                  <a:lnTo>
                    <a:pt x="295241" y="530143"/>
                  </a:lnTo>
                  <a:cubicBezTo>
                    <a:pt x="294541" y="530927"/>
                    <a:pt x="294115" y="532019"/>
                    <a:pt x="294115" y="533179"/>
                  </a:cubicBezTo>
                  <a:lnTo>
                    <a:pt x="294115" y="1121760"/>
                  </a:lnTo>
                  <a:lnTo>
                    <a:pt x="24035" y="1424597"/>
                  </a:lnTo>
                  <a:cubicBezTo>
                    <a:pt x="23335" y="1425381"/>
                    <a:pt x="22910" y="1426473"/>
                    <a:pt x="22910" y="1427633"/>
                  </a:cubicBezTo>
                  <a:lnTo>
                    <a:pt x="22910" y="1814255"/>
                  </a:lnTo>
                  <a:cubicBezTo>
                    <a:pt x="9979" y="1816336"/>
                    <a:pt x="30" y="1828788"/>
                    <a:pt x="30" y="1843867"/>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2" name="Freeform 375">
              <a:extLst>
                <a:ext uri="{FF2B5EF4-FFF2-40B4-BE49-F238E27FC236}">
                  <a16:creationId xmlns:a16="http://schemas.microsoft.com/office/drawing/2014/main" id="{280B309D-94F5-4FD7-9764-4E1E204E2B23}"/>
                </a:ext>
              </a:extLst>
            </p:cNvPr>
            <p:cNvSpPr/>
            <p:nvPr userDrawn="1"/>
          </p:nvSpPr>
          <p:spPr>
            <a:xfrm>
              <a:off x="7335374" y="3896562"/>
              <a:ext cx="2633283" cy="796271"/>
            </a:xfrm>
            <a:custGeom>
              <a:avLst/>
              <a:gdLst>
                <a:gd name="connsiteX0" fmla="*/ 26743 w 2633283"/>
                <a:gd name="connsiteY0" fmla="*/ 796238 h 796271"/>
                <a:gd name="connsiteX1" fmla="*/ 53152 w 2633283"/>
                <a:gd name="connsiteY1" fmla="*/ 770583 h 796271"/>
                <a:gd name="connsiteX2" fmla="*/ 941765 w 2633283"/>
                <a:gd name="connsiteY2" fmla="*/ 770583 h 796271"/>
                <a:gd name="connsiteX3" fmla="*/ 944442 w 2633283"/>
                <a:gd name="connsiteY3" fmla="*/ 769321 h 796271"/>
                <a:gd name="connsiteX4" fmla="*/ 1622911 w 2633283"/>
                <a:gd name="connsiteY4" fmla="*/ 8563 h 796271"/>
                <a:gd name="connsiteX5" fmla="*/ 2102313 w 2633283"/>
                <a:gd name="connsiteY5" fmla="*/ 8563 h 796271"/>
                <a:gd name="connsiteX6" fmla="*/ 2585761 w 2633283"/>
                <a:gd name="connsiteY6" fmla="*/ 550646 h 796271"/>
                <a:gd name="connsiteX7" fmla="*/ 2579858 w 2633283"/>
                <a:gd name="connsiteY7" fmla="*/ 569409 h 796271"/>
                <a:gd name="connsiteX8" fmla="*/ 2606571 w 2633283"/>
                <a:gd name="connsiteY8" fmla="*/ 599362 h 796271"/>
                <a:gd name="connsiteX9" fmla="*/ 2633284 w 2633283"/>
                <a:gd name="connsiteY9" fmla="*/ 569409 h 796271"/>
                <a:gd name="connsiteX10" fmla="*/ 2606571 w 2633283"/>
                <a:gd name="connsiteY10" fmla="*/ 539456 h 796271"/>
                <a:gd name="connsiteX11" fmla="*/ 2591359 w 2633283"/>
                <a:gd name="connsiteY11" fmla="*/ 544812 h 796271"/>
                <a:gd name="connsiteX12" fmla="*/ 2106603 w 2633283"/>
                <a:gd name="connsiteY12" fmla="*/ 1262 h 796271"/>
                <a:gd name="connsiteX13" fmla="*/ 2103925 w 2633283"/>
                <a:gd name="connsiteY13" fmla="*/ 0 h 796271"/>
                <a:gd name="connsiteX14" fmla="*/ 1621360 w 2633283"/>
                <a:gd name="connsiteY14" fmla="*/ 0 h 796271"/>
                <a:gd name="connsiteX15" fmla="*/ 1618652 w 2633283"/>
                <a:gd name="connsiteY15" fmla="*/ 1262 h 796271"/>
                <a:gd name="connsiteX16" fmla="*/ 940183 w 2633283"/>
                <a:gd name="connsiteY16" fmla="*/ 762021 h 796271"/>
                <a:gd name="connsiteX17" fmla="*/ 53121 w 2633283"/>
                <a:gd name="connsiteY17" fmla="*/ 762021 h 796271"/>
                <a:gd name="connsiteX18" fmla="*/ 26713 w 2633283"/>
                <a:gd name="connsiteY18" fmla="*/ 736366 h 796271"/>
                <a:gd name="connsiteX19" fmla="*/ 0 w 2633283"/>
                <a:gd name="connsiteY19" fmla="*/ 766319 h 796271"/>
                <a:gd name="connsiteX20" fmla="*/ 26713 w 2633283"/>
                <a:gd name="connsiteY20" fmla="*/ 796272 h 79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33283" h="796271">
                  <a:moveTo>
                    <a:pt x="26743" y="796238"/>
                  </a:moveTo>
                  <a:cubicBezTo>
                    <a:pt x="40191" y="796238"/>
                    <a:pt x="51296" y="785082"/>
                    <a:pt x="53152" y="770583"/>
                  </a:cubicBezTo>
                  <a:lnTo>
                    <a:pt x="941765" y="770583"/>
                  </a:lnTo>
                  <a:cubicBezTo>
                    <a:pt x="942769" y="770583"/>
                    <a:pt x="943742" y="770140"/>
                    <a:pt x="944442" y="769321"/>
                  </a:cubicBezTo>
                  <a:lnTo>
                    <a:pt x="1622911" y="8563"/>
                  </a:lnTo>
                  <a:lnTo>
                    <a:pt x="2102313" y="8563"/>
                  </a:lnTo>
                  <a:lnTo>
                    <a:pt x="2585761" y="550646"/>
                  </a:lnTo>
                  <a:cubicBezTo>
                    <a:pt x="2582079" y="555797"/>
                    <a:pt x="2579858" y="562313"/>
                    <a:pt x="2579858" y="569409"/>
                  </a:cubicBezTo>
                  <a:cubicBezTo>
                    <a:pt x="2579858" y="585955"/>
                    <a:pt x="2591815" y="599362"/>
                    <a:pt x="2606571" y="599362"/>
                  </a:cubicBezTo>
                  <a:cubicBezTo>
                    <a:pt x="2621327" y="599362"/>
                    <a:pt x="2633284" y="585955"/>
                    <a:pt x="2633284" y="569409"/>
                  </a:cubicBezTo>
                  <a:cubicBezTo>
                    <a:pt x="2633284" y="552863"/>
                    <a:pt x="2621327" y="539456"/>
                    <a:pt x="2606571" y="539456"/>
                  </a:cubicBezTo>
                  <a:cubicBezTo>
                    <a:pt x="2600912" y="539456"/>
                    <a:pt x="2595679" y="541435"/>
                    <a:pt x="2591359" y="544812"/>
                  </a:cubicBezTo>
                  <a:lnTo>
                    <a:pt x="2106603" y="1262"/>
                  </a:lnTo>
                  <a:cubicBezTo>
                    <a:pt x="2105903" y="478"/>
                    <a:pt x="2104930" y="0"/>
                    <a:pt x="2103925" y="0"/>
                  </a:cubicBezTo>
                  <a:lnTo>
                    <a:pt x="1621360" y="0"/>
                  </a:lnTo>
                  <a:cubicBezTo>
                    <a:pt x="1620356" y="0"/>
                    <a:pt x="1619382" y="444"/>
                    <a:pt x="1618652" y="1262"/>
                  </a:cubicBezTo>
                  <a:lnTo>
                    <a:pt x="940183" y="762021"/>
                  </a:lnTo>
                  <a:lnTo>
                    <a:pt x="53121" y="762021"/>
                  </a:lnTo>
                  <a:cubicBezTo>
                    <a:pt x="51266" y="747522"/>
                    <a:pt x="40160" y="736366"/>
                    <a:pt x="26713" y="736366"/>
                  </a:cubicBezTo>
                  <a:cubicBezTo>
                    <a:pt x="11957" y="736366"/>
                    <a:pt x="0" y="749774"/>
                    <a:pt x="0" y="766319"/>
                  </a:cubicBezTo>
                  <a:cubicBezTo>
                    <a:pt x="0" y="782865"/>
                    <a:pt x="11957" y="796272"/>
                    <a:pt x="26713" y="796272"/>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3" name="Freeform 377">
              <a:extLst>
                <a:ext uri="{FF2B5EF4-FFF2-40B4-BE49-F238E27FC236}">
                  <a16:creationId xmlns:a16="http://schemas.microsoft.com/office/drawing/2014/main" id="{01FF0F50-0CA7-2074-D9DE-CF46E3D971E8}"/>
                </a:ext>
              </a:extLst>
            </p:cNvPr>
            <p:cNvSpPr/>
            <p:nvPr userDrawn="1"/>
          </p:nvSpPr>
          <p:spPr>
            <a:xfrm>
              <a:off x="6997873" y="5599437"/>
              <a:ext cx="1193650" cy="621331"/>
            </a:xfrm>
            <a:custGeom>
              <a:avLst/>
              <a:gdLst>
                <a:gd name="connsiteX0" fmla="*/ 26682 w 1193650"/>
                <a:gd name="connsiteY0" fmla="*/ 621332 h 621331"/>
                <a:gd name="connsiteX1" fmla="*/ 53395 w 1193650"/>
                <a:gd name="connsiteY1" fmla="*/ 591379 h 621331"/>
                <a:gd name="connsiteX2" fmla="*/ 26835 w 1193650"/>
                <a:gd name="connsiteY2" fmla="*/ 561460 h 621331"/>
                <a:gd name="connsiteX3" fmla="*/ 26835 w 1193650"/>
                <a:gd name="connsiteY3" fmla="*/ 444447 h 621331"/>
                <a:gd name="connsiteX4" fmla="*/ 392661 w 1193650"/>
                <a:gd name="connsiteY4" fmla="*/ 34251 h 621331"/>
                <a:gd name="connsiteX5" fmla="*/ 1140528 w 1193650"/>
                <a:gd name="connsiteY5" fmla="*/ 34251 h 621331"/>
                <a:gd name="connsiteX6" fmla="*/ 1166938 w 1193650"/>
                <a:gd name="connsiteY6" fmla="*/ 59905 h 621331"/>
                <a:gd name="connsiteX7" fmla="*/ 1193650 w 1193650"/>
                <a:gd name="connsiteY7" fmla="*/ 29953 h 621331"/>
                <a:gd name="connsiteX8" fmla="*/ 1166938 w 1193650"/>
                <a:gd name="connsiteY8" fmla="*/ 0 h 621331"/>
                <a:gd name="connsiteX9" fmla="*/ 1140528 w 1193650"/>
                <a:gd name="connsiteY9" fmla="*/ 25654 h 621331"/>
                <a:gd name="connsiteX10" fmla="*/ 391079 w 1193650"/>
                <a:gd name="connsiteY10" fmla="*/ 25654 h 621331"/>
                <a:gd name="connsiteX11" fmla="*/ 388401 w 1193650"/>
                <a:gd name="connsiteY11" fmla="*/ 26917 h 621331"/>
                <a:gd name="connsiteX12" fmla="*/ 20354 w 1193650"/>
                <a:gd name="connsiteY12" fmla="*/ 439602 h 621331"/>
                <a:gd name="connsiteX13" fmla="*/ 19229 w 1193650"/>
                <a:gd name="connsiteY13" fmla="*/ 442639 h 621331"/>
                <a:gd name="connsiteX14" fmla="*/ 19229 w 1193650"/>
                <a:gd name="connsiteY14" fmla="*/ 562620 h 621331"/>
                <a:gd name="connsiteX15" fmla="*/ 0 w 1193650"/>
                <a:gd name="connsiteY15" fmla="*/ 591345 h 621331"/>
                <a:gd name="connsiteX16" fmla="*/ 26713 w 1193650"/>
                <a:gd name="connsiteY16" fmla="*/ 621297 h 62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93650" h="621331">
                  <a:moveTo>
                    <a:pt x="26682" y="621332"/>
                  </a:moveTo>
                  <a:cubicBezTo>
                    <a:pt x="41438" y="621332"/>
                    <a:pt x="53395" y="607924"/>
                    <a:pt x="53395" y="591379"/>
                  </a:cubicBezTo>
                  <a:cubicBezTo>
                    <a:pt x="53395" y="574833"/>
                    <a:pt x="41529" y="561528"/>
                    <a:pt x="26835" y="561460"/>
                  </a:cubicBezTo>
                  <a:lnTo>
                    <a:pt x="26835" y="444447"/>
                  </a:lnTo>
                  <a:lnTo>
                    <a:pt x="392661" y="34251"/>
                  </a:lnTo>
                  <a:lnTo>
                    <a:pt x="1140528" y="34251"/>
                  </a:lnTo>
                  <a:cubicBezTo>
                    <a:pt x="1142385" y="48750"/>
                    <a:pt x="1153489" y="59905"/>
                    <a:pt x="1166938" y="59905"/>
                  </a:cubicBezTo>
                  <a:cubicBezTo>
                    <a:pt x="1181693" y="59905"/>
                    <a:pt x="1193650" y="46498"/>
                    <a:pt x="1193650" y="29953"/>
                  </a:cubicBezTo>
                  <a:cubicBezTo>
                    <a:pt x="1193650" y="13407"/>
                    <a:pt x="1181693" y="0"/>
                    <a:pt x="1166938" y="0"/>
                  </a:cubicBezTo>
                  <a:cubicBezTo>
                    <a:pt x="1153489" y="0"/>
                    <a:pt x="1142385" y="11156"/>
                    <a:pt x="1140528" y="25654"/>
                  </a:cubicBezTo>
                  <a:lnTo>
                    <a:pt x="391079" y="25654"/>
                  </a:lnTo>
                  <a:cubicBezTo>
                    <a:pt x="390074" y="25654"/>
                    <a:pt x="389101" y="26098"/>
                    <a:pt x="388401" y="26917"/>
                  </a:cubicBezTo>
                  <a:lnTo>
                    <a:pt x="20354" y="439602"/>
                  </a:lnTo>
                  <a:cubicBezTo>
                    <a:pt x="19654" y="440387"/>
                    <a:pt x="19229" y="441479"/>
                    <a:pt x="19229" y="442639"/>
                  </a:cubicBezTo>
                  <a:lnTo>
                    <a:pt x="19229" y="562620"/>
                  </a:lnTo>
                  <a:cubicBezTo>
                    <a:pt x="8123" y="566236"/>
                    <a:pt x="0" y="577733"/>
                    <a:pt x="0" y="591345"/>
                  </a:cubicBezTo>
                  <a:cubicBezTo>
                    <a:pt x="0" y="607890"/>
                    <a:pt x="11957" y="621297"/>
                    <a:pt x="26713" y="621297"/>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4" name="Freeform 378">
              <a:extLst>
                <a:ext uri="{FF2B5EF4-FFF2-40B4-BE49-F238E27FC236}">
                  <a16:creationId xmlns:a16="http://schemas.microsoft.com/office/drawing/2014/main" id="{81D42876-3E80-1EDB-2B82-3C1AC517AD16}"/>
                </a:ext>
              </a:extLst>
            </p:cNvPr>
            <p:cNvSpPr/>
            <p:nvPr userDrawn="1"/>
          </p:nvSpPr>
          <p:spPr>
            <a:xfrm>
              <a:off x="7051269" y="5652894"/>
              <a:ext cx="1193649" cy="621331"/>
            </a:xfrm>
            <a:custGeom>
              <a:avLst/>
              <a:gdLst>
                <a:gd name="connsiteX0" fmla="*/ 26682 w 1193649"/>
                <a:gd name="connsiteY0" fmla="*/ 621332 h 621331"/>
                <a:gd name="connsiteX1" fmla="*/ 53395 w 1193649"/>
                <a:gd name="connsiteY1" fmla="*/ 591379 h 621331"/>
                <a:gd name="connsiteX2" fmla="*/ 26834 w 1193649"/>
                <a:gd name="connsiteY2" fmla="*/ 561460 h 621331"/>
                <a:gd name="connsiteX3" fmla="*/ 26834 w 1193649"/>
                <a:gd name="connsiteY3" fmla="*/ 444446 h 621331"/>
                <a:gd name="connsiteX4" fmla="*/ 392660 w 1193649"/>
                <a:gd name="connsiteY4" fmla="*/ 34251 h 621331"/>
                <a:gd name="connsiteX5" fmla="*/ 1140528 w 1193649"/>
                <a:gd name="connsiteY5" fmla="*/ 34251 h 621331"/>
                <a:gd name="connsiteX6" fmla="*/ 1166937 w 1193649"/>
                <a:gd name="connsiteY6" fmla="*/ 59905 h 621331"/>
                <a:gd name="connsiteX7" fmla="*/ 1193650 w 1193649"/>
                <a:gd name="connsiteY7" fmla="*/ 29952 h 621331"/>
                <a:gd name="connsiteX8" fmla="*/ 1166937 w 1193649"/>
                <a:gd name="connsiteY8" fmla="*/ 0 h 621331"/>
                <a:gd name="connsiteX9" fmla="*/ 1140528 w 1193649"/>
                <a:gd name="connsiteY9" fmla="*/ 25654 h 621331"/>
                <a:gd name="connsiteX10" fmla="*/ 391078 w 1193649"/>
                <a:gd name="connsiteY10" fmla="*/ 25654 h 621331"/>
                <a:gd name="connsiteX11" fmla="*/ 388401 w 1193649"/>
                <a:gd name="connsiteY11" fmla="*/ 26916 h 621331"/>
                <a:gd name="connsiteX12" fmla="*/ 20354 w 1193649"/>
                <a:gd name="connsiteY12" fmla="*/ 439602 h 621331"/>
                <a:gd name="connsiteX13" fmla="*/ 19228 w 1193649"/>
                <a:gd name="connsiteY13" fmla="*/ 442639 h 621331"/>
                <a:gd name="connsiteX14" fmla="*/ 19228 w 1193649"/>
                <a:gd name="connsiteY14" fmla="*/ 562620 h 621331"/>
                <a:gd name="connsiteX15" fmla="*/ 0 w 1193649"/>
                <a:gd name="connsiteY15" fmla="*/ 591345 h 621331"/>
                <a:gd name="connsiteX16" fmla="*/ 26713 w 1193649"/>
                <a:gd name="connsiteY16" fmla="*/ 621297 h 62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93649" h="621331">
                  <a:moveTo>
                    <a:pt x="26682" y="621332"/>
                  </a:moveTo>
                  <a:cubicBezTo>
                    <a:pt x="41438" y="621332"/>
                    <a:pt x="53395" y="607924"/>
                    <a:pt x="53395" y="591379"/>
                  </a:cubicBezTo>
                  <a:cubicBezTo>
                    <a:pt x="53395" y="574833"/>
                    <a:pt x="41529" y="561528"/>
                    <a:pt x="26834" y="561460"/>
                  </a:cubicBezTo>
                  <a:lnTo>
                    <a:pt x="26834" y="444446"/>
                  </a:lnTo>
                  <a:lnTo>
                    <a:pt x="392660" y="34251"/>
                  </a:lnTo>
                  <a:lnTo>
                    <a:pt x="1140528" y="34251"/>
                  </a:lnTo>
                  <a:cubicBezTo>
                    <a:pt x="1142385" y="48750"/>
                    <a:pt x="1153489" y="59905"/>
                    <a:pt x="1166937" y="59905"/>
                  </a:cubicBezTo>
                  <a:cubicBezTo>
                    <a:pt x="1181693" y="59905"/>
                    <a:pt x="1193650" y="46498"/>
                    <a:pt x="1193650" y="29952"/>
                  </a:cubicBezTo>
                  <a:cubicBezTo>
                    <a:pt x="1193650" y="13407"/>
                    <a:pt x="1181693" y="0"/>
                    <a:pt x="1166937" y="0"/>
                  </a:cubicBezTo>
                  <a:cubicBezTo>
                    <a:pt x="1153489" y="0"/>
                    <a:pt x="1142385" y="11155"/>
                    <a:pt x="1140528" y="25654"/>
                  </a:cubicBezTo>
                  <a:lnTo>
                    <a:pt x="391078" y="25654"/>
                  </a:lnTo>
                  <a:cubicBezTo>
                    <a:pt x="390074" y="25654"/>
                    <a:pt x="389101" y="26097"/>
                    <a:pt x="388401" y="26916"/>
                  </a:cubicBezTo>
                  <a:lnTo>
                    <a:pt x="20354" y="439602"/>
                  </a:lnTo>
                  <a:cubicBezTo>
                    <a:pt x="19654" y="440387"/>
                    <a:pt x="19228" y="441478"/>
                    <a:pt x="19228" y="442639"/>
                  </a:cubicBezTo>
                  <a:lnTo>
                    <a:pt x="19228" y="562620"/>
                  </a:lnTo>
                  <a:cubicBezTo>
                    <a:pt x="8123" y="566236"/>
                    <a:pt x="0" y="577733"/>
                    <a:pt x="0" y="591345"/>
                  </a:cubicBezTo>
                  <a:cubicBezTo>
                    <a:pt x="0" y="607890"/>
                    <a:pt x="11957" y="621297"/>
                    <a:pt x="26713" y="621297"/>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5" name="Freeform 379">
              <a:extLst>
                <a:ext uri="{FF2B5EF4-FFF2-40B4-BE49-F238E27FC236}">
                  <a16:creationId xmlns:a16="http://schemas.microsoft.com/office/drawing/2014/main" id="{17C0FB8C-142C-8457-E955-08CD52107067}"/>
                </a:ext>
              </a:extLst>
            </p:cNvPr>
            <p:cNvSpPr/>
            <p:nvPr userDrawn="1"/>
          </p:nvSpPr>
          <p:spPr>
            <a:xfrm>
              <a:off x="5695789" y="5695162"/>
              <a:ext cx="301812" cy="347390"/>
            </a:xfrm>
            <a:custGeom>
              <a:avLst/>
              <a:gdLst>
                <a:gd name="connsiteX0" fmla="*/ 26743 w 301812"/>
                <a:gd name="connsiteY0" fmla="*/ 59940 h 347390"/>
                <a:gd name="connsiteX1" fmla="*/ 40617 w 301812"/>
                <a:gd name="connsiteY1" fmla="*/ 55539 h 347390"/>
                <a:gd name="connsiteX2" fmla="*/ 255780 w 301812"/>
                <a:gd name="connsiteY2" fmla="*/ 296798 h 347390"/>
                <a:gd name="connsiteX3" fmla="*/ 248387 w 301812"/>
                <a:gd name="connsiteY3" fmla="*/ 317438 h 347390"/>
                <a:gd name="connsiteX4" fmla="*/ 275100 w 301812"/>
                <a:gd name="connsiteY4" fmla="*/ 347391 h 347390"/>
                <a:gd name="connsiteX5" fmla="*/ 301813 w 301812"/>
                <a:gd name="connsiteY5" fmla="*/ 317438 h 347390"/>
                <a:gd name="connsiteX6" fmla="*/ 275100 w 301812"/>
                <a:gd name="connsiteY6" fmla="*/ 287485 h 347390"/>
                <a:gd name="connsiteX7" fmla="*/ 261804 w 301812"/>
                <a:gd name="connsiteY7" fmla="*/ 291476 h 347390"/>
                <a:gd name="connsiteX8" fmla="*/ 46489 w 301812"/>
                <a:gd name="connsiteY8" fmla="*/ 50046 h 347390"/>
                <a:gd name="connsiteX9" fmla="*/ 53426 w 301812"/>
                <a:gd name="connsiteY9" fmla="*/ 29953 h 347390"/>
                <a:gd name="connsiteX10" fmla="*/ 26713 w 301812"/>
                <a:gd name="connsiteY10" fmla="*/ 0 h 347390"/>
                <a:gd name="connsiteX11" fmla="*/ 0 w 301812"/>
                <a:gd name="connsiteY11" fmla="*/ 29953 h 347390"/>
                <a:gd name="connsiteX12" fmla="*/ 26713 w 301812"/>
                <a:gd name="connsiteY12" fmla="*/ 59906 h 34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1812" h="347390">
                  <a:moveTo>
                    <a:pt x="26743" y="59940"/>
                  </a:moveTo>
                  <a:cubicBezTo>
                    <a:pt x="31824" y="59940"/>
                    <a:pt x="36570" y="58302"/>
                    <a:pt x="40617" y="55539"/>
                  </a:cubicBezTo>
                  <a:lnTo>
                    <a:pt x="255780" y="296798"/>
                  </a:lnTo>
                  <a:cubicBezTo>
                    <a:pt x="251217" y="302154"/>
                    <a:pt x="248387" y="309421"/>
                    <a:pt x="248387" y="317438"/>
                  </a:cubicBezTo>
                  <a:cubicBezTo>
                    <a:pt x="248387" y="333983"/>
                    <a:pt x="260344" y="347391"/>
                    <a:pt x="275100" y="347391"/>
                  </a:cubicBezTo>
                  <a:cubicBezTo>
                    <a:pt x="289856" y="347391"/>
                    <a:pt x="301813" y="333983"/>
                    <a:pt x="301813" y="317438"/>
                  </a:cubicBezTo>
                  <a:cubicBezTo>
                    <a:pt x="301813" y="300892"/>
                    <a:pt x="289856" y="287485"/>
                    <a:pt x="275100" y="287485"/>
                  </a:cubicBezTo>
                  <a:cubicBezTo>
                    <a:pt x="270262" y="287485"/>
                    <a:pt x="265729" y="288952"/>
                    <a:pt x="261804" y="291476"/>
                  </a:cubicBezTo>
                  <a:lnTo>
                    <a:pt x="46489" y="50046"/>
                  </a:lnTo>
                  <a:cubicBezTo>
                    <a:pt x="50779" y="44725"/>
                    <a:pt x="53426" y="37697"/>
                    <a:pt x="53426" y="29953"/>
                  </a:cubicBezTo>
                  <a:cubicBezTo>
                    <a:pt x="53426" y="13407"/>
                    <a:pt x="41469" y="0"/>
                    <a:pt x="26713" y="0"/>
                  </a:cubicBezTo>
                  <a:cubicBezTo>
                    <a:pt x="11957" y="0"/>
                    <a:pt x="0" y="13407"/>
                    <a:pt x="0" y="29953"/>
                  </a:cubicBezTo>
                  <a:cubicBezTo>
                    <a:pt x="0" y="46498"/>
                    <a:pt x="11957" y="59906"/>
                    <a:pt x="26713" y="5990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6" name="Freeform 380">
              <a:extLst>
                <a:ext uri="{FF2B5EF4-FFF2-40B4-BE49-F238E27FC236}">
                  <a16:creationId xmlns:a16="http://schemas.microsoft.com/office/drawing/2014/main" id="{854D0632-284F-B488-83B0-6F4D7F78A196}"/>
                </a:ext>
              </a:extLst>
            </p:cNvPr>
            <p:cNvSpPr/>
            <p:nvPr userDrawn="1"/>
          </p:nvSpPr>
          <p:spPr>
            <a:xfrm>
              <a:off x="6064688" y="6020753"/>
              <a:ext cx="887882" cy="59905"/>
            </a:xfrm>
            <a:custGeom>
              <a:avLst/>
              <a:gdLst>
                <a:gd name="connsiteX0" fmla="*/ 26713 w 887882"/>
                <a:gd name="connsiteY0" fmla="*/ 59905 h 59905"/>
                <a:gd name="connsiteX1" fmla="*/ 53122 w 887882"/>
                <a:gd name="connsiteY1" fmla="*/ 34251 h 59905"/>
                <a:gd name="connsiteX2" fmla="*/ 834761 w 887882"/>
                <a:gd name="connsiteY2" fmla="*/ 34251 h 59905"/>
                <a:gd name="connsiteX3" fmla="*/ 861170 w 887882"/>
                <a:gd name="connsiteY3" fmla="*/ 59905 h 59905"/>
                <a:gd name="connsiteX4" fmla="*/ 887882 w 887882"/>
                <a:gd name="connsiteY4" fmla="*/ 29953 h 59905"/>
                <a:gd name="connsiteX5" fmla="*/ 861170 w 887882"/>
                <a:gd name="connsiteY5" fmla="*/ 0 h 59905"/>
                <a:gd name="connsiteX6" fmla="*/ 834761 w 887882"/>
                <a:gd name="connsiteY6" fmla="*/ 25654 h 59905"/>
                <a:gd name="connsiteX7" fmla="*/ 53122 w 887882"/>
                <a:gd name="connsiteY7" fmla="*/ 25654 h 59905"/>
                <a:gd name="connsiteX8" fmla="*/ 26713 w 887882"/>
                <a:gd name="connsiteY8" fmla="*/ 0 h 59905"/>
                <a:gd name="connsiteX9" fmla="*/ 0 w 887882"/>
                <a:gd name="connsiteY9" fmla="*/ 29953 h 59905"/>
                <a:gd name="connsiteX10" fmla="*/ 26713 w 887882"/>
                <a:gd name="connsiteY10" fmla="*/ 59905 h 5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7882" h="59905">
                  <a:moveTo>
                    <a:pt x="26713" y="59905"/>
                  </a:moveTo>
                  <a:cubicBezTo>
                    <a:pt x="40161" y="59905"/>
                    <a:pt x="51266" y="48750"/>
                    <a:pt x="53122" y="34251"/>
                  </a:cubicBezTo>
                  <a:lnTo>
                    <a:pt x="834761" y="34251"/>
                  </a:lnTo>
                  <a:cubicBezTo>
                    <a:pt x="836617" y="48750"/>
                    <a:pt x="847722" y="59905"/>
                    <a:pt x="861170" y="59905"/>
                  </a:cubicBezTo>
                  <a:cubicBezTo>
                    <a:pt x="875926" y="59905"/>
                    <a:pt x="887882" y="46498"/>
                    <a:pt x="887882" y="29953"/>
                  </a:cubicBezTo>
                  <a:cubicBezTo>
                    <a:pt x="887882" y="13407"/>
                    <a:pt x="875926" y="0"/>
                    <a:pt x="861170" y="0"/>
                  </a:cubicBezTo>
                  <a:cubicBezTo>
                    <a:pt x="847722" y="0"/>
                    <a:pt x="836617" y="11156"/>
                    <a:pt x="834761" y="25654"/>
                  </a:cubicBezTo>
                  <a:lnTo>
                    <a:pt x="53122" y="25654"/>
                  </a:lnTo>
                  <a:cubicBezTo>
                    <a:pt x="51266" y="11156"/>
                    <a:pt x="40161" y="0"/>
                    <a:pt x="26713" y="0"/>
                  </a:cubicBezTo>
                  <a:cubicBezTo>
                    <a:pt x="11957" y="0"/>
                    <a:pt x="0" y="13407"/>
                    <a:pt x="0" y="29953"/>
                  </a:cubicBezTo>
                  <a:cubicBezTo>
                    <a:pt x="0" y="46498"/>
                    <a:pt x="11957" y="59905"/>
                    <a:pt x="26713" y="5990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7" name="Freeform 381">
              <a:extLst>
                <a:ext uri="{FF2B5EF4-FFF2-40B4-BE49-F238E27FC236}">
                  <a16:creationId xmlns:a16="http://schemas.microsoft.com/office/drawing/2014/main" id="{EC58AB27-85BF-11F4-AB2C-5DB5C8AB6F2F}"/>
                </a:ext>
              </a:extLst>
            </p:cNvPr>
            <p:cNvSpPr/>
            <p:nvPr userDrawn="1"/>
          </p:nvSpPr>
          <p:spPr>
            <a:xfrm>
              <a:off x="5635092" y="5763221"/>
              <a:ext cx="301812" cy="347390"/>
            </a:xfrm>
            <a:custGeom>
              <a:avLst/>
              <a:gdLst>
                <a:gd name="connsiteX0" fmla="*/ 26743 w 301812"/>
                <a:gd name="connsiteY0" fmla="*/ 59939 h 347390"/>
                <a:gd name="connsiteX1" fmla="*/ 40617 w 301812"/>
                <a:gd name="connsiteY1" fmla="*/ 55539 h 347390"/>
                <a:gd name="connsiteX2" fmla="*/ 255780 w 301812"/>
                <a:gd name="connsiteY2" fmla="*/ 296798 h 347390"/>
                <a:gd name="connsiteX3" fmla="*/ 248387 w 301812"/>
                <a:gd name="connsiteY3" fmla="*/ 317437 h 347390"/>
                <a:gd name="connsiteX4" fmla="*/ 275100 w 301812"/>
                <a:gd name="connsiteY4" fmla="*/ 347390 h 347390"/>
                <a:gd name="connsiteX5" fmla="*/ 301812 w 301812"/>
                <a:gd name="connsiteY5" fmla="*/ 317437 h 347390"/>
                <a:gd name="connsiteX6" fmla="*/ 275100 w 301812"/>
                <a:gd name="connsiteY6" fmla="*/ 287485 h 347390"/>
                <a:gd name="connsiteX7" fmla="*/ 261804 w 301812"/>
                <a:gd name="connsiteY7" fmla="*/ 291476 h 347390"/>
                <a:gd name="connsiteX8" fmla="*/ 46489 w 301812"/>
                <a:gd name="connsiteY8" fmla="*/ 50046 h 347390"/>
                <a:gd name="connsiteX9" fmla="*/ 53426 w 301812"/>
                <a:gd name="connsiteY9" fmla="*/ 29953 h 347390"/>
                <a:gd name="connsiteX10" fmla="*/ 26713 w 301812"/>
                <a:gd name="connsiteY10" fmla="*/ 0 h 347390"/>
                <a:gd name="connsiteX11" fmla="*/ 0 w 301812"/>
                <a:gd name="connsiteY11" fmla="*/ 29953 h 347390"/>
                <a:gd name="connsiteX12" fmla="*/ 26713 w 301812"/>
                <a:gd name="connsiteY12" fmla="*/ 59905 h 34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1812" h="347390">
                  <a:moveTo>
                    <a:pt x="26743" y="59939"/>
                  </a:moveTo>
                  <a:cubicBezTo>
                    <a:pt x="31824" y="59939"/>
                    <a:pt x="36570" y="58302"/>
                    <a:pt x="40617" y="55539"/>
                  </a:cubicBezTo>
                  <a:lnTo>
                    <a:pt x="255780" y="296798"/>
                  </a:lnTo>
                  <a:cubicBezTo>
                    <a:pt x="251216" y="302154"/>
                    <a:pt x="248387" y="309420"/>
                    <a:pt x="248387" y="317437"/>
                  </a:cubicBezTo>
                  <a:cubicBezTo>
                    <a:pt x="248387" y="333983"/>
                    <a:pt x="260344" y="347390"/>
                    <a:pt x="275100" y="347390"/>
                  </a:cubicBezTo>
                  <a:cubicBezTo>
                    <a:pt x="289856" y="347390"/>
                    <a:pt x="301812" y="333983"/>
                    <a:pt x="301812" y="317437"/>
                  </a:cubicBezTo>
                  <a:cubicBezTo>
                    <a:pt x="301812" y="300892"/>
                    <a:pt x="289856" y="287485"/>
                    <a:pt x="275100" y="287485"/>
                  </a:cubicBezTo>
                  <a:cubicBezTo>
                    <a:pt x="270262" y="287485"/>
                    <a:pt x="265729" y="288952"/>
                    <a:pt x="261804" y="291476"/>
                  </a:cubicBezTo>
                  <a:lnTo>
                    <a:pt x="46489" y="50046"/>
                  </a:lnTo>
                  <a:cubicBezTo>
                    <a:pt x="50779" y="44724"/>
                    <a:pt x="53426" y="37697"/>
                    <a:pt x="53426" y="29953"/>
                  </a:cubicBezTo>
                  <a:cubicBezTo>
                    <a:pt x="53426" y="13407"/>
                    <a:pt x="41469" y="0"/>
                    <a:pt x="26713" y="0"/>
                  </a:cubicBezTo>
                  <a:cubicBezTo>
                    <a:pt x="11957" y="0"/>
                    <a:pt x="0" y="13407"/>
                    <a:pt x="0" y="29953"/>
                  </a:cubicBezTo>
                  <a:cubicBezTo>
                    <a:pt x="0" y="46498"/>
                    <a:pt x="11957" y="59905"/>
                    <a:pt x="26713" y="59905"/>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8" name="Freeform 382">
              <a:extLst>
                <a:ext uri="{FF2B5EF4-FFF2-40B4-BE49-F238E27FC236}">
                  <a16:creationId xmlns:a16="http://schemas.microsoft.com/office/drawing/2014/main" id="{D031990B-2081-61D5-5495-C8092500D41C}"/>
                </a:ext>
              </a:extLst>
            </p:cNvPr>
            <p:cNvSpPr/>
            <p:nvPr userDrawn="1"/>
          </p:nvSpPr>
          <p:spPr>
            <a:xfrm>
              <a:off x="7456859" y="4607005"/>
              <a:ext cx="1402181" cy="677484"/>
            </a:xfrm>
            <a:custGeom>
              <a:avLst/>
              <a:gdLst>
                <a:gd name="connsiteX0" fmla="*/ 26743 w 1402181"/>
                <a:gd name="connsiteY0" fmla="*/ 420532 h 677484"/>
                <a:gd name="connsiteX1" fmla="*/ 42716 w 1402181"/>
                <a:gd name="connsiteY1" fmla="*/ 414528 h 677484"/>
                <a:gd name="connsiteX2" fmla="*/ 276104 w 1402181"/>
                <a:gd name="connsiteY2" fmla="*/ 676222 h 677484"/>
                <a:gd name="connsiteX3" fmla="*/ 278781 w 1402181"/>
                <a:gd name="connsiteY3" fmla="*/ 677484 h 677484"/>
                <a:gd name="connsiteX4" fmla="*/ 801811 w 1402181"/>
                <a:gd name="connsiteY4" fmla="*/ 677484 h 677484"/>
                <a:gd name="connsiteX5" fmla="*/ 804489 w 1402181"/>
                <a:gd name="connsiteY5" fmla="*/ 676222 h 677484"/>
                <a:gd name="connsiteX6" fmla="*/ 1359495 w 1402181"/>
                <a:gd name="connsiteY6" fmla="*/ 53901 h 677484"/>
                <a:gd name="connsiteX7" fmla="*/ 1375468 w 1402181"/>
                <a:gd name="connsiteY7" fmla="*/ 59906 h 677484"/>
                <a:gd name="connsiteX8" fmla="*/ 1402181 w 1402181"/>
                <a:gd name="connsiteY8" fmla="*/ 29953 h 677484"/>
                <a:gd name="connsiteX9" fmla="*/ 1375468 w 1402181"/>
                <a:gd name="connsiteY9" fmla="*/ 0 h 677484"/>
                <a:gd name="connsiteX10" fmla="*/ 1348755 w 1402181"/>
                <a:gd name="connsiteY10" fmla="*/ 29953 h 677484"/>
                <a:gd name="connsiteX11" fmla="*/ 1354110 w 1402181"/>
                <a:gd name="connsiteY11" fmla="*/ 47863 h 677484"/>
                <a:gd name="connsiteX12" fmla="*/ 800199 w 1402181"/>
                <a:gd name="connsiteY12" fmla="*/ 668956 h 677484"/>
                <a:gd name="connsiteX13" fmla="*/ 280333 w 1402181"/>
                <a:gd name="connsiteY13" fmla="*/ 668956 h 677484"/>
                <a:gd name="connsiteX14" fmla="*/ 48071 w 1402181"/>
                <a:gd name="connsiteY14" fmla="*/ 408524 h 677484"/>
                <a:gd name="connsiteX15" fmla="*/ 53426 w 1402181"/>
                <a:gd name="connsiteY15" fmla="*/ 390614 h 677484"/>
                <a:gd name="connsiteX16" fmla="*/ 26713 w 1402181"/>
                <a:gd name="connsiteY16" fmla="*/ 360661 h 677484"/>
                <a:gd name="connsiteX17" fmla="*/ 0 w 1402181"/>
                <a:gd name="connsiteY17" fmla="*/ 390614 h 677484"/>
                <a:gd name="connsiteX18" fmla="*/ 26713 w 1402181"/>
                <a:gd name="connsiteY18" fmla="*/ 420566 h 67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02181" h="677484">
                  <a:moveTo>
                    <a:pt x="26743" y="420532"/>
                  </a:moveTo>
                  <a:cubicBezTo>
                    <a:pt x="32737" y="420532"/>
                    <a:pt x="38274" y="418281"/>
                    <a:pt x="42716" y="414528"/>
                  </a:cubicBezTo>
                  <a:lnTo>
                    <a:pt x="276104" y="676222"/>
                  </a:lnTo>
                  <a:cubicBezTo>
                    <a:pt x="276803" y="677007"/>
                    <a:pt x="277777" y="677484"/>
                    <a:pt x="278781" y="677484"/>
                  </a:cubicBezTo>
                  <a:lnTo>
                    <a:pt x="801811" y="677484"/>
                  </a:lnTo>
                  <a:cubicBezTo>
                    <a:pt x="802816" y="677484"/>
                    <a:pt x="803789" y="677041"/>
                    <a:pt x="804489" y="676222"/>
                  </a:cubicBezTo>
                  <a:lnTo>
                    <a:pt x="1359495" y="53901"/>
                  </a:lnTo>
                  <a:cubicBezTo>
                    <a:pt x="1363968" y="57654"/>
                    <a:pt x="1369475" y="59906"/>
                    <a:pt x="1375468" y="59906"/>
                  </a:cubicBezTo>
                  <a:cubicBezTo>
                    <a:pt x="1390224" y="59906"/>
                    <a:pt x="1402181" y="46498"/>
                    <a:pt x="1402181" y="29953"/>
                  </a:cubicBezTo>
                  <a:cubicBezTo>
                    <a:pt x="1402181" y="13407"/>
                    <a:pt x="1390224" y="0"/>
                    <a:pt x="1375468" y="0"/>
                  </a:cubicBezTo>
                  <a:cubicBezTo>
                    <a:pt x="1360712" y="0"/>
                    <a:pt x="1348755" y="13407"/>
                    <a:pt x="1348755" y="29953"/>
                  </a:cubicBezTo>
                  <a:cubicBezTo>
                    <a:pt x="1348755" y="36673"/>
                    <a:pt x="1350764" y="42882"/>
                    <a:pt x="1354110" y="47863"/>
                  </a:cubicBezTo>
                  <a:lnTo>
                    <a:pt x="800199" y="668956"/>
                  </a:lnTo>
                  <a:lnTo>
                    <a:pt x="280333" y="668956"/>
                  </a:lnTo>
                  <a:lnTo>
                    <a:pt x="48071" y="408524"/>
                  </a:lnTo>
                  <a:cubicBezTo>
                    <a:pt x="51418" y="403509"/>
                    <a:pt x="53426" y="397334"/>
                    <a:pt x="53426" y="390614"/>
                  </a:cubicBezTo>
                  <a:cubicBezTo>
                    <a:pt x="53426" y="374068"/>
                    <a:pt x="41469" y="360661"/>
                    <a:pt x="26713" y="360661"/>
                  </a:cubicBezTo>
                  <a:cubicBezTo>
                    <a:pt x="11957" y="360661"/>
                    <a:pt x="0" y="374068"/>
                    <a:pt x="0" y="390614"/>
                  </a:cubicBezTo>
                  <a:cubicBezTo>
                    <a:pt x="0" y="407159"/>
                    <a:pt x="11957" y="420566"/>
                    <a:pt x="26713" y="42056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9" name="Freeform 384">
              <a:extLst>
                <a:ext uri="{FF2B5EF4-FFF2-40B4-BE49-F238E27FC236}">
                  <a16:creationId xmlns:a16="http://schemas.microsoft.com/office/drawing/2014/main" id="{04A12620-DFAF-D3D3-81A9-0805BC2DC1CE}"/>
                </a:ext>
              </a:extLst>
            </p:cNvPr>
            <p:cNvSpPr/>
            <p:nvPr userDrawn="1"/>
          </p:nvSpPr>
          <p:spPr>
            <a:xfrm>
              <a:off x="8876443" y="411065"/>
              <a:ext cx="925943" cy="651113"/>
            </a:xfrm>
            <a:custGeom>
              <a:avLst/>
              <a:gdLst>
                <a:gd name="connsiteX0" fmla="*/ 26682 w 925943"/>
                <a:gd name="connsiteY0" fmla="*/ 59837 h 651113"/>
                <a:gd name="connsiteX1" fmla="*/ 52269 w 925943"/>
                <a:gd name="connsiteY1" fmla="*/ 38447 h 651113"/>
                <a:gd name="connsiteX2" fmla="*/ 551264 w 925943"/>
                <a:gd name="connsiteY2" fmla="*/ 38447 h 651113"/>
                <a:gd name="connsiteX3" fmla="*/ 734816 w 925943"/>
                <a:gd name="connsiteY3" fmla="*/ 244261 h 651113"/>
                <a:gd name="connsiteX4" fmla="*/ 734816 w 925943"/>
                <a:gd name="connsiteY4" fmla="*/ 450690 h 651113"/>
                <a:gd name="connsiteX5" fmla="*/ 737037 w 925943"/>
                <a:gd name="connsiteY5" fmla="*/ 456728 h 651113"/>
                <a:gd name="connsiteX6" fmla="*/ 874253 w 925943"/>
                <a:gd name="connsiteY6" fmla="*/ 610585 h 651113"/>
                <a:gd name="connsiteX7" fmla="*/ 872518 w 925943"/>
                <a:gd name="connsiteY7" fmla="*/ 621161 h 651113"/>
                <a:gd name="connsiteX8" fmla="*/ 899231 w 925943"/>
                <a:gd name="connsiteY8" fmla="*/ 651114 h 651113"/>
                <a:gd name="connsiteX9" fmla="*/ 925944 w 925943"/>
                <a:gd name="connsiteY9" fmla="*/ 621161 h 651113"/>
                <a:gd name="connsiteX10" fmla="*/ 899231 w 925943"/>
                <a:gd name="connsiteY10" fmla="*/ 591208 h 651113"/>
                <a:gd name="connsiteX11" fmla="*/ 883623 w 925943"/>
                <a:gd name="connsiteY11" fmla="*/ 596905 h 651113"/>
                <a:gd name="connsiteX12" fmla="*/ 750059 w 925943"/>
                <a:gd name="connsiteY12" fmla="*/ 447142 h 651113"/>
                <a:gd name="connsiteX13" fmla="*/ 750059 w 925943"/>
                <a:gd name="connsiteY13" fmla="*/ 240714 h 651113"/>
                <a:gd name="connsiteX14" fmla="*/ 747838 w 925943"/>
                <a:gd name="connsiteY14" fmla="*/ 234675 h 651113"/>
                <a:gd name="connsiteX15" fmla="*/ 559844 w 925943"/>
                <a:gd name="connsiteY15" fmla="*/ 23880 h 651113"/>
                <a:gd name="connsiteX16" fmla="*/ 554459 w 925943"/>
                <a:gd name="connsiteY16" fmla="*/ 21390 h 651113"/>
                <a:gd name="connsiteX17" fmla="*/ 52300 w 925943"/>
                <a:gd name="connsiteY17" fmla="*/ 21390 h 651113"/>
                <a:gd name="connsiteX18" fmla="*/ 26713 w 925943"/>
                <a:gd name="connsiteY18" fmla="*/ 0 h 651113"/>
                <a:gd name="connsiteX19" fmla="*/ 0 w 925943"/>
                <a:gd name="connsiteY19" fmla="*/ 29953 h 651113"/>
                <a:gd name="connsiteX20" fmla="*/ 26713 w 925943"/>
                <a:gd name="connsiteY20" fmla="*/ 59906 h 651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25943" h="651113">
                  <a:moveTo>
                    <a:pt x="26682" y="59837"/>
                  </a:moveTo>
                  <a:cubicBezTo>
                    <a:pt x="38791" y="59837"/>
                    <a:pt x="48984" y="50797"/>
                    <a:pt x="52269" y="38447"/>
                  </a:cubicBezTo>
                  <a:lnTo>
                    <a:pt x="551264" y="38447"/>
                  </a:lnTo>
                  <a:lnTo>
                    <a:pt x="734816" y="244261"/>
                  </a:lnTo>
                  <a:lnTo>
                    <a:pt x="734816" y="450690"/>
                  </a:lnTo>
                  <a:cubicBezTo>
                    <a:pt x="734816" y="452941"/>
                    <a:pt x="735607" y="455125"/>
                    <a:pt x="737037" y="456728"/>
                  </a:cubicBezTo>
                  <a:lnTo>
                    <a:pt x="874253" y="610585"/>
                  </a:lnTo>
                  <a:cubicBezTo>
                    <a:pt x="873127" y="613895"/>
                    <a:pt x="872518" y="617442"/>
                    <a:pt x="872518" y="621161"/>
                  </a:cubicBezTo>
                  <a:cubicBezTo>
                    <a:pt x="872518" y="637707"/>
                    <a:pt x="884475" y="651114"/>
                    <a:pt x="899231" y="651114"/>
                  </a:cubicBezTo>
                  <a:cubicBezTo>
                    <a:pt x="913987" y="651114"/>
                    <a:pt x="925944" y="637707"/>
                    <a:pt x="925944" y="621161"/>
                  </a:cubicBezTo>
                  <a:cubicBezTo>
                    <a:pt x="925944" y="604615"/>
                    <a:pt x="913987" y="591208"/>
                    <a:pt x="899231" y="591208"/>
                  </a:cubicBezTo>
                  <a:cubicBezTo>
                    <a:pt x="893389" y="591208"/>
                    <a:pt x="888005" y="593323"/>
                    <a:pt x="883623" y="596905"/>
                  </a:cubicBezTo>
                  <a:lnTo>
                    <a:pt x="750059" y="447142"/>
                  </a:lnTo>
                  <a:lnTo>
                    <a:pt x="750059" y="240714"/>
                  </a:lnTo>
                  <a:cubicBezTo>
                    <a:pt x="750059" y="238462"/>
                    <a:pt x="749268" y="236279"/>
                    <a:pt x="747838" y="234675"/>
                  </a:cubicBezTo>
                  <a:lnTo>
                    <a:pt x="559844" y="23880"/>
                  </a:lnTo>
                  <a:cubicBezTo>
                    <a:pt x="558414" y="22277"/>
                    <a:pt x="556467" y="21390"/>
                    <a:pt x="554459" y="21390"/>
                  </a:cubicBezTo>
                  <a:lnTo>
                    <a:pt x="52300" y="21390"/>
                  </a:lnTo>
                  <a:cubicBezTo>
                    <a:pt x="49014" y="9006"/>
                    <a:pt x="38822" y="0"/>
                    <a:pt x="26713" y="0"/>
                  </a:cubicBezTo>
                  <a:cubicBezTo>
                    <a:pt x="11957" y="0"/>
                    <a:pt x="0" y="13407"/>
                    <a:pt x="0" y="29953"/>
                  </a:cubicBezTo>
                  <a:cubicBezTo>
                    <a:pt x="0" y="46498"/>
                    <a:pt x="11957" y="59906"/>
                    <a:pt x="26713" y="5990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0" name="Freeform 385">
              <a:extLst>
                <a:ext uri="{FF2B5EF4-FFF2-40B4-BE49-F238E27FC236}">
                  <a16:creationId xmlns:a16="http://schemas.microsoft.com/office/drawing/2014/main" id="{3DA0DF81-076D-7F7E-CC0F-C8C377ED415D}"/>
                </a:ext>
              </a:extLst>
            </p:cNvPr>
            <p:cNvSpPr/>
            <p:nvPr userDrawn="1"/>
          </p:nvSpPr>
          <p:spPr>
            <a:xfrm>
              <a:off x="8146069" y="351091"/>
              <a:ext cx="783769" cy="851605"/>
            </a:xfrm>
            <a:custGeom>
              <a:avLst/>
              <a:gdLst>
                <a:gd name="connsiteX0" fmla="*/ 2251 w 783769"/>
                <a:gd name="connsiteY0" fmla="*/ 660700 h 851605"/>
                <a:gd name="connsiteX1" fmla="*/ 170287 w 783769"/>
                <a:gd name="connsiteY1" fmla="*/ 849115 h 851605"/>
                <a:gd name="connsiteX2" fmla="*/ 175672 w 783769"/>
                <a:gd name="connsiteY2" fmla="*/ 851606 h 851605"/>
                <a:gd name="connsiteX3" fmla="*/ 550321 w 783769"/>
                <a:gd name="connsiteY3" fmla="*/ 851606 h 851605"/>
                <a:gd name="connsiteX4" fmla="*/ 555707 w 783769"/>
                <a:gd name="connsiteY4" fmla="*/ 849115 h 851605"/>
                <a:gd name="connsiteX5" fmla="*/ 747838 w 783769"/>
                <a:gd name="connsiteY5" fmla="*/ 633681 h 851605"/>
                <a:gd name="connsiteX6" fmla="*/ 757057 w 783769"/>
                <a:gd name="connsiteY6" fmla="*/ 635557 h 851605"/>
                <a:gd name="connsiteX7" fmla="*/ 783770 w 783769"/>
                <a:gd name="connsiteY7" fmla="*/ 605605 h 851605"/>
                <a:gd name="connsiteX8" fmla="*/ 757057 w 783769"/>
                <a:gd name="connsiteY8" fmla="*/ 575652 h 851605"/>
                <a:gd name="connsiteX9" fmla="*/ 730344 w 783769"/>
                <a:gd name="connsiteY9" fmla="*/ 605605 h 851605"/>
                <a:gd name="connsiteX10" fmla="*/ 735546 w 783769"/>
                <a:gd name="connsiteY10" fmla="*/ 623310 h 851605"/>
                <a:gd name="connsiteX11" fmla="*/ 547157 w 783769"/>
                <a:gd name="connsiteY11" fmla="*/ 834549 h 851605"/>
                <a:gd name="connsiteX12" fmla="*/ 178836 w 783769"/>
                <a:gd name="connsiteY12" fmla="*/ 834549 h 851605"/>
                <a:gd name="connsiteX13" fmla="*/ 15243 w 783769"/>
                <a:gd name="connsiteY13" fmla="*/ 651114 h 851605"/>
                <a:gd name="connsiteX14" fmla="*/ 15243 w 783769"/>
                <a:gd name="connsiteY14" fmla="*/ 431517 h 851605"/>
                <a:gd name="connsiteX15" fmla="*/ 214160 w 783769"/>
                <a:gd name="connsiteY15" fmla="*/ 208475 h 851605"/>
                <a:gd name="connsiteX16" fmla="*/ 216380 w 783769"/>
                <a:gd name="connsiteY16" fmla="*/ 202437 h 851605"/>
                <a:gd name="connsiteX17" fmla="*/ 216380 w 783769"/>
                <a:gd name="connsiteY17" fmla="*/ 58848 h 851605"/>
                <a:gd name="connsiteX18" fmla="*/ 236156 w 783769"/>
                <a:gd name="connsiteY18" fmla="*/ 29953 h 851605"/>
                <a:gd name="connsiteX19" fmla="*/ 209444 w 783769"/>
                <a:gd name="connsiteY19" fmla="*/ 0 h 851605"/>
                <a:gd name="connsiteX20" fmla="*/ 182731 w 783769"/>
                <a:gd name="connsiteY20" fmla="*/ 29953 h 851605"/>
                <a:gd name="connsiteX21" fmla="*/ 201138 w 783769"/>
                <a:gd name="connsiteY21" fmla="*/ 58404 h 851605"/>
                <a:gd name="connsiteX22" fmla="*/ 201138 w 783769"/>
                <a:gd name="connsiteY22" fmla="*/ 198889 h 851605"/>
                <a:gd name="connsiteX23" fmla="*/ 2221 w 783769"/>
                <a:gd name="connsiteY23" fmla="*/ 421931 h 851605"/>
                <a:gd name="connsiteX24" fmla="*/ 0 w 783769"/>
                <a:gd name="connsiteY24" fmla="*/ 427969 h 851605"/>
                <a:gd name="connsiteX25" fmla="*/ 0 w 783769"/>
                <a:gd name="connsiteY25" fmla="*/ 654627 h 851605"/>
                <a:gd name="connsiteX26" fmla="*/ 2221 w 783769"/>
                <a:gd name="connsiteY26" fmla="*/ 660666 h 85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83769" h="851605">
                  <a:moveTo>
                    <a:pt x="2251" y="660700"/>
                  </a:moveTo>
                  <a:lnTo>
                    <a:pt x="170287" y="849115"/>
                  </a:lnTo>
                  <a:cubicBezTo>
                    <a:pt x="171717" y="850719"/>
                    <a:pt x="173664" y="851606"/>
                    <a:pt x="175672" y="851606"/>
                  </a:cubicBezTo>
                  <a:lnTo>
                    <a:pt x="550321" y="851606"/>
                  </a:lnTo>
                  <a:cubicBezTo>
                    <a:pt x="552329" y="851606"/>
                    <a:pt x="554277" y="850719"/>
                    <a:pt x="555707" y="849115"/>
                  </a:cubicBezTo>
                  <a:lnTo>
                    <a:pt x="747838" y="633681"/>
                  </a:lnTo>
                  <a:cubicBezTo>
                    <a:pt x="750728" y="634875"/>
                    <a:pt x="753801" y="635557"/>
                    <a:pt x="757057" y="635557"/>
                  </a:cubicBezTo>
                  <a:cubicBezTo>
                    <a:pt x="771813" y="635557"/>
                    <a:pt x="783770" y="622150"/>
                    <a:pt x="783770" y="605605"/>
                  </a:cubicBezTo>
                  <a:cubicBezTo>
                    <a:pt x="783770" y="589059"/>
                    <a:pt x="771813" y="575652"/>
                    <a:pt x="757057" y="575652"/>
                  </a:cubicBezTo>
                  <a:cubicBezTo>
                    <a:pt x="742301" y="575652"/>
                    <a:pt x="730344" y="589059"/>
                    <a:pt x="730344" y="605605"/>
                  </a:cubicBezTo>
                  <a:cubicBezTo>
                    <a:pt x="730344" y="612223"/>
                    <a:pt x="732291" y="618329"/>
                    <a:pt x="735546" y="623310"/>
                  </a:cubicBezTo>
                  <a:lnTo>
                    <a:pt x="547157" y="834549"/>
                  </a:lnTo>
                  <a:lnTo>
                    <a:pt x="178836" y="834549"/>
                  </a:lnTo>
                  <a:lnTo>
                    <a:pt x="15243" y="651114"/>
                  </a:lnTo>
                  <a:lnTo>
                    <a:pt x="15243" y="431517"/>
                  </a:lnTo>
                  <a:lnTo>
                    <a:pt x="214160" y="208475"/>
                  </a:lnTo>
                  <a:cubicBezTo>
                    <a:pt x="215589" y="206872"/>
                    <a:pt x="216380" y="204688"/>
                    <a:pt x="216380" y="202437"/>
                  </a:cubicBezTo>
                  <a:lnTo>
                    <a:pt x="216380" y="58848"/>
                  </a:lnTo>
                  <a:cubicBezTo>
                    <a:pt x="227759" y="55402"/>
                    <a:pt x="236156" y="43803"/>
                    <a:pt x="236156" y="29953"/>
                  </a:cubicBezTo>
                  <a:cubicBezTo>
                    <a:pt x="236156" y="13407"/>
                    <a:pt x="224200" y="0"/>
                    <a:pt x="209444" y="0"/>
                  </a:cubicBezTo>
                  <a:cubicBezTo>
                    <a:pt x="194687" y="0"/>
                    <a:pt x="182731" y="13407"/>
                    <a:pt x="182731" y="29953"/>
                  </a:cubicBezTo>
                  <a:cubicBezTo>
                    <a:pt x="182731" y="43223"/>
                    <a:pt x="190459" y="54481"/>
                    <a:pt x="201138" y="58404"/>
                  </a:cubicBezTo>
                  <a:lnTo>
                    <a:pt x="201138" y="198889"/>
                  </a:lnTo>
                  <a:lnTo>
                    <a:pt x="2221" y="421931"/>
                  </a:lnTo>
                  <a:cubicBezTo>
                    <a:pt x="791" y="423534"/>
                    <a:pt x="0" y="425718"/>
                    <a:pt x="0" y="427969"/>
                  </a:cubicBezTo>
                  <a:lnTo>
                    <a:pt x="0" y="654627"/>
                  </a:lnTo>
                  <a:cubicBezTo>
                    <a:pt x="0" y="656879"/>
                    <a:pt x="791" y="659062"/>
                    <a:pt x="2221" y="66066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1" name="Freeform 386">
              <a:extLst>
                <a:ext uri="{FF2B5EF4-FFF2-40B4-BE49-F238E27FC236}">
                  <a16:creationId xmlns:a16="http://schemas.microsoft.com/office/drawing/2014/main" id="{7E5B886D-09CB-155C-E31A-9ADAF4919429}"/>
                </a:ext>
              </a:extLst>
            </p:cNvPr>
            <p:cNvSpPr/>
            <p:nvPr userDrawn="1"/>
          </p:nvSpPr>
          <p:spPr>
            <a:xfrm>
              <a:off x="10418638" y="1166774"/>
              <a:ext cx="777623" cy="467610"/>
            </a:xfrm>
            <a:custGeom>
              <a:avLst/>
              <a:gdLst>
                <a:gd name="connsiteX0" fmla="*/ 19107 w 777623"/>
                <a:gd name="connsiteY0" fmla="*/ 58677 h 467610"/>
                <a:gd name="connsiteX1" fmla="*/ 19107 w 777623"/>
                <a:gd name="connsiteY1" fmla="*/ 273941 h 467610"/>
                <a:gd name="connsiteX2" fmla="*/ 21328 w 777623"/>
                <a:gd name="connsiteY2" fmla="*/ 279979 h 467610"/>
                <a:gd name="connsiteX3" fmla="*/ 167366 w 777623"/>
                <a:gd name="connsiteY3" fmla="*/ 443730 h 467610"/>
                <a:gd name="connsiteX4" fmla="*/ 172751 w 777623"/>
                <a:gd name="connsiteY4" fmla="*/ 446220 h 467610"/>
                <a:gd name="connsiteX5" fmla="*/ 725324 w 777623"/>
                <a:gd name="connsiteY5" fmla="*/ 446220 h 467610"/>
                <a:gd name="connsiteX6" fmla="*/ 750911 w 777623"/>
                <a:gd name="connsiteY6" fmla="*/ 467610 h 467610"/>
                <a:gd name="connsiteX7" fmla="*/ 777624 w 777623"/>
                <a:gd name="connsiteY7" fmla="*/ 437658 h 467610"/>
                <a:gd name="connsiteX8" fmla="*/ 750911 w 777623"/>
                <a:gd name="connsiteY8" fmla="*/ 407705 h 467610"/>
                <a:gd name="connsiteX9" fmla="*/ 725324 w 777623"/>
                <a:gd name="connsiteY9" fmla="*/ 429095 h 467610"/>
                <a:gd name="connsiteX10" fmla="*/ 175916 w 777623"/>
                <a:gd name="connsiteY10" fmla="*/ 429095 h 467610"/>
                <a:gd name="connsiteX11" fmla="*/ 34350 w 777623"/>
                <a:gd name="connsiteY11" fmla="*/ 270359 h 467610"/>
                <a:gd name="connsiteX12" fmla="*/ 34350 w 777623"/>
                <a:gd name="connsiteY12" fmla="*/ 58643 h 467610"/>
                <a:gd name="connsiteX13" fmla="*/ 53426 w 777623"/>
                <a:gd name="connsiteY13" fmla="*/ 29953 h 467610"/>
                <a:gd name="connsiteX14" fmla="*/ 26713 w 777623"/>
                <a:gd name="connsiteY14" fmla="*/ 0 h 467610"/>
                <a:gd name="connsiteX15" fmla="*/ 0 w 777623"/>
                <a:gd name="connsiteY15" fmla="*/ 29953 h 467610"/>
                <a:gd name="connsiteX16" fmla="*/ 19076 w 777623"/>
                <a:gd name="connsiteY16" fmla="*/ 58643 h 467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7623" h="467610">
                  <a:moveTo>
                    <a:pt x="19107" y="58677"/>
                  </a:moveTo>
                  <a:lnTo>
                    <a:pt x="19107" y="273941"/>
                  </a:lnTo>
                  <a:cubicBezTo>
                    <a:pt x="19107" y="276193"/>
                    <a:pt x="19898" y="278376"/>
                    <a:pt x="21328" y="279979"/>
                  </a:cubicBezTo>
                  <a:lnTo>
                    <a:pt x="167366" y="443730"/>
                  </a:lnTo>
                  <a:cubicBezTo>
                    <a:pt x="168797" y="445334"/>
                    <a:pt x="170743" y="446220"/>
                    <a:pt x="172751" y="446220"/>
                  </a:cubicBezTo>
                  <a:lnTo>
                    <a:pt x="725324" y="446220"/>
                  </a:lnTo>
                  <a:cubicBezTo>
                    <a:pt x="728610" y="458604"/>
                    <a:pt x="738802" y="467610"/>
                    <a:pt x="750911" y="467610"/>
                  </a:cubicBezTo>
                  <a:cubicBezTo>
                    <a:pt x="765667" y="467610"/>
                    <a:pt x="777624" y="454203"/>
                    <a:pt x="777624" y="437658"/>
                  </a:cubicBezTo>
                  <a:cubicBezTo>
                    <a:pt x="777624" y="421112"/>
                    <a:pt x="765667" y="407705"/>
                    <a:pt x="750911" y="407705"/>
                  </a:cubicBezTo>
                  <a:cubicBezTo>
                    <a:pt x="738802" y="407705"/>
                    <a:pt x="728610" y="416745"/>
                    <a:pt x="725324" y="429095"/>
                  </a:cubicBezTo>
                  <a:lnTo>
                    <a:pt x="175916" y="429095"/>
                  </a:lnTo>
                  <a:lnTo>
                    <a:pt x="34350" y="270359"/>
                  </a:lnTo>
                  <a:lnTo>
                    <a:pt x="34350" y="58643"/>
                  </a:lnTo>
                  <a:cubicBezTo>
                    <a:pt x="45394" y="54959"/>
                    <a:pt x="53426" y="43530"/>
                    <a:pt x="53426" y="29953"/>
                  </a:cubicBezTo>
                  <a:cubicBezTo>
                    <a:pt x="53426" y="13407"/>
                    <a:pt x="41469" y="0"/>
                    <a:pt x="26713" y="0"/>
                  </a:cubicBezTo>
                  <a:cubicBezTo>
                    <a:pt x="11957" y="0"/>
                    <a:pt x="0" y="13407"/>
                    <a:pt x="0" y="29953"/>
                  </a:cubicBezTo>
                  <a:cubicBezTo>
                    <a:pt x="0" y="43530"/>
                    <a:pt x="8063" y="54959"/>
                    <a:pt x="19076" y="58643"/>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2" name="Freeform 389">
              <a:extLst>
                <a:ext uri="{FF2B5EF4-FFF2-40B4-BE49-F238E27FC236}">
                  <a16:creationId xmlns:a16="http://schemas.microsoft.com/office/drawing/2014/main" id="{766C313A-CD02-F956-5DA5-9FE89248D89D}"/>
                </a:ext>
              </a:extLst>
            </p:cNvPr>
            <p:cNvSpPr/>
            <p:nvPr userDrawn="1"/>
          </p:nvSpPr>
          <p:spPr>
            <a:xfrm>
              <a:off x="8533983" y="5067247"/>
              <a:ext cx="2649591" cy="1113402"/>
            </a:xfrm>
            <a:custGeom>
              <a:avLst/>
              <a:gdLst>
                <a:gd name="connsiteX0" fmla="*/ 26652 w 2649591"/>
                <a:gd name="connsiteY0" fmla="*/ 1113402 h 1113402"/>
                <a:gd name="connsiteX1" fmla="*/ 53365 w 2649591"/>
                <a:gd name="connsiteY1" fmla="*/ 1083449 h 1113402"/>
                <a:gd name="connsiteX2" fmla="*/ 34289 w 2649591"/>
                <a:gd name="connsiteY2" fmla="*/ 1054759 h 1113402"/>
                <a:gd name="connsiteX3" fmla="*/ 34289 w 2649591"/>
                <a:gd name="connsiteY3" fmla="*/ 492719 h 1113402"/>
                <a:gd name="connsiteX4" fmla="*/ 458470 w 2649591"/>
                <a:gd name="connsiteY4" fmla="*/ 17092 h 1113402"/>
                <a:gd name="connsiteX5" fmla="*/ 620054 w 2649591"/>
                <a:gd name="connsiteY5" fmla="*/ 17092 h 1113402"/>
                <a:gd name="connsiteX6" fmla="*/ 1409544 w 2649591"/>
                <a:gd name="connsiteY6" fmla="*/ 902334 h 1113402"/>
                <a:gd name="connsiteX7" fmla="*/ 1414929 w 2649591"/>
                <a:gd name="connsiteY7" fmla="*/ 904825 h 1113402"/>
                <a:gd name="connsiteX8" fmla="*/ 2597535 w 2649591"/>
                <a:gd name="connsiteY8" fmla="*/ 904825 h 1113402"/>
                <a:gd name="connsiteX9" fmla="*/ 2622879 w 2649591"/>
                <a:gd name="connsiteY9" fmla="*/ 925396 h 1113402"/>
                <a:gd name="connsiteX10" fmla="*/ 2649592 w 2649591"/>
                <a:gd name="connsiteY10" fmla="*/ 895443 h 1113402"/>
                <a:gd name="connsiteX11" fmla="*/ 2622879 w 2649591"/>
                <a:gd name="connsiteY11" fmla="*/ 865490 h 1113402"/>
                <a:gd name="connsiteX12" fmla="*/ 2597109 w 2649591"/>
                <a:gd name="connsiteY12" fmla="*/ 887733 h 1113402"/>
                <a:gd name="connsiteX13" fmla="*/ 1418093 w 2649591"/>
                <a:gd name="connsiteY13" fmla="*/ 887733 h 1113402"/>
                <a:gd name="connsiteX14" fmla="*/ 628604 w 2649591"/>
                <a:gd name="connsiteY14" fmla="*/ 2490 h 1113402"/>
                <a:gd name="connsiteX15" fmla="*/ 623219 w 2649591"/>
                <a:gd name="connsiteY15" fmla="*/ 0 h 1113402"/>
                <a:gd name="connsiteX16" fmla="*/ 455336 w 2649591"/>
                <a:gd name="connsiteY16" fmla="*/ 0 h 1113402"/>
                <a:gd name="connsiteX17" fmla="*/ 449951 w 2649591"/>
                <a:gd name="connsiteY17" fmla="*/ 2490 h 1113402"/>
                <a:gd name="connsiteX18" fmla="*/ 21297 w 2649591"/>
                <a:gd name="connsiteY18" fmla="*/ 483133 h 1113402"/>
                <a:gd name="connsiteX19" fmla="*/ 19076 w 2649591"/>
                <a:gd name="connsiteY19" fmla="*/ 489171 h 1113402"/>
                <a:gd name="connsiteX20" fmla="*/ 19076 w 2649591"/>
                <a:gd name="connsiteY20" fmla="*/ 1054725 h 1113402"/>
                <a:gd name="connsiteX21" fmla="*/ 0 w 2649591"/>
                <a:gd name="connsiteY21" fmla="*/ 1083415 h 1113402"/>
                <a:gd name="connsiteX22" fmla="*/ 26713 w 2649591"/>
                <a:gd name="connsiteY22" fmla="*/ 1113368 h 1113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49591" h="1113402">
                  <a:moveTo>
                    <a:pt x="26652" y="1113402"/>
                  </a:moveTo>
                  <a:cubicBezTo>
                    <a:pt x="41408" y="1113402"/>
                    <a:pt x="53365" y="1099995"/>
                    <a:pt x="53365" y="1083449"/>
                  </a:cubicBezTo>
                  <a:cubicBezTo>
                    <a:pt x="53365" y="1069872"/>
                    <a:pt x="45303" y="1058444"/>
                    <a:pt x="34289" y="1054759"/>
                  </a:cubicBezTo>
                  <a:lnTo>
                    <a:pt x="34289" y="492719"/>
                  </a:lnTo>
                  <a:lnTo>
                    <a:pt x="458470" y="17092"/>
                  </a:lnTo>
                  <a:lnTo>
                    <a:pt x="620054" y="17092"/>
                  </a:lnTo>
                  <a:lnTo>
                    <a:pt x="1409544" y="902334"/>
                  </a:lnTo>
                  <a:cubicBezTo>
                    <a:pt x="1410974" y="903938"/>
                    <a:pt x="1412921" y="904825"/>
                    <a:pt x="1414929" y="904825"/>
                  </a:cubicBezTo>
                  <a:lnTo>
                    <a:pt x="2597535" y="904825"/>
                  </a:lnTo>
                  <a:cubicBezTo>
                    <a:pt x="2601034" y="916765"/>
                    <a:pt x="2611043" y="925396"/>
                    <a:pt x="2622879" y="925396"/>
                  </a:cubicBezTo>
                  <a:cubicBezTo>
                    <a:pt x="2637635" y="925396"/>
                    <a:pt x="2649592" y="911989"/>
                    <a:pt x="2649592" y="895443"/>
                  </a:cubicBezTo>
                  <a:cubicBezTo>
                    <a:pt x="2649592" y="878898"/>
                    <a:pt x="2637635" y="865490"/>
                    <a:pt x="2622879" y="865490"/>
                  </a:cubicBezTo>
                  <a:cubicBezTo>
                    <a:pt x="2610496" y="865490"/>
                    <a:pt x="2600121" y="874940"/>
                    <a:pt x="2597109" y="887733"/>
                  </a:cubicBezTo>
                  <a:lnTo>
                    <a:pt x="1418093" y="887733"/>
                  </a:lnTo>
                  <a:lnTo>
                    <a:pt x="628604" y="2490"/>
                  </a:lnTo>
                  <a:cubicBezTo>
                    <a:pt x="627174" y="887"/>
                    <a:pt x="625227" y="0"/>
                    <a:pt x="623219" y="0"/>
                  </a:cubicBezTo>
                  <a:lnTo>
                    <a:pt x="455336" y="0"/>
                  </a:lnTo>
                  <a:cubicBezTo>
                    <a:pt x="453327" y="0"/>
                    <a:pt x="451380" y="887"/>
                    <a:pt x="449951" y="2490"/>
                  </a:cubicBezTo>
                  <a:lnTo>
                    <a:pt x="21297" y="483133"/>
                  </a:lnTo>
                  <a:cubicBezTo>
                    <a:pt x="19867" y="484736"/>
                    <a:pt x="19076" y="486919"/>
                    <a:pt x="19076" y="489171"/>
                  </a:cubicBezTo>
                  <a:lnTo>
                    <a:pt x="19076" y="1054725"/>
                  </a:lnTo>
                  <a:cubicBezTo>
                    <a:pt x="8033" y="1058409"/>
                    <a:pt x="0" y="1069838"/>
                    <a:pt x="0" y="1083415"/>
                  </a:cubicBezTo>
                  <a:cubicBezTo>
                    <a:pt x="0" y="1099961"/>
                    <a:pt x="11957" y="1113368"/>
                    <a:pt x="26713" y="1113368"/>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3" name="Freeform 390">
              <a:extLst>
                <a:ext uri="{FF2B5EF4-FFF2-40B4-BE49-F238E27FC236}">
                  <a16:creationId xmlns:a16="http://schemas.microsoft.com/office/drawing/2014/main" id="{49041D98-4DB5-A2DC-7E70-C70446CEF9AC}"/>
                </a:ext>
              </a:extLst>
            </p:cNvPr>
            <p:cNvSpPr/>
            <p:nvPr userDrawn="1"/>
          </p:nvSpPr>
          <p:spPr>
            <a:xfrm>
              <a:off x="8628817" y="5188491"/>
              <a:ext cx="1263656" cy="860407"/>
            </a:xfrm>
            <a:custGeom>
              <a:avLst/>
              <a:gdLst>
                <a:gd name="connsiteX0" fmla="*/ 1236883 w 1263656"/>
                <a:gd name="connsiteY0" fmla="*/ 800468 h 860407"/>
                <a:gd name="connsiteX1" fmla="*/ 1222919 w 1263656"/>
                <a:gd name="connsiteY1" fmla="*/ 804903 h 860407"/>
                <a:gd name="connsiteX2" fmla="*/ 506205 w 1263656"/>
                <a:gd name="connsiteY2" fmla="*/ 1262 h 860407"/>
                <a:gd name="connsiteX3" fmla="*/ 503528 w 1263656"/>
                <a:gd name="connsiteY3" fmla="*/ 0 h 860407"/>
                <a:gd name="connsiteX4" fmla="*/ 350553 w 1263656"/>
                <a:gd name="connsiteY4" fmla="*/ 0 h 860407"/>
                <a:gd name="connsiteX5" fmla="*/ 347875 w 1263656"/>
                <a:gd name="connsiteY5" fmla="*/ 1262 h 860407"/>
                <a:gd name="connsiteX6" fmla="*/ 43811 w 1263656"/>
                <a:gd name="connsiteY6" fmla="*/ 342205 h 860407"/>
                <a:gd name="connsiteX7" fmla="*/ 26712 w 1263656"/>
                <a:gd name="connsiteY7" fmla="*/ 335245 h 860407"/>
                <a:gd name="connsiteX8" fmla="*/ 0 w 1263656"/>
                <a:gd name="connsiteY8" fmla="*/ 365198 h 860407"/>
                <a:gd name="connsiteX9" fmla="*/ 26712 w 1263656"/>
                <a:gd name="connsiteY9" fmla="*/ 395151 h 860407"/>
                <a:gd name="connsiteX10" fmla="*/ 53425 w 1263656"/>
                <a:gd name="connsiteY10" fmla="*/ 365198 h 860407"/>
                <a:gd name="connsiteX11" fmla="*/ 48922 w 1263656"/>
                <a:gd name="connsiteY11" fmla="*/ 348584 h 860407"/>
                <a:gd name="connsiteX12" fmla="*/ 352135 w 1263656"/>
                <a:gd name="connsiteY12" fmla="*/ 8597 h 860407"/>
                <a:gd name="connsiteX13" fmla="*/ 501976 w 1263656"/>
                <a:gd name="connsiteY13" fmla="*/ 8597 h 860407"/>
                <a:gd name="connsiteX14" fmla="*/ 1217107 w 1263656"/>
                <a:gd name="connsiteY14" fmla="*/ 810463 h 860407"/>
                <a:gd name="connsiteX15" fmla="*/ 1210231 w 1263656"/>
                <a:gd name="connsiteY15" fmla="*/ 830455 h 860407"/>
                <a:gd name="connsiteX16" fmla="*/ 1236944 w 1263656"/>
                <a:gd name="connsiteY16" fmla="*/ 860407 h 860407"/>
                <a:gd name="connsiteX17" fmla="*/ 1263657 w 1263656"/>
                <a:gd name="connsiteY17" fmla="*/ 830455 h 860407"/>
                <a:gd name="connsiteX18" fmla="*/ 1236944 w 1263656"/>
                <a:gd name="connsiteY18" fmla="*/ 800502 h 860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63656" h="860407">
                  <a:moveTo>
                    <a:pt x="1236883" y="800468"/>
                  </a:moveTo>
                  <a:cubicBezTo>
                    <a:pt x="1231772" y="800468"/>
                    <a:pt x="1226995" y="802105"/>
                    <a:pt x="1222919" y="804903"/>
                  </a:cubicBezTo>
                  <a:lnTo>
                    <a:pt x="506205" y="1262"/>
                  </a:lnTo>
                  <a:cubicBezTo>
                    <a:pt x="505505" y="477"/>
                    <a:pt x="504531" y="0"/>
                    <a:pt x="503528" y="0"/>
                  </a:cubicBezTo>
                  <a:lnTo>
                    <a:pt x="350553" y="0"/>
                  </a:lnTo>
                  <a:cubicBezTo>
                    <a:pt x="349548" y="0"/>
                    <a:pt x="348575" y="444"/>
                    <a:pt x="347875" y="1262"/>
                  </a:cubicBezTo>
                  <a:lnTo>
                    <a:pt x="43811" y="342205"/>
                  </a:lnTo>
                  <a:cubicBezTo>
                    <a:pt x="39187" y="337872"/>
                    <a:pt x="33223" y="335245"/>
                    <a:pt x="26712" y="335245"/>
                  </a:cubicBezTo>
                  <a:cubicBezTo>
                    <a:pt x="11957" y="335245"/>
                    <a:pt x="0" y="348652"/>
                    <a:pt x="0" y="365198"/>
                  </a:cubicBezTo>
                  <a:cubicBezTo>
                    <a:pt x="0" y="381743"/>
                    <a:pt x="11957" y="395151"/>
                    <a:pt x="26712" y="395151"/>
                  </a:cubicBezTo>
                  <a:cubicBezTo>
                    <a:pt x="41468" y="395151"/>
                    <a:pt x="53425" y="381743"/>
                    <a:pt x="53425" y="365198"/>
                  </a:cubicBezTo>
                  <a:cubicBezTo>
                    <a:pt x="53425" y="359057"/>
                    <a:pt x="51752" y="353326"/>
                    <a:pt x="48922" y="348584"/>
                  </a:cubicBezTo>
                  <a:lnTo>
                    <a:pt x="352135" y="8597"/>
                  </a:lnTo>
                  <a:lnTo>
                    <a:pt x="501976" y="8597"/>
                  </a:lnTo>
                  <a:lnTo>
                    <a:pt x="1217107" y="810463"/>
                  </a:lnTo>
                  <a:cubicBezTo>
                    <a:pt x="1212848" y="815751"/>
                    <a:pt x="1210231" y="822779"/>
                    <a:pt x="1210231" y="830455"/>
                  </a:cubicBezTo>
                  <a:cubicBezTo>
                    <a:pt x="1210231" y="847000"/>
                    <a:pt x="1222188" y="860407"/>
                    <a:pt x="1236944" y="860407"/>
                  </a:cubicBezTo>
                  <a:cubicBezTo>
                    <a:pt x="1251700" y="860407"/>
                    <a:pt x="1263657" y="847000"/>
                    <a:pt x="1263657" y="830455"/>
                  </a:cubicBezTo>
                  <a:cubicBezTo>
                    <a:pt x="1263657" y="813909"/>
                    <a:pt x="1251700" y="800502"/>
                    <a:pt x="1236944" y="800502"/>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4" name="Freeform 391">
              <a:extLst>
                <a:ext uri="{FF2B5EF4-FFF2-40B4-BE49-F238E27FC236}">
                  <a16:creationId xmlns:a16="http://schemas.microsoft.com/office/drawing/2014/main" id="{F5C8E8C8-2CEA-1C25-889B-1517FF323361}"/>
                </a:ext>
              </a:extLst>
            </p:cNvPr>
            <p:cNvSpPr/>
            <p:nvPr userDrawn="1"/>
          </p:nvSpPr>
          <p:spPr>
            <a:xfrm>
              <a:off x="10820852" y="2954010"/>
              <a:ext cx="877294" cy="1001983"/>
            </a:xfrm>
            <a:custGeom>
              <a:avLst/>
              <a:gdLst>
                <a:gd name="connsiteX0" fmla="*/ 2312 w 877294"/>
                <a:gd name="connsiteY0" fmla="*/ 778396 h 1001983"/>
                <a:gd name="connsiteX1" fmla="*/ 199494 w 877294"/>
                <a:gd name="connsiteY1" fmla="*/ 999493 h 1001983"/>
                <a:gd name="connsiteX2" fmla="*/ 204879 w 877294"/>
                <a:gd name="connsiteY2" fmla="*/ 1001984 h 1001983"/>
                <a:gd name="connsiteX3" fmla="*/ 568454 w 877294"/>
                <a:gd name="connsiteY3" fmla="*/ 1001984 h 1001983"/>
                <a:gd name="connsiteX4" fmla="*/ 573839 w 877294"/>
                <a:gd name="connsiteY4" fmla="*/ 999493 h 1001983"/>
                <a:gd name="connsiteX5" fmla="*/ 838777 w 877294"/>
                <a:gd name="connsiteY5" fmla="*/ 702422 h 1001983"/>
                <a:gd name="connsiteX6" fmla="*/ 850581 w 877294"/>
                <a:gd name="connsiteY6" fmla="*/ 705527 h 1001983"/>
                <a:gd name="connsiteX7" fmla="*/ 877294 w 877294"/>
                <a:gd name="connsiteY7" fmla="*/ 675574 h 1001983"/>
                <a:gd name="connsiteX8" fmla="*/ 850581 w 877294"/>
                <a:gd name="connsiteY8" fmla="*/ 645621 h 1001983"/>
                <a:gd name="connsiteX9" fmla="*/ 823869 w 877294"/>
                <a:gd name="connsiteY9" fmla="*/ 675574 h 1001983"/>
                <a:gd name="connsiteX10" fmla="*/ 827611 w 877294"/>
                <a:gd name="connsiteY10" fmla="*/ 690789 h 1001983"/>
                <a:gd name="connsiteX11" fmla="*/ 565289 w 877294"/>
                <a:gd name="connsiteY11" fmla="*/ 984926 h 1001983"/>
                <a:gd name="connsiteX12" fmla="*/ 208013 w 877294"/>
                <a:gd name="connsiteY12" fmla="*/ 984926 h 1001983"/>
                <a:gd name="connsiteX13" fmla="*/ 15273 w 877294"/>
                <a:gd name="connsiteY13" fmla="*/ 768810 h 1001983"/>
                <a:gd name="connsiteX14" fmla="*/ 15273 w 877294"/>
                <a:gd name="connsiteY14" fmla="*/ 471807 h 1001983"/>
                <a:gd name="connsiteX15" fmla="*/ 202293 w 877294"/>
                <a:gd name="connsiteY15" fmla="*/ 262103 h 1001983"/>
                <a:gd name="connsiteX16" fmla="*/ 204514 w 877294"/>
                <a:gd name="connsiteY16" fmla="*/ 256065 h 1001983"/>
                <a:gd name="connsiteX17" fmla="*/ 204514 w 877294"/>
                <a:gd name="connsiteY17" fmla="*/ 57517 h 1001983"/>
                <a:gd name="connsiteX18" fmla="*/ 220761 w 877294"/>
                <a:gd name="connsiteY18" fmla="*/ 29953 h 1001983"/>
                <a:gd name="connsiteX19" fmla="*/ 194048 w 877294"/>
                <a:gd name="connsiteY19" fmla="*/ 0 h 1001983"/>
                <a:gd name="connsiteX20" fmla="*/ 167336 w 877294"/>
                <a:gd name="connsiteY20" fmla="*/ 29953 h 1001983"/>
                <a:gd name="connsiteX21" fmla="*/ 189241 w 877294"/>
                <a:gd name="connsiteY21" fmla="*/ 59394 h 1001983"/>
                <a:gd name="connsiteX22" fmla="*/ 189241 w 877294"/>
                <a:gd name="connsiteY22" fmla="*/ 252551 h 1001983"/>
                <a:gd name="connsiteX23" fmla="*/ 2221 w 877294"/>
                <a:gd name="connsiteY23" fmla="*/ 462255 h 1001983"/>
                <a:gd name="connsiteX24" fmla="*/ 0 w 877294"/>
                <a:gd name="connsiteY24" fmla="*/ 468293 h 1001983"/>
                <a:gd name="connsiteX25" fmla="*/ 0 w 877294"/>
                <a:gd name="connsiteY25" fmla="*/ 772391 h 1001983"/>
                <a:gd name="connsiteX26" fmla="*/ 2221 w 877294"/>
                <a:gd name="connsiteY26" fmla="*/ 778430 h 100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77294" h="1001983">
                  <a:moveTo>
                    <a:pt x="2312" y="778396"/>
                  </a:moveTo>
                  <a:lnTo>
                    <a:pt x="199494" y="999493"/>
                  </a:lnTo>
                  <a:cubicBezTo>
                    <a:pt x="200924" y="1001097"/>
                    <a:pt x="202871" y="1001984"/>
                    <a:pt x="204879" y="1001984"/>
                  </a:cubicBezTo>
                  <a:lnTo>
                    <a:pt x="568454" y="1001984"/>
                  </a:lnTo>
                  <a:cubicBezTo>
                    <a:pt x="570462" y="1001984"/>
                    <a:pt x="572409" y="1001097"/>
                    <a:pt x="573839" y="999493"/>
                  </a:cubicBezTo>
                  <a:lnTo>
                    <a:pt x="838777" y="702422"/>
                  </a:lnTo>
                  <a:cubicBezTo>
                    <a:pt x="842336" y="704401"/>
                    <a:pt x="846322" y="705527"/>
                    <a:pt x="850581" y="705527"/>
                  </a:cubicBezTo>
                  <a:cubicBezTo>
                    <a:pt x="865338" y="705527"/>
                    <a:pt x="877294" y="692119"/>
                    <a:pt x="877294" y="675574"/>
                  </a:cubicBezTo>
                  <a:cubicBezTo>
                    <a:pt x="877294" y="659028"/>
                    <a:pt x="865338" y="645621"/>
                    <a:pt x="850581" y="645621"/>
                  </a:cubicBezTo>
                  <a:cubicBezTo>
                    <a:pt x="835826" y="645621"/>
                    <a:pt x="823869" y="659028"/>
                    <a:pt x="823869" y="675574"/>
                  </a:cubicBezTo>
                  <a:cubicBezTo>
                    <a:pt x="823869" y="681135"/>
                    <a:pt x="825238" y="686320"/>
                    <a:pt x="827611" y="690789"/>
                  </a:cubicBezTo>
                  <a:lnTo>
                    <a:pt x="565289" y="984926"/>
                  </a:lnTo>
                  <a:lnTo>
                    <a:pt x="208013" y="984926"/>
                  </a:lnTo>
                  <a:lnTo>
                    <a:pt x="15273" y="768810"/>
                  </a:lnTo>
                  <a:lnTo>
                    <a:pt x="15273" y="471807"/>
                  </a:lnTo>
                  <a:lnTo>
                    <a:pt x="202293" y="262103"/>
                  </a:lnTo>
                  <a:cubicBezTo>
                    <a:pt x="203723" y="260500"/>
                    <a:pt x="204514" y="258317"/>
                    <a:pt x="204514" y="256065"/>
                  </a:cubicBezTo>
                  <a:lnTo>
                    <a:pt x="204514" y="57517"/>
                  </a:lnTo>
                  <a:cubicBezTo>
                    <a:pt x="214067" y="52946"/>
                    <a:pt x="220761" y="42336"/>
                    <a:pt x="220761" y="29953"/>
                  </a:cubicBezTo>
                  <a:cubicBezTo>
                    <a:pt x="220761" y="13407"/>
                    <a:pt x="208804" y="0"/>
                    <a:pt x="194048" y="0"/>
                  </a:cubicBezTo>
                  <a:cubicBezTo>
                    <a:pt x="179292" y="0"/>
                    <a:pt x="167336" y="13407"/>
                    <a:pt x="167336" y="29953"/>
                  </a:cubicBezTo>
                  <a:cubicBezTo>
                    <a:pt x="167336" y="44656"/>
                    <a:pt x="176797" y="56869"/>
                    <a:pt x="189241" y="59394"/>
                  </a:cubicBezTo>
                  <a:lnTo>
                    <a:pt x="189241" y="252551"/>
                  </a:lnTo>
                  <a:lnTo>
                    <a:pt x="2221" y="462255"/>
                  </a:lnTo>
                  <a:cubicBezTo>
                    <a:pt x="791" y="463858"/>
                    <a:pt x="0" y="466041"/>
                    <a:pt x="0" y="468293"/>
                  </a:cubicBezTo>
                  <a:lnTo>
                    <a:pt x="0" y="772391"/>
                  </a:lnTo>
                  <a:cubicBezTo>
                    <a:pt x="0" y="774643"/>
                    <a:pt x="791" y="776826"/>
                    <a:pt x="2221" y="77843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5" name="Freeform 392">
              <a:extLst>
                <a:ext uri="{FF2B5EF4-FFF2-40B4-BE49-F238E27FC236}">
                  <a16:creationId xmlns:a16="http://schemas.microsoft.com/office/drawing/2014/main" id="{65ADB7F5-1240-BF18-40AE-74120C255E9D}"/>
                </a:ext>
              </a:extLst>
            </p:cNvPr>
            <p:cNvSpPr/>
            <p:nvPr userDrawn="1"/>
          </p:nvSpPr>
          <p:spPr>
            <a:xfrm>
              <a:off x="11312514" y="4223829"/>
              <a:ext cx="877295" cy="1001983"/>
            </a:xfrm>
            <a:custGeom>
              <a:avLst/>
              <a:gdLst>
                <a:gd name="connsiteX0" fmla="*/ 2312 w 877295"/>
                <a:gd name="connsiteY0" fmla="*/ 778395 h 1001983"/>
                <a:gd name="connsiteX1" fmla="*/ 199495 w 877295"/>
                <a:gd name="connsiteY1" fmla="*/ 999493 h 1001983"/>
                <a:gd name="connsiteX2" fmla="*/ 204880 w 877295"/>
                <a:gd name="connsiteY2" fmla="*/ 1001983 h 1001983"/>
                <a:gd name="connsiteX3" fmla="*/ 568454 w 877295"/>
                <a:gd name="connsiteY3" fmla="*/ 1001983 h 1001983"/>
                <a:gd name="connsiteX4" fmla="*/ 573840 w 877295"/>
                <a:gd name="connsiteY4" fmla="*/ 999493 h 1001983"/>
                <a:gd name="connsiteX5" fmla="*/ 838778 w 877295"/>
                <a:gd name="connsiteY5" fmla="*/ 702422 h 1001983"/>
                <a:gd name="connsiteX6" fmla="*/ 850582 w 877295"/>
                <a:gd name="connsiteY6" fmla="*/ 705526 h 1001983"/>
                <a:gd name="connsiteX7" fmla="*/ 877295 w 877295"/>
                <a:gd name="connsiteY7" fmla="*/ 675574 h 1001983"/>
                <a:gd name="connsiteX8" fmla="*/ 850582 w 877295"/>
                <a:gd name="connsiteY8" fmla="*/ 645621 h 1001983"/>
                <a:gd name="connsiteX9" fmla="*/ 823869 w 877295"/>
                <a:gd name="connsiteY9" fmla="*/ 675574 h 1001983"/>
                <a:gd name="connsiteX10" fmla="*/ 827611 w 877295"/>
                <a:gd name="connsiteY10" fmla="*/ 690789 h 1001983"/>
                <a:gd name="connsiteX11" fmla="*/ 565290 w 877295"/>
                <a:gd name="connsiteY11" fmla="*/ 984926 h 1001983"/>
                <a:gd name="connsiteX12" fmla="*/ 208014 w 877295"/>
                <a:gd name="connsiteY12" fmla="*/ 984926 h 1001983"/>
                <a:gd name="connsiteX13" fmla="*/ 15273 w 877295"/>
                <a:gd name="connsiteY13" fmla="*/ 768809 h 1001983"/>
                <a:gd name="connsiteX14" fmla="*/ 15273 w 877295"/>
                <a:gd name="connsiteY14" fmla="*/ 471806 h 1001983"/>
                <a:gd name="connsiteX15" fmla="*/ 202293 w 877295"/>
                <a:gd name="connsiteY15" fmla="*/ 262103 h 1001983"/>
                <a:gd name="connsiteX16" fmla="*/ 204514 w 877295"/>
                <a:gd name="connsiteY16" fmla="*/ 256065 h 1001983"/>
                <a:gd name="connsiteX17" fmla="*/ 204514 w 877295"/>
                <a:gd name="connsiteY17" fmla="*/ 57517 h 1001983"/>
                <a:gd name="connsiteX18" fmla="*/ 220761 w 877295"/>
                <a:gd name="connsiteY18" fmla="*/ 29953 h 1001983"/>
                <a:gd name="connsiteX19" fmla="*/ 194048 w 877295"/>
                <a:gd name="connsiteY19" fmla="*/ 0 h 1001983"/>
                <a:gd name="connsiteX20" fmla="*/ 167336 w 877295"/>
                <a:gd name="connsiteY20" fmla="*/ 29953 h 1001983"/>
                <a:gd name="connsiteX21" fmla="*/ 189241 w 877295"/>
                <a:gd name="connsiteY21" fmla="*/ 59393 h 1001983"/>
                <a:gd name="connsiteX22" fmla="*/ 189241 w 877295"/>
                <a:gd name="connsiteY22" fmla="*/ 252551 h 1001983"/>
                <a:gd name="connsiteX23" fmla="*/ 2221 w 877295"/>
                <a:gd name="connsiteY23" fmla="*/ 462255 h 1001983"/>
                <a:gd name="connsiteX24" fmla="*/ 0 w 877295"/>
                <a:gd name="connsiteY24" fmla="*/ 468293 h 1001983"/>
                <a:gd name="connsiteX25" fmla="*/ 0 w 877295"/>
                <a:gd name="connsiteY25" fmla="*/ 772391 h 1001983"/>
                <a:gd name="connsiteX26" fmla="*/ 2221 w 877295"/>
                <a:gd name="connsiteY26" fmla="*/ 778430 h 100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77295" h="1001983">
                  <a:moveTo>
                    <a:pt x="2312" y="778395"/>
                  </a:moveTo>
                  <a:lnTo>
                    <a:pt x="199495" y="999493"/>
                  </a:lnTo>
                  <a:cubicBezTo>
                    <a:pt x="200924" y="1001096"/>
                    <a:pt x="202872" y="1001983"/>
                    <a:pt x="204880" y="1001983"/>
                  </a:cubicBezTo>
                  <a:lnTo>
                    <a:pt x="568454" y="1001983"/>
                  </a:lnTo>
                  <a:cubicBezTo>
                    <a:pt x="570462" y="1001983"/>
                    <a:pt x="572410" y="1001096"/>
                    <a:pt x="573840" y="999493"/>
                  </a:cubicBezTo>
                  <a:lnTo>
                    <a:pt x="838778" y="702422"/>
                  </a:lnTo>
                  <a:cubicBezTo>
                    <a:pt x="842337" y="704401"/>
                    <a:pt x="846323" y="705526"/>
                    <a:pt x="850582" y="705526"/>
                  </a:cubicBezTo>
                  <a:cubicBezTo>
                    <a:pt x="865338" y="705526"/>
                    <a:pt x="877295" y="692120"/>
                    <a:pt x="877295" y="675574"/>
                  </a:cubicBezTo>
                  <a:cubicBezTo>
                    <a:pt x="877295" y="659028"/>
                    <a:pt x="865338" y="645621"/>
                    <a:pt x="850582" y="645621"/>
                  </a:cubicBezTo>
                  <a:cubicBezTo>
                    <a:pt x="835826" y="645621"/>
                    <a:pt x="823869" y="659028"/>
                    <a:pt x="823869" y="675574"/>
                  </a:cubicBezTo>
                  <a:cubicBezTo>
                    <a:pt x="823869" y="681134"/>
                    <a:pt x="825238" y="686320"/>
                    <a:pt x="827611" y="690789"/>
                  </a:cubicBezTo>
                  <a:lnTo>
                    <a:pt x="565290" y="984926"/>
                  </a:lnTo>
                  <a:lnTo>
                    <a:pt x="208014" y="984926"/>
                  </a:lnTo>
                  <a:lnTo>
                    <a:pt x="15273" y="768809"/>
                  </a:lnTo>
                  <a:lnTo>
                    <a:pt x="15273" y="471806"/>
                  </a:lnTo>
                  <a:lnTo>
                    <a:pt x="202293" y="262103"/>
                  </a:lnTo>
                  <a:cubicBezTo>
                    <a:pt x="203723" y="260500"/>
                    <a:pt x="204514" y="258317"/>
                    <a:pt x="204514" y="256065"/>
                  </a:cubicBezTo>
                  <a:lnTo>
                    <a:pt x="204514" y="57517"/>
                  </a:lnTo>
                  <a:cubicBezTo>
                    <a:pt x="214068" y="52946"/>
                    <a:pt x="220761" y="42336"/>
                    <a:pt x="220761" y="29953"/>
                  </a:cubicBezTo>
                  <a:cubicBezTo>
                    <a:pt x="220761" y="13407"/>
                    <a:pt x="208805" y="0"/>
                    <a:pt x="194048" y="0"/>
                  </a:cubicBezTo>
                  <a:cubicBezTo>
                    <a:pt x="179293" y="0"/>
                    <a:pt x="167336" y="13407"/>
                    <a:pt x="167336" y="29953"/>
                  </a:cubicBezTo>
                  <a:cubicBezTo>
                    <a:pt x="167336" y="44656"/>
                    <a:pt x="176798" y="56835"/>
                    <a:pt x="189241" y="59393"/>
                  </a:cubicBezTo>
                  <a:lnTo>
                    <a:pt x="189241" y="252551"/>
                  </a:lnTo>
                  <a:lnTo>
                    <a:pt x="2221" y="462255"/>
                  </a:lnTo>
                  <a:cubicBezTo>
                    <a:pt x="791" y="463858"/>
                    <a:pt x="0" y="466041"/>
                    <a:pt x="0" y="468293"/>
                  </a:cubicBezTo>
                  <a:lnTo>
                    <a:pt x="0" y="772391"/>
                  </a:lnTo>
                  <a:cubicBezTo>
                    <a:pt x="0" y="774643"/>
                    <a:pt x="791" y="776826"/>
                    <a:pt x="2221" y="77843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6" name="Freeform 395">
              <a:extLst>
                <a:ext uri="{FF2B5EF4-FFF2-40B4-BE49-F238E27FC236}">
                  <a16:creationId xmlns:a16="http://schemas.microsoft.com/office/drawing/2014/main" id="{B19844CD-0C3D-8B2E-CD8F-E80F270275DF}"/>
                </a:ext>
              </a:extLst>
            </p:cNvPr>
            <p:cNvSpPr/>
            <p:nvPr userDrawn="1"/>
          </p:nvSpPr>
          <p:spPr>
            <a:xfrm>
              <a:off x="5772429" y="5485834"/>
              <a:ext cx="2438961" cy="486271"/>
            </a:xfrm>
            <a:custGeom>
              <a:avLst/>
              <a:gdLst>
                <a:gd name="connsiteX0" fmla="*/ 26713 w 2438961"/>
                <a:gd name="connsiteY0" fmla="*/ 198718 h 486271"/>
                <a:gd name="connsiteX1" fmla="*/ 39430 w 2438961"/>
                <a:gd name="connsiteY1" fmla="*/ 195102 h 486271"/>
                <a:gd name="connsiteX2" fmla="*/ 296884 w 2438961"/>
                <a:gd name="connsiteY2" fmla="*/ 483781 h 486271"/>
                <a:gd name="connsiteX3" fmla="*/ 302269 w 2438961"/>
                <a:gd name="connsiteY3" fmla="*/ 486271 h 486271"/>
                <a:gd name="connsiteX4" fmla="*/ 1190364 w 2438961"/>
                <a:gd name="connsiteY4" fmla="*/ 486271 h 486271"/>
                <a:gd name="connsiteX5" fmla="*/ 1195750 w 2438961"/>
                <a:gd name="connsiteY5" fmla="*/ 483781 h 486271"/>
                <a:gd name="connsiteX6" fmla="*/ 1592852 w 2438961"/>
                <a:gd name="connsiteY6" fmla="*/ 38516 h 486271"/>
                <a:gd name="connsiteX7" fmla="*/ 2386661 w 2438961"/>
                <a:gd name="connsiteY7" fmla="*/ 38516 h 486271"/>
                <a:gd name="connsiteX8" fmla="*/ 2412249 w 2438961"/>
                <a:gd name="connsiteY8" fmla="*/ 59906 h 486271"/>
                <a:gd name="connsiteX9" fmla="*/ 2438961 w 2438961"/>
                <a:gd name="connsiteY9" fmla="*/ 29953 h 486271"/>
                <a:gd name="connsiteX10" fmla="*/ 2412249 w 2438961"/>
                <a:gd name="connsiteY10" fmla="*/ 0 h 486271"/>
                <a:gd name="connsiteX11" fmla="*/ 2386661 w 2438961"/>
                <a:gd name="connsiteY11" fmla="*/ 21390 h 486271"/>
                <a:gd name="connsiteX12" fmla="*/ 1589688 w 2438961"/>
                <a:gd name="connsiteY12" fmla="*/ 21390 h 486271"/>
                <a:gd name="connsiteX13" fmla="*/ 1584303 w 2438961"/>
                <a:gd name="connsiteY13" fmla="*/ 23880 h 486271"/>
                <a:gd name="connsiteX14" fmla="*/ 1187200 w 2438961"/>
                <a:gd name="connsiteY14" fmla="*/ 469146 h 486271"/>
                <a:gd name="connsiteX15" fmla="*/ 305433 w 2438961"/>
                <a:gd name="connsiteY15" fmla="*/ 469146 h 486271"/>
                <a:gd name="connsiteX16" fmla="*/ 50201 w 2438961"/>
                <a:gd name="connsiteY16" fmla="*/ 182957 h 486271"/>
                <a:gd name="connsiteX17" fmla="*/ 53425 w 2438961"/>
                <a:gd name="connsiteY17" fmla="*/ 168698 h 486271"/>
                <a:gd name="connsiteX18" fmla="*/ 26713 w 2438961"/>
                <a:gd name="connsiteY18" fmla="*/ 138745 h 486271"/>
                <a:gd name="connsiteX19" fmla="*/ 0 w 2438961"/>
                <a:gd name="connsiteY19" fmla="*/ 168698 h 486271"/>
                <a:gd name="connsiteX20" fmla="*/ 26713 w 2438961"/>
                <a:gd name="connsiteY20" fmla="*/ 198650 h 48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38961" h="486271">
                  <a:moveTo>
                    <a:pt x="26713" y="198718"/>
                  </a:moveTo>
                  <a:cubicBezTo>
                    <a:pt x="31307" y="198718"/>
                    <a:pt x="35658" y="197422"/>
                    <a:pt x="39430" y="195102"/>
                  </a:cubicBezTo>
                  <a:lnTo>
                    <a:pt x="296884" y="483781"/>
                  </a:lnTo>
                  <a:cubicBezTo>
                    <a:pt x="298314" y="485384"/>
                    <a:pt x="300261" y="486271"/>
                    <a:pt x="302269" y="486271"/>
                  </a:cubicBezTo>
                  <a:lnTo>
                    <a:pt x="1190364" y="486271"/>
                  </a:lnTo>
                  <a:cubicBezTo>
                    <a:pt x="1192372" y="486271"/>
                    <a:pt x="1194320" y="485384"/>
                    <a:pt x="1195750" y="483781"/>
                  </a:cubicBezTo>
                  <a:lnTo>
                    <a:pt x="1592852" y="38516"/>
                  </a:lnTo>
                  <a:lnTo>
                    <a:pt x="2386661" y="38516"/>
                  </a:lnTo>
                  <a:cubicBezTo>
                    <a:pt x="2389948" y="50899"/>
                    <a:pt x="2400139" y="59906"/>
                    <a:pt x="2412249" y="59906"/>
                  </a:cubicBezTo>
                  <a:cubicBezTo>
                    <a:pt x="2427005" y="59906"/>
                    <a:pt x="2438961" y="46498"/>
                    <a:pt x="2438961" y="29953"/>
                  </a:cubicBezTo>
                  <a:cubicBezTo>
                    <a:pt x="2438961" y="13407"/>
                    <a:pt x="2427005" y="0"/>
                    <a:pt x="2412249" y="0"/>
                  </a:cubicBezTo>
                  <a:cubicBezTo>
                    <a:pt x="2400139" y="0"/>
                    <a:pt x="2389948" y="9040"/>
                    <a:pt x="2386661" y="21390"/>
                  </a:cubicBezTo>
                  <a:lnTo>
                    <a:pt x="1589688" y="21390"/>
                  </a:lnTo>
                  <a:cubicBezTo>
                    <a:pt x="1587680" y="21390"/>
                    <a:pt x="1585733" y="22277"/>
                    <a:pt x="1584303" y="23880"/>
                  </a:cubicBezTo>
                  <a:lnTo>
                    <a:pt x="1187200" y="469146"/>
                  </a:lnTo>
                  <a:lnTo>
                    <a:pt x="305433" y="469146"/>
                  </a:lnTo>
                  <a:lnTo>
                    <a:pt x="50201" y="182957"/>
                  </a:lnTo>
                  <a:cubicBezTo>
                    <a:pt x="52239" y="178727"/>
                    <a:pt x="53425" y="173849"/>
                    <a:pt x="53425" y="168698"/>
                  </a:cubicBezTo>
                  <a:cubicBezTo>
                    <a:pt x="53425" y="152152"/>
                    <a:pt x="41469" y="138745"/>
                    <a:pt x="26713" y="138745"/>
                  </a:cubicBezTo>
                  <a:cubicBezTo>
                    <a:pt x="11957" y="138745"/>
                    <a:pt x="0" y="152152"/>
                    <a:pt x="0" y="168698"/>
                  </a:cubicBezTo>
                  <a:cubicBezTo>
                    <a:pt x="0" y="185243"/>
                    <a:pt x="11957" y="198650"/>
                    <a:pt x="26713" y="198650"/>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7" name="Freeform 396">
              <a:extLst>
                <a:ext uri="{FF2B5EF4-FFF2-40B4-BE49-F238E27FC236}">
                  <a16:creationId xmlns:a16="http://schemas.microsoft.com/office/drawing/2014/main" id="{CA89876E-D36C-00BA-4372-E249FD815FE1}"/>
                </a:ext>
              </a:extLst>
            </p:cNvPr>
            <p:cNvSpPr/>
            <p:nvPr userDrawn="1"/>
          </p:nvSpPr>
          <p:spPr>
            <a:xfrm>
              <a:off x="7437022" y="4519535"/>
              <a:ext cx="1402181" cy="681748"/>
            </a:xfrm>
            <a:custGeom>
              <a:avLst/>
              <a:gdLst>
                <a:gd name="connsiteX0" fmla="*/ 26713 w 1402181"/>
                <a:gd name="connsiteY0" fmla="*/ 420566 h 681748"/>
                <a:gd name="connsiteX1" fmla="*/ 39431 w 1402181"/>
                <a:gd name="connsiteY1" fmla="*/ 416950 h 681748"/>
                <a:gd name="connsiteX2" fmla="*/ 273366 w 1402181"/>
                <a:gd name="connsiteY2" fmla="*/ 679258 h 681748"/>
                <a:gd name="connsiteX3" fmla="*/ 278751 w 1402181"/>
                <a:gd name="connsiteY3" fmla="*/ 681749 h 681748"/>
                <a:gd name="connsiteX4" fmla="*/ 801781 w 1402181"/>
                <a:gd name="connsiteY4" fmla="*/ 681749 h 681748"/>
                <a:gd name="connsiteX5" fmla="*/ 807166 w 1402181"/>
                <a:gd name="connsiteY5" fmla="*/ 679258 h 681748"/>
                <a:gd name="connsiteX6" fmla="*/ 1362751 w 1402181"/>
                <a:gd name="connsiteY6" fmla="*/ 56289 h 681748"/>
                <a:gd name="connsiteX7" fmla="*/ 1375468 w 1402181"/>
                <a:gd name="connsiteY7" fmla="*/ 59906 h 681748"/>
                <a:gd name="connsiteX8" fmla="*/ 1402181 w 1402181"/>
                <a:gd name="connsiteY8" fmla="*/ 29953 h 681748"/>
                <a:gd name="connsiteX9" fmla="*/ 1375468 w 1402181"/>
                <a:gd name="connsiteY9" fmla="*/ 0 h 681748"/>
                <a:gd name="connsiteX10" fmla="*/ 1348755 w 1402181"/>
                <a:gd name="connsiteY10" fmla="*/ 29953 h 681748"/>
                <a:gd name="connsiteX11" fmla="*/ 1351980 w 1402181"/>
                <a:gd name="connsiteY11" fmla="*/ 44213 h 681748"/>
                <a:gd name="connsiteX12" fmla="*/ 798617 w 1402181"/>
                <a:gd name="connsiteY12" fmla="*/ 664692 h 681748"/>
                <a:gd name="connsiteX13" fmla="*/ 281915 w 1402181"/>
                <a:gd name="connsiteY13" fmla="*/ 664692 h 681748"/>
                <a:gd name="connsiteX14" fmla="*/ 50201 w 1402181"/>
                <a:gd name="connsiteY14" fmla="*/ 404874 h 681748"/>
                <a:gd name="connsiteX15" fmla="*/ 53426 w 1402181"/>
                <a:gd name="connsiteY15" fmla="*/ 390614 h 681748"/>
                <a:gd name="connsiteX16" fmla="*/ 26713 w 1402181"/>
                <a:gd name="connsiteY16" fmla="*/ 360661 h 681748"/>
                <a:gd name="connsiteX17" fmla="*/ 0 w 1402181"/>
                <a:gd name="connsiteY17" fmla="*/ 390614 h 681748"/>
                <a:gd name="connsiteX18" fmla="*/ 26713 w 1402181"/>
                <a:gd name="connsiteY18" fmla="*/ 420566 h 681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02181" h="681748">
                  <a:moveTo>
                    <a:pt x="26713" y="420566"/>
                  </a:moveTo>
                  <a:cubicBezTo>
                    <a:pt x="31307" y="420566"/>
                    <a:pt x="35658" y="419270"/>
                    <a:pt x="39431" y="416950"/>
                  </a:cubicBezTo>
                  <a:lnTo>
                    <a:pt x="273366" y="679258"/>
                  </a:lnTo>
                  <a:cubicBezTo>
                    <a:pt x="274796" y="680862"/>
                    <a:pt x="276743" y="681749"/>
                    <a:pt x="278751" y="681749"/>
                  </a:cubicBezTo>
                  <a:lnTo>
                    <a:pt x="801781" y="681749"/>
                  </a:lnTo>
                  <a:cubicBezTo>
                    <a:pt x="803789" y="681749"/>
                    <a:pt x="805736" y="680862"/>
                    <a:pt x="807166" y="679258"/>
                  </a:cubicBezTo>
                  <a:lnTo>
                    <a:pt x="1362751" y="56289"/>
                  </a:lnTo>
                  <a:cubicBezTo>
                    <a:pt x="1366524" y="58575"/>
                    <a:pt x="1370874" y="59906"/>
                    <a:pt x="1375468" y="59906"/>
                  </a:cubicBezTo>
                  <a:cubicBezTo>
                    <a:pt x="1390224" y="59906"/>
                    <a:pt x="1402181" y="46498"/>
                    <a:pt x="1402181" y="29953"/>
                  </a:cubicBezTo>
                  <a:cubicBezTo>
                    <a:pt x="1402181" y="13407"/>
                    <a:pt x="1390224" y="0"/>
                    <a:pt x="1375468" y="0"/>
                  </a:cubicBezTo>
                  <a:cubicBezTo>
                    <a:pt x="1360713" y="0"/>
                    <a:pt x="1348755" y="13407"/>
                    <a:pt x="1348755" y="29953"/>
                  </a:cubicBezTo>
                  <a:cubicBezTo>
                    <a:pt x="1348755" y="35104"/>
                    <a:pt x="1349912" y="39983"/>
                    <a:pt x="1351980" y="44213"/>
                  </a:cubicBezTo>
                  <a:lnTo>
                    <a:pt x="798617" y="664692"/>
                  </a:lnTo>
                  <a:lnTo>
                    <a:pt x="281915" y="664692"/>
                  </a:lnTo>
                  <a:lnTo>
                    <a:pt x="50201" y="404874"/>
                  </a:lnTo>
                  <a:cubicBezTo>
                    <a:pt x="52240" y="400644"/>
                    <a:pt x="53426" y="395765"/>
                    <a:pt x="53426" y="390614"/>
                  </a:cubicBezTo>
                  <a:cubicBezTo>
                    <a:pt x="53426" y="374068"/>
                    <a:pt x="41469" y="360661"/>
                    <a:pt x="26713" y="360661"/>
                  </a:cubicBezTo>
                  <a:cubicBezTo>
                    <a:pt x="11957" y="360661"/>
                    <a:pt x="0" y="374068"/>
                    <a:pt x="0" y="390614"/>
                  </a:cubicBezTo>
                  <a:cubicBezTo>
                    <a:pt x="0" y="407160"/>
                    <a:pt x="11957" y="420566"/>
                    <a:pt x="26713" y="420566"/>
                  </a:cubicBezTo>
                  <a:close/>
                </a:path>
              </a:pathLst>
            </a:custGeom>
            <a:grpFill/>
            <a:ln w="304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8" name="Oval 187">
              <a:extLst>
                <a:ext uri="{FF2B5EF4-FFF2-40B4-BE49-F238E27FC236}">
                  <a16:creationId xmlns:a16="http://schemas.microsoft.com/office/drawing/2014/main" id="{E91EB77E-8F04-E1D5-0CA8-77089F55B781}"/>
                </a:ext>
              </a:extLst>
            </p:cNvPr>
            <p:cNvSpPr/>
            <p:nvPr userDrawn="1"/>
          </p:nvSpPr>
          <p:spPr bwMode="auto">
            <a:xfrm>
              <a:off x="2162840" y="1439584"/>
              <a:ext cx="56657" cy="5665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9" name="Group 188">
              <a:extLst>
                <a:ext uri="{FF2B5EF4-FFF2-40B4-BE49-F238E27FC236}">
                  <a16:creationId xmlns:a16="http://schemas.microsoft.com/office/drawing/2014/main" id="{3EDFFABB-7699-CAAE-3153-36BBCCCB5787}"/>
                </a:ext>
              </a:extLst>
            </p:cNvPr>
            <p:cNvGrpSpPr/>
            <p:nvPr userDrawn="1"/>
          </p:nvGrpSpPr>
          <p:grpSpPr>
            <a:xfrm>
              <a:off x="1515989" y="1430365"/>
              <a:ext cx="4445621" cy="764218"/>
              <a:chOff x="1515989" y="1430365"/>
              <a:chExt cx="4445621" cy="764218"/>
            </a:xfrm>
            <a:grpFill/>
          </p:grpSpPr>
          <p:cxnSp>
            <p:nvCxnSpPr>
              <p:cNvPr id="224" name="Straight Connector 223">
                <a:extLst>
                  <a:ext uri="{FF2B5EF4-FFF2-40B4-BE49-F238E27FC236}">
                    <a16:creationId xmlns:a16="http://schemas.microsoft.com/office/drawing/2014/main" id="{F17A84CB-1313-F18F-F099-3D4052577F7D}"/>
                  </a:ext>
                </a:extLst>
              </p:cNvPr>
              <p:cNvCxnSpPr>
                <a:cxnSpLocks/>
              </p:cNvCxnSpPr>
              <p:nvPr/>
            </p:nvCxnSpPr>
            <p:spPr>
              <a:xfrm>
                <a:off x="2242356" y="1597269"/>
                <a:ext cx="533103" cy="597314"/>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9C2B7214-2A2D-EFF4-DD31-4D56BF60F3D0}"/>
                  </a:ext>
                </a:extLst>
              </p:cNvPr>
              <p:cNvCxnSpPr>
                <a:cxnSpLocks/>
              </p:cNvCxnSpPr>
              <p:nvPr/>
            </p:nvCxnSpPr>
            <p:spPr>
              <a:xfrm>
                <a:off x="2764395" y="2189942"/>
                <a:ext cx="502310" cy="0"/>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12DDF1B9-DAF2-396C-A12C-7A69AEC1D484}"/>
                  </a:ext>
                </a:extLst>
              </p:cNvPr>
              <p:cNvCxnSpPr>
                <a:cxnSpLocks/>
              </p:cNvCxnSpPr>
              <p:nvPr/>
            </p:nvCxnSpPr>
            <p:spPr>
              <a:xfrm flipH="1">
                <a:off x="3255242" y="1432323"/>
                <a:ext cx="682763" cy="762260"/>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E8ED184F-E8EA-8757-733F-16FCD38B6544}"/>
                  </a:ext>
                </a:extLst>
              </p:cNvPr>
              <p:cNvCxnSpPr>
                <a:cxnSpLocks/>
              </p:cNvCxnSpPr>
              <p:nvPr/>
            </p:nvCxnSpPr>
            <p:spPr>
              <a:xfrm>
                <a:off x="3931185" y="1430365"/>
                <a:ext cx="2030425" cy="0"/>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3220DFC2-8E7D-590A-05E0-4D45538AF3F6}"/>
                  </a:ext>
                </a:extLst>
              </p:cNvPr>
              <p:cNvCxnSpPr>
                <a:cxnSpLocks/>
              </p:cNvCxnSpPr>
              <p:nvPr/>
            </p:nvCxnSpPr>
            <p:spPr>
              <a:xfrm>
                <a:off x="1764955" y="1597066"/>
                <a:ext cx="481369" cy="704"/>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B803DF1D-AC1A-4139-7356-266CE7FAA945}"/>
                  </a:ext>
                </a:extLst>
              </p:cNvPr>
              <p:cNvCxnSpPr>
                <a:cxnSpLocks/>
              </p:cNvCxnSpPr>
              <p:nvPr/>
            </p:nvCxnSpPr>
            <p:spPr>
              <a:xfrm flipH="1">
                <a:off x="1515989" y="1593987"/>
                <a:ext cx="253918" cy="276719"/>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90" name="Group 189">
              <a:extLst>
                <a:ext uri="{FF2B5EF4-FFF2-40B4-BE49-F238E27FC236}">
                  <a16:creationId xmlns:a16="http://schemas.microsoft.com/office/drawing/2014/main" id="{CB621439-F37D-88CE-D511-207A32FE8628}"/>
                </a:ext>
              </a:extLst>
            </p:cNvPr>
            <p:cNvGrpSpPr/>
            <p:nvPr userDrawn="1"/>
          </p:nvGrpSpPr>
          <p:grpSpPr>
            <a:xfrm>
              <a:off x="6239448" y="1449188"/>
              <a:ext cx="4400095" cy="717898"/>
              <a:chOff x="6239448" y="1449188"/>
              <a:chExt cx="4400095" cy="717898"/>
            </a:xfrm>
            <a:grpFill/>
          </p:grpSpPr>
          <p:cxnSp>
            <p:nvCxnSpPr>
              <p:cNvPr id="218" name="Straight Connector 217">
                <a:extLst>
                  <a:ext uri="{FF2B5EF4-FFF2-40B4-BE49-F238E27FC236}">
                    <a16:creationId xmlns:a16="http://schemas.microsoft.com/office/drawing/2014/main" id="{DA1E0CC9-AB7C-A610-F55E-0EB37796A3C6}"/>
                  </a:ext>
                </a:extLst>
              </p:cNvPr>
              <p:cNvCxnSpPr>
                <a:cxnSpLocks/>
              </p:cNvCxnSpPr>
              <p:nvPr/>
            </p:nvCxnSpPr>
            <p:spPr>
              <a:xfrm>
                <a:off x="6239448" y="1449188"/>
                <a:ext cx="211768" cy="237275"/>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19BB1AC0-FEA5-4084-3A90-278DE2415939}"/>
                  </a:ext>
                </a:extLst>
              </p:cNvPr>
              <p:cNvCxnSpPr>
                <a:cxnSpLocks/>
              </p:cNvCxnSpPr>
              <p:nvPr/>
            </p:nvCxnSpPr>
            <p:spPr>
              <a:xfrm>
                <a:off x="6441163" y="1680447"/>
                <a:ext cx="1696949" cy="0"/>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757A473E-9C98-2257-2B76-4331F06DBD95}"/>
                  </a:ext>
                </a:extLst>
              </p:cNvPr>
              <p:cNvCxnSpPr>
                <a:cxnSpLocks/>
              </p:cNvCxnSpPr>
              <p:nvPr/>
            </p:nvCxnSpPr>
            <p:spPr>
              <a:xfrm>
                <a:off x="8128090" y="1677688"/>
                <a:ext cx="125098" cy="140166"/>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8E27D676-F2BC-7845-4438-27984D777FF9}"/>
                  </a:ext>
                </a:extLst>
              </p:cNvPr>
              <p:cNvCxnSpPr>
                <a:cxnSpLocks/>
              </p:cNvCxnSpPr>
              <p:nvPr/>
            </p:nvCxnSpPr>
            <p:spPr>
              <a:xfrm>
                <a:off x="8244918" y="1811991"/>
                <a:ext cx="1720940" cy="0"/>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020BD1BF-8A3B-0020-C98A-340C37DF256E}"/>
                  </a:ext>
                </a:extLst>
              </p:cNvPr>
              <p:cNvCxnSpPr>
                <a:cxnSpLocks/>
              </p:cNvCxnSpPr>
              <p:nvPr/>
            </p:nvCxnSpPr>
            <p:spPr>
              <a:xfrm>
                <a:off x="9955228" y="1806821"/>
                <a:ext cx="321537" cy="360265"/>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748968B8-FF88-3FF9-937F-2A193F15F3C1}"/>
                  </a:ext>
                </a:extLst>
              </p:cNvPr>
              <p:cNvCxnSpPr>
                <a:cxnSpLocks/>
              </p:cNvCxnSpPr>
              <p:nvPr/>
            </p:nvCxnSpPr>
            <p:spPr>
              <a:xfrm>
                <a:off x="10268970" y="2163809"/>
                <a:ext cx="370573" cy="0"/>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91" name="Group 190">
              <a:extLst>
                <a:ext uri="{FF2B5EF4-FFF2-40B4-BE49-F238E27FC236}">
                  <a16:creationId xmlns:a16="http://schemas.microsoft.com/office/drawing/2014/main" id="{1447AF29-03BC-E89E-C2FE-AAE519014903}"/>
                </a:ext>
              </a:extLst>
            </p:cNvPr>
            <p:cNvGrpSpPr/>
            <p:nvPr userDrawn="1"/>
          </p:nvGrpSpPr>
          <p:grpSpPr>
            <a:xfrm>
              <a:off x="10567289" y="2280381"/>
              <a:ext cx="379337" cy="2095298"/>
              <a:chOff x="10567289" y="2280381"/>
              <a:chExt cx="379337" cy="2095298"/>
            </a:xfrm>
            <a:grpFill/>
          </p:grpSpPr>
          <p:cxnSp>
            <p:nvCxnSpPr>
              <p:cNvPr id="214" name="Straight Connector 213">
                <a:extLst>
                  <a:ext uri="{FF2B5EF4-FFF2-40B4-BE49-F238E27FC236}">
                    <a16:creationId xmlns:a16="http://schemas.microsoft.com/office/drawing/2014/main" id="{1067CC18-6036-06D1-BCB7-F81A35E751B5}"/>
                  </a:ext>
                </a:extLst>
              </p:cNvPr>
              <p:cNvCxnSpPr>
                <a:cxnSpLocks/>
              </p:cNvCxnSpPr>
              <p:nvPr/>
            </p:nvCxnSpPr>
            <p:spPr>
              <a:xfrm>
                <a:off x="10880244" y="2280381"/>
                <a:ext cx="0" cy="439031"/>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2324878B-0F72-C561-C858-61162B150279}"/>
                  </a:ext>
                </a:extLst>
              </p:cNvPr>
              <p:cNvCxnSpPr>
                <a:cxnSpLocks/>
              </p:cNvCxnSpPr>
              <p:nvPr/>
            </p:nvCxnSpPr>
            <p:spPr>
              <a:xfrm flipV="1">
                <a:off x="10567289" y="2707394"/>
                <a:ext cx="321537" cy="360265"/>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DC90444D-81B1-50CA-CF73-504F3AFEB5B2}"/>
                  </a:ext>
                </a:extLst>
              </p:cNvPr>
              <p:cNvCxnSpPr>
                <a:cxnSpLocks/>
              </p:cNvCxnSpPr>
              <p:nvPr/>
            </p:nvCxnSpPr>
            <p:spPr>
              <a:xfrm>
                <a:off x="10568940" y="3062018"/>
                <a:ext cx="0" cy="901788"/>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E4640A79-4D02-A805-8080-DC67FE736C58}"/>
                  </a:ext>
                </a:extLst>
              </p:cNvPr>
              <p:cNvCxnSpPr>
                <a:cxnSpLocks/>
              </p:cNvCxnSpPr>
              <p:nvPr/>
            </p:nvCxnSpPr>
            <p:spPr>
              <a:xfrm>
                <a:off x="10567289" y="3950652"/>
                <a:ext cx="379337" cy="425027"/>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92" name="Group 191">
              <a:extLst>
                <a:ext uri="{FF2B5EF4-FFF2-40B4-BE49-F238E27FC236}">
                  <a16:creationId xmlns:a16="http://schemas.microsoft.com/office/drawing/2014/main" id="{C61D9935-8FE3-1D60-2D37-8C6D6088AA36}"/>
                </a:ext>
              </a:extLst>
            </p:cNvPr>
            <p:cNvGrpSpPr/>
            <p:nvPr userDrawn="1"/>
          </p:nvGrpSpPr>
          <p:grpSpPr>
            <a:xfrm>
              <a:off x="5990116" y="4646014"/>
              <a:ext cx="4673264" cy="1243891"/>
              <a:chOff x="5990116" y="4646014"/>
              <a:chExt cx="4673264" cy="1243891"/>
            </a:xfrm>
            <a:grpFill/>
          </p:grpSpPr>
          <p:cxnSp>
            <p:nvCxnSpPr>
              <p:cNvPr id="205" name="Straight Connector 204">
                <a:extLst>
                  <a:ext uri="{FF2B5EF4-FFF2-40B4-BE49-F238E27FC236}">
                    <a16:creationId xmlns:a16="http://schemas.microsoft.com/office/drawing/2014/main" id="{5B44FC5C-C0CF-D9C2-AB83-86CCFA5E35EF}"/>
                  </a:ext>
                </a:extLst>
              </p:cNvPr>
              <p:cNvCxnSpPr>
                <a:cxnSpLocks/>
              </p:cNvCxnSpPr>
              <p:nvPr/>
            </p:nvCxnSpPr>
            <p:spPr>
              <a:xfrm>
                <a:off x="5990116" y="5747650"/>
                <a:ext cx="126963" cy="142255"/>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1396782A-EF9B-74BB-1070-4BDE7510DDE6}"/>
                  </a:ext>
                </a:extLst>
              </p:cNvPr>
              <p:cNvCxnSpPr>
                <a:cxnSpLocks/>
              </p:cNvCxnSpPr>
              <p:nvPr/>
            </p:nvCxnSpPr>
            <p:spPr>
              <a:xfrm>
                <a:off x="6106969" y="5884589"/>
                <a:ext cx="845601" cy="0"/>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5B89A36F-51A3-11FB-1A43-C10DB9942C6E}"/>
                  </a:ext>
                </a:extLst>
              </p:cNvPr>
              <p:cNvCxnSpPr>
                <a:cxnSpLocks/>
              </p:cNvCxnSpPr>
              <p:nvPr/>
            </p:nvCxnSpPr>
            <p:spPr>
              <a:xfrm flipH="1">
                <a:off x="6942484" y="5430741"/>
                <a:ext cx="409805" cy="459164"/>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1CD12F58-2C65-3B05-67A4-9C0A97513289}"/>
                  </a:ext>
                </a:extLst>
              </p:cNvPr>
              <p:cNvCxnSpPr>
                <a:cxnSpLocks/>
              </p:cNvCxnSpPr>
              <p:nvPr/>
            </p:nvCxnSpPr>
            <p:spPr>
              <a:xfrm>
                <a:off x="7345038" y="5428195"/>
                <a:ext cx="899880" cy="0"/>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E5DA850A-F793-4797-1D87-7F5B90AE2A15}"/>
                  </a:ext>
                </a:extLst>
              </p:cNvPr>
              <p:cNvCxnSpPr>
                <a:cxnSpLocks/>
              </p:cNvCxnSpPr>
              <p:nvPr/>
            </p:nvCxnSpPr>
            <p:spPr>
              <a:xfrm flipH="1">
                <a:off x="8232911" y="4647454"/>
                <a:ext cx="703749" cy="788512"/>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3996B599-7F9D-D5B1-7AF7-F5D5FE329D79}"/>
                  </a:ext>
                </a:extLst>
              </p:cNvPr>
              <p:cNvCxnSpPr>
                <a:cxnSpLocks/>
              </p:cNvCxnSpPr>
              <p:nvPr/>
            </p:nvCxnSpPr>
            <p:spPr>
              <a:xfrm>
                <a:off x="8928124" y="4650917"/>
                <a:ext cx="522438" cy="0"/>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CE76855B-69E4-BEC5-E2F5-4CC2E3D35192}"/>
                  </a:ext>
                </a:extLst>
              </p:cNvPr>
              <p:cNvCxnSpPr>
                <a:cxnSpLocks/>
              </p:cNvCxnSpPr>
              <p:nvPr/>
            </p:nvCxnSpPr>
            <p:spPr>
              <a:xfrm>
                <a:off x="9441077" y="4646014"/>
                <a:ext cx="559195" cy="626547"/>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A250996B-26D4-3B60-EB9C-6DAA45481C37}"/>
                  </a:ext>
                </a:extLst>
              </p:cNvPr>
              <p:cNvCxnSpPr>
                <a:cxnSpLocks/>
              </p:cNvCxnSpPr>
              <p:nvPr/>
            </p:nvCxnSpPr>
            <p:spPr>
              <a:xfrm>
                <a:off x="9993697" y="5268396"/>
                <a:ext cx="136013" cy="0"/>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3C232EC4-698B-FAB6-A5D6-B2BEB13576D5}"/>
                  </a:ext>
                </a:extLst>
              </p:cNvPr>
              <p:cNvCxnSpPr>
                <a:cxnSpLocks/>
              </p:cNvCxnSpPr>
              <p:nvPr/>
            </p:nvCxnSpPr>
            <p:spPr>
              <a:xfrm flipH="1">
                <a:off x="10122610" y="4668921"/>
                <a:ext cx="540770" cy="605903"/>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93" name="Group 192">
              <a:extLst>
                <a:ext uri="{FF2B5EF4-FFF2-40B4-BE49-F238E27FC236}">
                  <a16:creationId xmlns:a16="http://schemas.microsoft.com/office/drawing/2014/main" id="{6C2D369C-C393-4B07-327D-7236F206F7B5}"/>
                </a:ext>
              </a:extLst>
            </p:cNvPr>
            <p:cNvGrpSpPr/>
            <p:nvPr userDrawn="1"/>
          </p:nvGrpSpPr>
          <p:grpSpPr>
            <a:xfrm>
              <a:off x="1598389" y="4510390"/>
              <a:ext cx="4248306" cy="1060293"/>
              <a:chOff x="1598389" y="4510390"/>
              <a:chExt cx="4248306" cy="1060293"/>
            </a:xfrm>
            <a:grpFill/>
          </p:grpSpPr>
          <p:cxnSp>
            <p:nvCxnSpPr>
              <p:cNvPr id="200" name="Straight Connector 199">
                <a:extLst>
                  <a:ext uri="{FF2B5EF4-FFF2-40B4-BE49-F238E27FC236}">
                    <a16:creationId xmlns:a16="http://schemas.microsoft.com/office/drawing/2014/main" id="{C176E218-CFCA-F0BE-0E6D-14E1E04AFC05}"/>
                  </a:ext>
                </a:extLst>
              </p:cNvPr>
              <p:cNvCxnSpPr>
                <a:cxnSpLocks/>
              </p:cNvCxnSpPr>
              <p:nvPr/>
            </p:nvCxnSpPr>
            <p:spPr>
              <a:xfrm>
                <a:off x="4756732" y="5567499"/>
                <a:ext cx="1089963" cy="0"/>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55D54A79-73B3-3FB4-D70C-B9AC6F77EE04}"/>
                  </a:ext>
                </a:extLst>
              </p:cNvPr>
              <p:cNvCxnSpPr>
                <a:cxnSpLocks/>
              </p:cNvCxnSpPr>
              <p:nvPr/>
            </p:nvCxnSpPr>
            <p:spPr>
              <a:xfrm>
                <a:off x="4188419" y="4922362"/>
                <a:ext cx="578628" cy="648321"/>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A02E6227-CF38-72D1-7873-C1F773216E4F}"/>
                  </a:ext>
                </a:extLst>
              </p:cNvPr>
              <p:cNvCxnSpPr>
                <a:cxnSpLocks/>
              </p:cNvCxnSpPr>
              <p:nvPr/>
            </p:nvCxnSpPr>
            <p:spPr>
              <a:xfrm>
                <a:off x="2385588" y="4927261"/>
                <a:ext cx="1808402" cy="0"/>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589851D7-286A-C6A2-6E39-57F0CE186C95}"/>
                  </a:ext>
                </a:extLst>
              </p:cNvPr>
              <p:cNvCxnSpPr>
                <a:cxnSpLocks/>
              </p:cNvCxnSpPr>
              <p:nvPr/>
            </p:nvCxnSpPr>
            <p:spPr>
              <a:xfrm>
                <a:off x="2019334" y="4510390"/>
                <a:ext cx="375351" cy="420560"/>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6296149E-A789-F6DD-B9FE-E3082B6B5BFB}"/>
                  </a:ext>
                </a:extLst>
              </p:cNvPr>
              <p:cNvCxnSpPr>
                <a:cxnSpLocks/>
              </p:cNvCxnSpPr>
              <p:nvPr/>
            </p:nvCxnSpPr>
            <p:spPr>
              <a:xfrm>
                <a:off x="1598389" y="4510390"/>
                <a:ext cx="427123" cy="0"/>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10D2113A-A70F-87C2-C590-E4E28B18AAC5}"/>
                </a:ext>
              </a:extLst>
            </p:cNvPr>
            <p:cNvGrpSpPr/>
            <p:nvPr userDrawn="1"/>
          </p:nvGrpSpPr>
          <p:grpSpPr>
            <a:xfrm>
              <a:off x="1311719" y="2241047"/>
              <a:ext cx="318043" cy="2148394"/>
              <a:chOff x="1311719" y="2241047"/>
              <a:chExt cx="318043" cy="2148394"/>
            </a:xfrm>
            <a:grpFill/>
          </p:grpSpPr>
          <p:cxnSp>
            <p:nvCxnSpPr>
              <p:cNvPr id="195" name="Straight Connector 194">
                <a:extLst>
                  <a:ext uri="{FF2B5EF4-FFF2-40B4-BE49-F238E27FC236}">
                    <a16:creationId xmlns:a16="http://schemas.microsoft.com/office/drawing/2014/main" id="{454AB157-B905-8B41-A013-1AAB35DA2EAE}"/>
                  </a:ext>
                </a:extLst>
              </p:cNvPr>
              <p:cNvCxnSpPr>
                <a:cxnSpLocks/>
              </p:cNvCxnSpPr>
              <p:nvPr/>
            </p:nvCxnSpPr>
            <p:spPr>
              <a:xfrm flipH="1">
                <a:off x="1311719" y="4111454"/>
                <a:ext cx="1201" cy="277987"/>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96851E6F-EEAD-D7C6-3EE5-FE353FA21AE6}"/>
                  </a:ext>
                </a:extLst>
              </p:cNvPr>
              <p:cNvCxnSpPr>
                <a:cxnSpLocks/>
              </p:cNvCxnSpPr>
              <p:nvPr/>
            </p:nvCxnSpPr>
            <p:spPr>
              <a:xfrm flipH="1">
                <a:off x="1312202" y="3775966"/>
                <a:ext cx="316212" cy="344607"/>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7CAC32AD-83D5-FBEC-CEF5-A1B59F2F7EDD}"/>
                  </a:ext>
                </a:extLst>
              </p:cNvPr>
              <p:cNvCxnSpPr>
                <a:cxnSpLocks/>
              </p:cNvCxnSpPr>
              <p:nvPr/>
            </p:nvCxnSpPr>
            <p:spPr>
              <a:xfrm>
                <a:off x="1627922" y="2785006"/>
                <a:ext cx="0" cy="1002197"/>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944F1EB2-569F-FDA5-FF60-AC3B7671F669}"/>
                  </a:ext>
                </a:extLst>
              </p:cNvPr>
              <p:cNvCxnSpPr>
                <a:cxnSpLocks/>
              </p:cNvCxnSpPr>
              <p:nvPr/>
            </p:nvCxnSpPr>
            <p:spPr>
              <a:xfrm>
                <a:off x="1358361" y="2491175"/>
                <a:ext cx="271401" cy="304091"/>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0214C40D-202C-33CA-E6D3-9C235BE32EE4}"/>
                  </a:ext>
                </a:extLst>
              </p:cNvPr>
              <p:cNvCxnSpPr>
                <a:cxnSpLocks/>
              </p:cNvCxnSpPr>
              <p:nvPr/>
            </p:nvCxnSpPr>
            <p:spPr>
              <a:xfrm>
                <a:off x="1364750" y="2241047"/>
                <a:ext cx="0" cy="263161"/>
              </a:xfrm>
              <a:prstGeom prst="line">
                <a:avLst/>
              </a:prstGeom>
              <a:grpFill/>
              <a:ln w="22225">
                <a:solidFill>
                  <a:srgbClr val="808285">
                    <a:alpha val="17672"/>
                  </a:srgb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
        <p:nvSpPr>
          <p:cNvPr id="230" name="Rectangle 229">
            <a:extLst>
              <a:ext uri="{FF2B5EF4-FFF2-40B4-BE49-F238E27FC236}">
                <a16:creationId xmlns:a16="http://schemas.microsoft.com/office/drawing/2014/main" id="{8A7C56D3-91B3-57C8-22A7-1743B1E84C0F}"/>
              </a:ext>
            </a:extLst>
          </p:cNvPr>
          <p:cNvSpPr/>
          <p:nvPr userDrawn="1"/>
        </p:nvSpPr>
        <p:spPr bwMode="auto">
          <a:xfrm>
            <a:off x="-2191" y="0"/>
            <a:ext cx="12192000" cy="6858000"/>
          </a:xfrm>
          <a:prstGeom prst="rect">
            <a:avLst/>
          </a:prstGeom>
          <a:gradFill flip="none" rotWithShape="1">
            <a:gsLst>
              <a:gs pos="0">
                <a:srgbClr val="091F2C"/>
              </a:gs>
              <a:gs pos="46000">
                <a:srgbClr val="091F2C">
                  <a:alpha val="75000"/>
                </a:srgbClr>
              </a:gs>
              <a:gs pos="100000">
                <a:srgbClr val="091F2C">
                  <a:alpha val="16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9" name="Title 1"/>
          <p:cNvSpPr>
            <a:spLocks noGrp="1"/>
          </p:cNvSpPr>
          <p:nvPr>
            <p:ph type="title" hasCustomPrompt="1"/>
          </p:nvPr>
        </p:nvSpPr>
        <p:spPr>
          <a:xfrm>
            <a:off x="584200" y="2918225"/>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2271080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50345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102345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8013157"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246574" y="3123805"/>
            <a:ext cx="2704616" cy="615553"/>
          </a:xfrm>
        </p:spPr>
        <p:txBody>
          <a:bodyPr/>
          <a:lstStyle>
            <a:lvl1pPr algn="ctr">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1246574" y="4138971"/>
            <a:ext cx="2704616"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726574" y="3160318"/>
            <a:ext cx="2704616"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4" name="Text Placeholder 3">
            <a:extLst>
              <a:ext uri="{FF2B5EF4-FFF2-40B4-BE49-F238E27FC236}">
                <a16:creationId xmlns:a16="http://schemas.microsoft.com/office/drawing/2014/main" id="{988130C9-489D-B6F0-FCAE-94624824B7C1}"/>
              </a:ext>
            </a:extLst>
          </p:cNvPr>
          <p:cNvSpPr>
            <a:spLocks noGrp="1"/>
          </p:cNvSpPr>
          <p:nvPr>
            <p:ph type="body" sz="quarter" idx="22"/>
          </p:nvPr>
        </p:nvSpPr>
        <p:spPr>
          <a:xfrm>
            <a:off x="4726574" y="4175484"/>
            <a:ext cx="2704616"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296163" y="3121223"/>
            <a:ext cx="2704615"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2">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5" name="Text Placeholder 3">
            <a:extLst>
              <a:ext uri="{FF2B5EF4-FFF2-40B4-BE49-F238E27FC236}">
                <a16:creationId xmlns:a16="http://schemas.microsoft.com/office/drawing/2014/main" id="{5822FC56-2C4F-FA9E-9E6A-687AC4D809BB}"/>
              </a:ext>
            </a:extLst>
          </p:cNvPr>
          <p:cNvSpPr>
            <a:spLocks noGrp="1"/>
          </p:cNvSpPr>
          <p:nvPr>
            <p:ph type="body" sz="quarter" idx="23"/>
          </p:nvPr>
        </p:nvSpPr>
        <p:spPr>
          <a:xfrm>
            <a:off x="8296163" y="4136389"/>
            <a:ext cx="2704615"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8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Tree>
    <p:extLst>
      <p:ext uri="{BB962C8B-B14F-4D97-AF65-F5344CB8AC3E}">
        <p14:creationId xmlns:p14="http://schemas.microsoft.com/office/powerpoint/2010/main" val="180802115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5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A59F0-CB7A-EFE1-11B0-AC2110CECD32}"/>
              </a:ext>
              <a:ext uri="{C183D7F6-B498-43B3-948B-1728B52AA6E4}">
                <adec:decorative xmlns:adec="http://schemas.microsoft.com/office/drawing/2017/decorative" val="1"/>
              </a:ext>
            </a:extLst>
          </p:cNvPr>
          <p:cNvSpPr>
            <a:spLocks noGrp="1"/>
          </p:cNvSpPr>
          <p:nvPr>
            <p:ph type="title"/>
          </p:nvPr>
        </p:nvSpPr>
        <p:spPr>
          <a:xfrm>
            <a:off x="588262" y="-1175734"/>
            <a:ext cx="6959905" cy="984885"/>
          </a:xfrm>
        </p:spPr>
        <p:txBody>
          <a:bodyPr anchor="b"/>
          <a:lstStyle>
            <a:lvl1pPr algn="l">
              <a:defRPr/>
            </a:lvl1pPr>
          </a:lstStyle>
          <a:p>
            <a:r>
              <a:rPr lang="en-US"/>
              <a:t>Click to edit Master title style</a:t>
            </a:r>
          </a:p>
        </p:txBody>
      </p:sp>
      <p:sp>
        <p:nvSpPr>
          <p:cNvPr id="10" name="Text Placeholder 4">
            <a:extLst>
              <a:ext uri="{FF2B5EF4-FFF2-40B4-BE49-F238E27FC236}">
                <a16:creationId xmlns:a16="http://schemas.microsoft.com/office/drawing/2014/main" id="{E5A5A68F-E455-5C37-905C-410C8126BDF5}"/>
              </a:ext>
            </a:extLst>
          </p:cNvPr>
          <p:cNvSpPr>
            <a:spLocks noGrp="1"/>
          </p:cNvSpPr>
          <p:nvPr>
            <p:ph type="body" sz="quarter" idx="14"/>
          </p:nvPr>
        </p:nvSpPr>
        <p:spPr>
          <a:xfrm>
            <a:off x="588262" y="3035848"/>
            <a:ext cx="4781653" cy="553998"/>
          </a:xfrm>
        </p:spPr>
        <p:txBody>
          <a:bodyPr anchor="b"/>
          <a:lstStyle>
            <a:lvl1pPr algn="l">
              <a:defRPr lang="en-US" sz="3600" b="0" kern="1200" cap="none" spc="-50" baseline="0" dirty="0">
                <a:ln w="3175">
                  <a:noFill/>
                </a:ln>
                <a:solidFill>
                  <a:schemeClr val="accent2">
                    <a:lumMod val="60000"/>
                    <a:lumOff val="40000"/>
                  </a:schemeClr>
                </a:solidFill>
                <a:effectLst/>
                <a:latin typeface="+mj-lt"/>
                <a:ea typeface="+mn-ea"/>
                <a:cs typeface="Segoe UI Light" panose="020B0502040204020203" pitchFamily="34" charset="0"/>
              </a:defRPr>
            </a:lvl1pPr>
            <a:lvl2pPr algn="ctr">
              <a:defRPr/>
            </a:lvl2pPr>
            <a:lvl3pPr algn="ctr">
              <a:defRPr/>
            </a:lvl3pPr>
            <a:lvl4pPr algn="ctr">
              <a:defRPr/>
            </a:lvl4pPr>
            <a:lvl5pPr algn="ctr">
              <a:defRPr/>
            </a:lvl5pPr>
          </a:lstStyle>
          <a:p>
            <a:pPr lvl="0"/>
            <a:r>
              <a:rPr lang="en-US"/>
              <a:t>Click to edit</a:t>
            </a:r>
          </a:p>
        </p:txBody>
      </p:sp>
      <p:sp>
        <p:nvSpPr>
          <p:cNvPr id="6" name="Text Placeholder 4">
            <a:extLst>
              <a:ext uri="{FF2B5EF4-FFF2-40B4-BE49-F238E27FC236}">
                <a16:creationId xmlns:a16="http://schemas.microsoft.com/office/drawing/2014/main" id="{848D7C97-BDA0-33ED-BB04-F16F3F361C60}"/>
              </a:ext>
            </a:extLst>
          </p:cNvPr>
          <p:cNvSpPr>
            <a:spLocks noGrp="1"/>
          </p:cNvSpPr>
          <p:nvPr>
            <p:ph type="body" sz="quarter" idx="10"/>
          </p:nvPr>
        </p:nvSpPr>
        <p:spPr>
          <a:xfrm>
            <a:off x="588263" y="3612356"/>
            <a:ext cx="3805130" cy="499416"/>
          </a:xfrm>
        </p:spPr>
        <p:txBody>
          <a:bodyPr/>
          <a:lstStyle>
            <a:lvl1pPr algn="l">
              <a:defRPr sz="20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7" name="Text Placeholder 4">
            <a:extLst>
              <a:ext uri="{FF2B5EF4-FFF2-40B4-BE49-F238E27FC236}">
                <a16:creationId xmlns:a16="http://schemas.microsoft.com/office/drawing/2014/main" id="{84332A09-D183-9BB1-0559-EDB5550D8BFF}"/>
              </a:ext>
            </a:extLst>
          </p:cNvPr>
          <p:cNvSpPr>
            <a:spLocks noGrp="1"/>
          </p:cNvSpPr>
          <p:nvPr>
            <p:ph type="body" sz="quarter" idx="11"/>
          </p:nvPr>
        </p:nvSpPr>
        <p:spPr>
          <a:xfrm>
            <a:off x="7798609" y="1724408"/>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8" name="Text Placeholder 4">
            <a:extLst>
              <a:ext uri="{FF2B5EF4-FFF2-40B4-BE49-F238E27FC236}">
                <a16:creationId xmlns:a16="http://schemas.microsoft.com/office/drawing/2014/main" id="{394B39AC-EA80-1E29-32F4-DC78B73DC74D}"/>
              </a:ext>
            </a:extLst>
          </p:cNvPr>
          <p:cNvSpPr>
            <a:spLocks noGrp="1"/>
          </p:cNvSpPr>
          <p:nvPr>
            <p:ph type="body" sz="quarter" idx="12"/>
          </p:nvPr>
        </p:nvSpPr>
        <p:spPr>
          <a:xfrm>
            <a:off x="7798609" y="2935224"/>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9" name="Text Placeholder 4">
            <a:extLst>
              <a:ext uri="{FF2B5EF4-FFF2-40B4-BE49-F238E27FC236}">
                <a16:creationId xmlns:a16="http://schemas.microsoft.com/office/drawing/2014/main" id="{A873D90F-C821-36FF-9C65-0E6B02A020A9}"/>
              </a:ext>
            </a:extLst>
          </p:cNvPr>
          <p:cNvSpPr>
            <a:spLocks noGrp="1"/>
          </p:cNvSpPr>
          <p:nvPr>
            <p:ph type="body" sz="quarter" idx="13"/>
          </p:nvPr>
        </p:nvSpPr>
        <p:spPr>
          <a:xfrm>
            <a:off x="7798609" y="4114800"/>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 name="Oval 2">
            <a:extLst>
              <a:ext uri="{FF2B5EF4-FFF2-40B4-BE49-F238E27FC236}">
                <a16:creationId xmlns:a16="http://schemas.microsoft.com/office/drawing/2014/main" id="{2632387A-305B-89EA-510F-A01F7B6D028F}"/>
              </a:ext>
              <a:ext uri="{C183D7F6-B498-43B3-948B-1728B52AA6E4}">
                <adec:decorative xmlns:adec="http://schemas.microsoft.com/office/drawing/2017/decorative" val="1"/>
              </a:ext>
            </a:extLst>
          </p:cNvPr>
          <p:cNvSpPr/>
          <p:nvPr userDrawn="1"/>
        </p:nvSpPr>
        <p:spPr bwMode="auto">
          <a:xfrm>
            <a:off x="7250185" y="1728216"/>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 name="Oval 3">
            <a:extLst>
              <a:ext uri="{FF2B5EF4-FFF2-40B4-BE49-F238E27FC236}">
                <a16:creationId xmlns:a16="http://schemas.microsoft.com/office/drawing/2014/main" id="{732662B0-6838-31A0-40EB-85B6A7A27C1A}"/>
              </a:ext>
              <a:ext uri="{C183D7F6-B498-43B3-948B-1728B52AA6E4}">
                <adec:decorative xmlns:adec="http://schemas.microsoft.com/office/drawing/2017/decorative" val="1"/>
              </a:ext>
            </a:extLst>
          </p:cNvPr>
          <p:cNvSpPr/>
          <p:nvPr userDrawn="1"/>
        </p:nvSpPr>
        <p:spPr bwMode="auto">
          <a:xfrm>
            <a:off x="7231887" y="2972845"/>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 name="Oval 4">
            <a:extLst>
              <a:ext uri="{FF2B5EF4-FFF2-40B4-BE49-F238E27FC236}">
                <a16:creationId xmlns:a16="http://schemas.microsoft.com/office/drawing/2014/main" id="{E01A41BA-5F6B-03FC-634A-DBA3C67CFE6A}"/>
              </a:ext>
              <a:ext uri="{C183D7F6-B498-43B3-948B-1728B52AA6E4}">
                <adec:decorative xmlns:adec="http://schemas.microsoft.com/office/drawing/2017/decorative" val="1"/>
              </a:ext>
            </a:extLst>
          </p:cNvPr>
          <p:cNvSpPr/>
          <p:nvPr userDrawn="1"/>
        </p:nvSpPr>
        <p:spPr bwMode="auto">
          <a:xfrm>
            <a:off x="7250185" y="4114800"/>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210638916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6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A59F0-CB7A-EFE1-11B0-AC2110CECD32}"/>
              </a:ext>
              <a:ext uri="{C183D7F6-B498-43B3-948B-1728B52AA6E4}">
                <adec:decorative xmlns:adec="http://schemas.microsoft.com/office/drawing/2017/decorative" val="1"/>
              </a:ext>
            </a:extLst>
          </p:cNvPr>
          <p:cNvSpPr>
            <a:spLocks noGrp="1"/>
          </p:cNvSpPr>
          <p:nvPr>
            <p:ph type="title"/>
          </p:nvPr>
        </p:nvSpPr>
        <p:spPr>
          <a:xfrm>
            <a:off x="588262" y="-1175734"/>
            <a:ext cx="6959905" cy="984885"/>
          </a:xfrm>
        </p:spPr>
        <p:txBody>
          <a:bodyPr anchor="b"/>
          <a:lstStyle>
            <a:lvl1pPr algn="l">
              <a:defRPr/>
            </a:lvl1pPr>
          </a:lstStyle>
          <a:p>
            <a:r>
              <a:rPr lang="en-US"/>
              <a:t>Click to edit Master title style</a:t>
            </a:r>
          </a:p>
        </p:txBody>
      </p:sp>
      <p:sp>
        <p:nvSpPr>
          <p:cNvPr id="10" name="Text Placeholder 4">
            <a:extLst>
              <a:ext uri="{FF2B5EF4-FFF2-40B4-BE49-F238E27FC236}">
                <a16:creationId xmlns:a16="http://schemas.microsoft.com/office/drawing/2014/main" id="{E5A5A68F-E455-5C37-905C-410C8126BDF5}"/>
              </a:ext>
            </a:extLst>
          </p:cNvPr>
          <p:cNvSpPr>
            <a:spLocks noGrp="1"/>
          </p:cNvSpPr>
          <p:nvPr>
            <p:ph type="body" sz="quarter" idx="14"/>
          </p:nvPr>
        </p:nvSpPr>
        <p:spPr>
          <a:xfrm>
            <a:off x="588262" y="3035848"/>
            <a:ext cx="4781653" cy="553998"/>
          </a:xfrm>
        </p:spPr>
        <p:txBody>
          <a:bodyPr anchor="b"/>
          <a:lstStyle>
            <a:lvl1pPr algn="l">
              <a:defRPr lang="en-US" sz="3600" b="0" kern="1200" cap="none" spc="-50" baseline="0" dirty="0">
                <a:ln w="3175">
                  <a:noFill/>
                </a:ln>
                <a:solidFill>
                  <a:schemeClr val="accent2">
                    <a:lumMod val="60000"/>
                    <a:lumOff val="40000"/>
                  </a:schemeClr>
                </a:solidFill>
                <a:effectLst/>
                <a:latin typeface="+mj-lt"/>
                <a:ea typeface="+mn-ea"/>
                <a:cs typeface="Segoe UI Light" panose="020B0502040204020203" pitchFamily="34" charset="0"/>
              </a:defRPr>
            </a:lvl1pPr>
            <a:lvl2pPr algn="ctr">
              <a:defRPr/>
            </a:lvl2pPr>
            <a:lvl3pPr algn="ctr">
              <a:defRPr/>
            </a:lvl3pPr>
            <a:lvl4pPr algn="ctr">
              <a:defRPr/>
            </a:lvl4pPr>
            <a:lvl5pPr algn="ctr">
              <a:defRPr/>
            </a:lvl5pPr>
          </a:lstStyle>
          <a:p>
            <a:pPr lvl="0"/>
            <a:r>
              <a:rPr lang="en-US"/>
              <a:t>Click to edit</a:t>
            </a:r>
          </a:p>
        </p:txBody>
      </p:sp>
      <p:sp>
        <p:nvSpPr>
          <p:cNvPr id="6" name="Text Placeholder 4">
            <a:extLst>
              <a:ext uri="{FF2B5EF4-FFF2-40B4-BE49-F238E27FC236}">
                <a16:creationId xmlns:a16="http://schemas.microsoft.com/office/drawing/2014/main" id="{848D7C97-BDA0-33ED-BB04-F16F3F361C60}"/>
              </a:ext>
            </a:extLst>
          </p:cNvPr>
          <p:cNvSpPr>
            <a:spLocks noGrp="1"/>
          </p:cNvSpPr>
          <p:nvPr>
            <p:ph type="body" sz="quarter" idx="10"/>
          </p:nvPr>
        </p:nvSpPr>
        <p:spPr>
          <a:xfrm>
            <a:off x="588263" y="3612356"/>
            <a:ext cx="3805130" cy="499416"/>
          </a:xfrm>
        </p:spPr>
        <p:txBody>
          <a:bodyPr/>
          <a:lstStyle>
            <a:lvl1pPr algn="l">
              <a:defRPr sz="20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7" name="Text Placeholder 4">
            <a:extLst>
              <a:ext uri="{FF2B5EF4-FFF2-40B4-BE49-F238E27FC236}">
                <a16:creationId xmlns:a16="http://schemas.microsoft.com/office/drawing/2014/main" id="{84332A09-D183-9BB1-0559-EDB5550D8BFF}"/>
              </a:ext>
            </a:extLst>
          </p:cNvPr>
          <p:cNvSpPr>
            <a:spLocks noGrp="1"/>
          </p:cNvSpPr>
          <p:nvPr>
            <p:ph type="body" sz="quarter" idx="11"/>
          </p:nvPr>
        </p:nvSpPr>
        <p:spPr>
          <a:xfrm>
            <a:off x="7798609" y="1728216"/>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8" name="Text Placeholder 4">
            <a:extLst>
              <a:ext uri="{FF2B5EF4-FFF2-40B4-BE49-F238E27FC236}">
                <a16:creationId xmlns:a16="http://schemas.microsoft.com/office/drawing/2014/main" id="{394B39AC-EA80-1E29-32F4-DC78B73DC74D}"/>
              </a:ext>
            </a:extLst>
          </p:cNvPr>
          <p:cNvSpPr>
            <a:spLocks noGrp="1"/>
          </p:cNvSpPr>
          <p:nvPr>
            <p:ph type="body" sz="quarter" idx="12"/>
          </p:nvPr>
        </p:nvSpPr>
        <p:spPr>
          <a:xfrm>
            <a:off x="7798609" y="2932677"/>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9" name="Text Placeholder 4">
            <a:extLst>
              <a:ext uri="{FF2B5EF4-FFF2-40B4-BE49-F238E27FC236}">
                <a16:creationId xmlns:a16="http://schemas.microsoft.com/office/drawing/2014/main" id="{A873D90F-C821-36FF-9C65-0E6B02A020A9}"/>
              </a:ext>
            </a:extLst>
          </p:cNvPr>
          <p:cNvSpPr>
            <a:spLocks noGrp="1"/>
          </p:cNvSpPr>
          <p:nvPr>
            <p:ph type="body" sz="quarter" idx="13"/>
          </p:nvPr>
        </p:nvSpPr>
        <p:spPr>
          <a:xfrm>
            <a:off x="7798609" y="4111772"/>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 name="Text Placeholder 4">
            <a:extLst>
              <a:ext uri="{FF2B5EF4-FFF2-40B4-BE49-F238E27FC236}">
                <a16:creationId xmlns:a16="http://schemas.microsoft.com/office/drawing/2014/main" id="{276DD17D-4A05-49EF-B950-AEE623425244}"/>
              </a:ext>
            </a:extLst>
          </p:cNvPr>
          <p:cNvSpPr>
            <a:spLocks noGrp="1"/>
          </p:cNvSpPr>
          <p:nvPr>
            <p:ph type="body" sz="quarter" idx="15"/>
          </p:nvPr>
        </p:nvSpPr>
        <p:spPr>
          <a:xfrm>
            <a:off x="7798609" y="5114020"/>
            <a:ext cx="3855624" cy="679679"/>
          </a:xfrm>
        </p:spPr>
        <p:txBody>
          <a:bodyPr/>
          <a:lstStyle>
            <a:lvl1pPr algn="l">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4" name="Oval 3">
            <a:extLst>
              <a:ext uri="{FF2B5EF4-FFF2-40B4-BE49-F238E27FC236}">
                <a16:creationId xmlns:a16="http://schemas.microsoft.com/office/drawing/2014/main" id="{C06F4B2B-C670-A63B-4306-24E363F35771}"/>
              </a:ext>
              <a:ext uri="{C183D7F6-B498-43B3-948B-1728B52AA6E4}">
                <adec:decorative xmlns:adec="http://schemas.microsoft.com/office/drawing/2017/decorative" val="1"/>
              </a:ext>
            </a:extLst>
          </p:cNvPr>
          <p:cNvSpPr/>
          <p:nvPr userDrawn="1"/>
        </p:nvSpPr>
        <p:spPr bwMode="auto">
          <a:xfrm>
            <a:off x="7250185" y="1728216"/>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67557FEF-2DA3-1DAE-EDF8-A2F0667BB7DE}"/>
              </a:ext>
              <a:ext uri="{C183D7F6-B498-43B3-948B-1728B52AA6E4}">
                <adec:decorative xmlns:adec="http://schemas.microsoft.com/office/drawing/2017/decorative" val="1"/>
              </a:ext>
            </a:extLst>
          </p:cNvPr>
          <p:cNvSpPr/>
          <p:nvPr userDrawn="1"/>
        </p:nvSpPr>
        <p:spPr bwMode="auto">
          <a:xfrm>
            <a:off x="7250185" y="4114800"/>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2" name="Oval 11">
            <a:extLst>
              <a:ext uri="{FF2B5EF4-FFF2-40B4-BE49-F238E27FC236}">
                <a16:creationId xmlns:a16="http://schemas.microsoft.com/office/drawing/2014/main" id="{8C93B21D-4804-6773-36FE-EBA953C06A5E}"/>
              </a:ext>
              <a:ext uri="{C183D7F6-B498-43B3-948B-1728B52AA6E4}">
                <adec:decorative xmlns:adec="http://schemas.microsoft.com/office/drawing/2017/decorative" val="1"/>
              </a:ext>
            </a:extLst>
          </p:cNvPr>
          <p:cNvSpPr/>
          <p:nvPr userDrawn="1"/>
        </p:nvSpPr>
        <p:spPr bwMode="auto">
          <a:xfrm>
            <a:off x="7250185" y="5114020"/>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3" name="Oval 12">
            <a:extLst>
              <a:ext uri="{FF2B5EF4-FFF2-40B4-BE49-F238E27FC236}">
                <a16:creationId xmlns:a16="http://schemas.microsoft.com/office/drawing/2014/main" id="{9DF2EFDB-017A-5064-7AF8-6C613D991CEB}"/>
              </a:ext>
              <a:ext uri="{C183D7F6-B498-43B3-948B-1728B52AA6E4}">
                <adec:decorative xmlns:adec="http://schemas.microsoft.com/office/drawing/2017/decorative" val="1"/>
              </a:ext>
            </a:extLst>
          </p:cNvPr>
          <p:cNvSpPr/>
          <p:nvPr userDrawn="1"/>
        </p:nvSpPr>
        <p:spPr bwMode="auto">
          <a:xfrm>
            <a:off x="7231887" y="2972845"/>
            <a:ext cx="126006" cy="126006"/>
          </a:xfrm>
          <a:prstGeom prst="ellipse">
            <a:avLst/>
          </a:prstGeom>
          <a:gradFill>
            <a:gsLst>
              <a:gs pos="0">
                <a:schemeClr val="accent2"/>
              </a:gs>
              <a:gs pos="100000">
                <a:schemeClr val="accent1"/>
              </a:gs>
            </a:gsLst>
            <a:lin ang="18600000" scaled="0"/>
          </a:gradFill>
          <a:ln w="15875">
            <a:no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horz" wrap="square" lIns="182835" tIns="146268" rIns="182835" bIns="146268"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3230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165318143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DE800-F53F-A55C-0277-F9F37996776B}"/>
              </a:ext>
            </a:extLst>
          </p:cNvPr>
          <p:cNvSpPr>
            <a:spLocks noGrp="1"/>
          </p:cNvSpPr>
          <p:nvPr>
            <p:ph type="title"/>
          </p:nvPr>
        </p:nvSpPr>
        <p:spPr/>
        <p:txBody>
          <a:bodyPr/>
          <a:lstStyle/>
          <a:p>
            <a:r>
              <a:rPr lang="en-US"/>
              <a:t>Click to edit Master title style</a:t>
            </a:r>
          </a:p>
        </p:txBody>
      </p:sp>
      <p:sp>
        <p:nvSpPr>
          <p:cNvPr id="4" name="Parallelogram 3">
            <a:extLst>
              <a:ext uri="{FF2B5EF4-FFF2-40B4-BE49-F238E27FC236}">
                <a16:creationId xmlns:a16="http://schemas.microsoft.com/office/drawing/2014/main" id="{6908E3DB-89B7-DEEC-A10B-939ACE0E5AC1}"/>
              </a:ext>
              <a:ext uri="{C183D7F6-B498-43B3-948B-1728B52AA6E4}">
                <adec:decorative xmlns:adec="http://schemas.microsoft.com/office/drawing/2017/decorative" val="1"/>
              </a:ext>
            </a:extLst>
          </p:cNvPr>
          <p:cNvSpPr/>
          <p:nvPr userDrawn="1"/>
        </p:nvSpPr>
        <p:spPr bwMode="auto">
          <a:xfrm>
            <a:off x="9812226" y="2266172"/>
            <a:ext cx="2194560" cy="2181750"/>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 name="Parallelogram 4">
            <a:extLst>
              <a:ext uri="{FF2B5EF4-FFF2-40B4-BE49-F238E27FC236}">
                <a16:creationId xmlns:a16="http://schemas.microsoft.com/office/drawing/2014/main" id="{9DB60BA8-41D9-7D48-C852-F636055CD9F3}"/>
              </a:ext>
              <a:ext uri="{C183D7F6-B498-43B3-948B-1728B52AA6E4}">
                <adec:decorative xmlns:adec="http://schemas.microsoft.com/office/drawing/2017/decorative" val="1"/>
              </a:ext>
            </a:extLst>
          </p:cNvPr>
          <p:cNvSpPr/>
          <p:nvPr userDrawn="1"/>
        </p:nvSpPr>
        <p:spPr bwMode="auto">
          <a:xfrm>
            <a:off x="7405473" y="2266172"/>
            <a:ext cx="2194560" cy="21720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6" name="Parallelogram 5">
            <a:extLst>
              <a:ext uri="{FF2B5EF4-FFF2-40B4-BE49-F238E27FC236}">
                <a16:creationId xmlns:a16="http://schemas.microsoft.com/office/drawing/2014/main" id="{4B903BFF-D6CB-399B-B701-8F54EE21E0E8}"/>
              </a:ext>
              <a:ext uri="{C183D7F6-B498-43B3-948B-1728B52AA6E4}">
                <adec:decorative xmlns:adec="http://schemas.microsoft.com/office/drawing/2017/decorative" val="1"/>
              </a:ext>
            </a:extLst>
          </p:cNvPr>
          <p:cNvSpPr/>
          <p:nvPr userDrawn="1"/>
        </p:nvSpPr>
        <p:spPr bwMode="auto">
          <a:xfrm>
            <a:off x="4998720" y="2266172"/>
            <a:ext cx="2194560" cy="2181751"/>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Parallelogram 6">
            <a:extLst>
              <a:ext uri="{FF2B5EF4-FFF2-40B4-BE49-F238E27FC236}">
                <a16:creationId xmlns:a16="http://schemas.microsoft.com/office/drawing/2014/main" id="{C7CE8BD2-169C-DF1F-DE7F-2CE381E3218C}"/>
              </a:ext>
              <a:ext uri="{C183D7F6-B498-43B3-948B-1728B52AA6E4}">
                <adec:decorative xmlns:adec="http://schemas.microsoft.com/office/drawing/2017/decorative" val="1"/>
              </a:ext>
            </a:extLst>
          </p:cNvPr>
          <p:cNvSpPr/>
          <p:nvPr userDrawn="1"/>
        </p:nvSpPr>
        <p:spPr bwMode="auto">
          <a:xfrm>
            <a:off x="2591967" y="2266172"/>
            <a:ext cx="2194560" cy="2199565"/>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9" name="Parallelogram 8">
            <a:extLst>
              <a:ext uri="{FF2B5EF4-FFF2-40B4-BE49-F238E27FC236}">
                <a16:creationId xmlns:a16="http://schemas.microsoft.com/office/drawing/2014/main" id="{C40FCC65-96FD-A149-7F86-E32DACB0DB03}"/>
              </a:ext>
              <a:ext uri="{C183D7F6-B498-43B3-948B-1728B52AA6E4}">
                <adec:decorative xmlns:adec="http://schemas.microsoft.com/office/drawing/2017/decorative" val="1"/>
              </a:ext>
            </a:extLst>
          </p:cNvPr>
          <p:cNvSpPr/>
          <p:nvPr userDrawn="1"/>
        </p:nvSpPr>
        <p:spPr bwMode="auto">
          <a:xfrm>
            <a:off x="185214" y="2266172"/>
            <a:ext cx="2194560" cy="2186882"/>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24" name="Text Placeholder 4">
            <a:extLst>
              <a:ext uri="{FF2B5EF4-FFF2-40B4-BE49-F238E27FC236}">
                <a16:creationId xmlns:a16="http://schemas.microsoft.com/office/drawing/2014/main" id="{E47DBC6C-2A1F-69AF-0057-BED0A8B63203}"/>
              </a:ext>
            </a:extLst>
          </p:cNvPr>
          <p:cNvSpPr>
            <a:spLocks noGrp="1"/>
          </p:cNvSpPr>
          <p:nvPr>
            <p:ph type="body" sz="quarter" idx="10"/>
          </p:nvPr>
        </p:nvSpPr>
        <p:spPr>
          <a:xfrm>
            <a:off x="276654"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5" name="Text Placeholder 4">
            <a:extLst>
              <a:ext uri="{FF2B5EF4-FFF2-40B4-BE49-F238E27FC236}">
                <a16:creationId xmlns:a16="http://schemas.microsoft.com/office/drawing/2014/main" id="{A5427169-B68F-E1A0-B373-D0F153A30B85}"/>
              </a:ext>
            </a:extLst>
          </p:cNvPr>
          <p:cNvSpPr>
            <a:spLocks noGrp="1"/>
          </p:cNvSpPr>
          <p:nvPr>
            <p:ph type="body" sz="quarter" idx="26" hasCustomPrompt="1"/>
          </p:nvPr>
        </p:nvSpPr>
        <p:spPr>
          <a:xfrm>
            <a:off x="338837"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26" name="Text Placeholder 4">
            <a:extLst>
              <a:ext uri="{FF2B5EF4-FFF2-40B4-BE49-F238E27FC236}">
                <a16:creationId xmlns:a16="http://schemas.microsoft.com/office/drawing/2014/main" id="{B4AD9661-92AC-800C-2DFD-09F0898F5C4F}"/>
              </a:ext>
            </a:extLst>
          </p:cNvPr>
          <p:cNvSpPr>
            <a:spLocks noGrp="1"/>
          </p:cNvSpPr>
          <p:nvPr>
            <p:ph type="body" sz="quarter" idx="27"/>
          </p:nvPr>
        </p:nvSpPr>
        <p:spPr>
          <a:xfrm>
            <a:off x="338837"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27" name="Text Placeholder 4">
            <a:extLst>
              <a:ext uri="{FF2B5EF4-FFF2-40B4-BE49-F238E27FC236}">
                <a16:creationId xmlns:a16="http://schemas.microsoft.com/office/drawing/2014/main" id="{0EFA8600-6732-98FB-3905-0EDA1C0D5C3A}"/>
              </a:ext>
            </a:extLst>
          </p:cNvPr>
          <p:cNvSpPr>
            <a:spLocks noGrp="1"/>
          </p:cNvSpPr>
          <p:nvPr>
            <p:ph type="body" sz="quarter" idx="28"/>
          </p:nvPr>
        </p:nvSpPr>
        <p:spPr>
          <a:xfrm>
            <a:off x="2683407"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8" name="Text Placeholder 4">
            <a:extLst>
              <a:ext uri="{FF2B5EF4-FFF2-40B4-BE49-F238E27FC236}">
                <a16:creationId xmlns:a16="http://schemas.microsoft.com/office/drawing/2014/main" id="{8AEBACE7-957F-6206-CAA0-0C78A42F52EF}"/>
              </a:ext>
            </a:extLst>
          </p:cNvPr>
          <p:cNvSpPr>
            <a:spLocks noGrp="1"/>
          </p:cNvSpPr>
          <p:nvPr>
            <p:ph type="body" sz="quarter" idx="29" hasCustomPrompt="1"/>
          </p:nvPr>
        </p:nvSpPr>
        <p:spPr>
          <a:xfrm>
            <a:off x="2745590"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29" name="Text Placeholder 4">
            <a:extLst>
              <a:ext uri="{FF2B5EF4-FFF2-40B4-BE49-F238E27FC236}">
                <a16:creationId xmlns:a16="http://schemas.microsoft.com/office/drawing/2014/main" id="{89C4C439-CF21-A2D5-9757-DC8626F9327B}"/>
              </a:ext>
            </a:extLst>
          </p:cNvPr>
          <p:cNvSpPr>
            <a:spLocks noGrp="1"/>
          </p:cNvSpPr>
          <p:nvPr>
            <p:ph type="body" sz="quarter" idx="30"/>
          </p:nvPr>
        </p:nvSpPr>
        <p:spPr>
          <a:xfrm>
            <a:off x="2745590"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0" name="Text Placeholder 4">
            <a:extLst>
              <a:ext uri="{FF2B5EF4-FFF2-40B4-BE49-F238E27FC236}">
                <a16:creationId xmlns:a16="http://schemas.microsoft.com/office/drawing/2014/main" id="{8FE4B0B9-E636-4B30-DD61-DF7B90D74CB9}"/>
              </a:ext>
            </a:extLst>
          </p:cNvPr>
          <p:cNvSpPr>
            <a:spLocks noGrp="1"/>
          </p:cNvSpPr>
          <p:nvPr>
            <p:ph type="body" sz="quarter" idx="31"/>
          </p:nvPr>
        </p:nvSpPr>
        <p:spPr>
          <a:xfrm>
            <a:off x="5107194"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31" name="Text Placeholder 4">
            <a:extLst>
              <a:ext uri="{FF2B5EF4-FFF2-40B4-BE49-F238E27FC236}">
                <a16:creationId xmlns:a16="http://schemas.microsoft.com/office/drawing/2014/main" id="{7EFBA9B1-B5CB-5D07-A0B4-67018D39ECD0}"/>
              </a:ext>
            </a:extLst>
          </p:cNvPr>
          <p:cNvSpPr>
            <a:spLocks noGrp="1"/>
          </p:cNvSpPr>
          <p:nvPr>
            <p:ph type="body" sz="quarter" idx="32" hasCustomPrompt="1"/>
          </p:nvPr>
        </p:nvSpPr>
        <p:spPr>
          <a:xfrm>
            <a:off x="5169377"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32" name="Text Placeholder 4">
            <a:extLst>
              <a:ext uri="{FF2B5EF4-FFF2-40B4-BE49-F238E27FC236}">
                <a16:creationId xmlns:a16="http://schemas.microsoft.com/office/drawing/2014/main" id="{899E7927-6B17-107E-886A-B1E096F2912A}"/>
              </a:ext>
            </a:extLst>
          </p:cNvPr>
          <p:cNvSpPr>
            <a:spLocks noGrp="1"/>
          </p:cNvSpPr>
          <p:nvPr>
            <p:ph type="body" sz="quarter" idx="33"/>
          </p:nvPr>
        </p:nvSpPr>
        <p:spPr>
          <a:xfrm>
            <a:off x="5169377"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3" name="Text Placeholder 4">
            <a:extLst>
              <a:ext uri="{FF2B5EF4-FFF2-40B4-BE49-F238E27FC236}">
                <a16:creationId xmlns:a16="http://schemas.microsoft.com/office/drawing/2014/main" id="{DB9CB9FF-2E0A-16AC-F92A-1326ADB491E3}"/>
              </a:ext>
            </a:extLst>
          </p:cNvPr>
          <p:cNvSpPr>
            <a:spLocks noGrp="1"/>
          </p:cNvSpPr>
          <p:nvPr>
            <p:ph type="body" sz="quarter" idx="34"/>
          </p:nvPr>
        </p:nvSpPr>
        <p:spPr>
          <a:xfrm>
            <a:off x="7496913"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34" name="Text Placeholder 4">
            <a:extLst>
              <a:ext uri="{FF2B5EF4-FFF2-40B4-BE49-F238E27FC236}">
                <a16:creationId xmlns:a16="http://schemas.microsoft.com/office/drawing/2014/main" id="{56A68B2E-CA8E-8398-73C8-F5DC9D177C92}"/>
              </a:ext>
            </a:extLst>
          </p:cNvPr>
          <p:cNvSpPr>
            <a:spLocks noGrp="1"/>
          </p:cNvSpPr>
          <p:nvPr>
            <p:ph type="body" sz="quarter" idx="35" hasCustomPrompt="1"/>
          </p:nvPr>
        </p:nvSpPr>
        <p:spPr>
          <a:xfrm>
            <a:off x="7559096"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35" name="Text Placeholder 4">
            <a:extLst>
              <a:ext uri="{FF2B5EF4-FFF2-40B4-BE49-F238E27FC236}">
                <a16:creationId xmlns:a16="http://schemas.microsoft.com/office/drawing/2014/main" id="{9937CEB6-E8C2-75C7-E26E-CDA17E63F5C3}"/>
              </a:ext>
            </a:extLst>
          </p:cNvPr>
          <p:cNvSpPr>
            <a:spLocks noGrp="1"/>
          </p:cNvSpPr>
          <p:nvPr>
            <p:ph type="body" sz="quarter" idx="36"/>
          </p:nvPr>
        </p:nvSpPr>
        <p:spPr>
          <a:xfrm>
            <a:off x="7559096"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36" name="Text Placeholder 4">
            <a:extLst>
              <a:ext uri="{FF2B5EF4-FFF2-40B4-BE49-F238E27FC236}">
                <a16:creationId xmlns:a16="http://schemas.microsoft.com/office/drawing/2014/main" id="{18E156EE-FAD7-FEFA-0D58-78CCDE352748}"/>
              </a:ext>
            </a:extLst>
          </p:cNvPr>
          <p:cNvSpPr>
            <a:spLocks noGrp="1"/>
          </p:cNvSpPr>
          <p:nvPr>
            <p:ph type="body" sz="quarter" idx="37"/>
          </p:nvPr>
        </p:nvSpPr>
        <p:spPr>
          <a:xfrm>
            <a:off x="9903666" y="1606907"/>
            <a:ext cx="2011680" cy="492443"/>
          </a:xfrm>
        </p:spPr>
        <p:txBody>
          <a:bodyPr/>
          <a:lstStyle>
            <a:lvl1pPr algn="ctr">
              <a:defRPr sz="16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37" name="Text Placeholder 4">
            <a:extLst>
              <a:ext uri="{FF2B5EF4-FFF2-40B4-BE49-F238E27FC236}">
                <a16:creationId xmlns:a16="http://schemas.microsoft.com/office/drawing/2014/main" id="{CC435F85-B543-9ADF-3FBC-11690434324A}"/>
              </a:ext>
            </a:extLst>
          </p:cNvPr>
          <p:cNvSpPr>
            <a:spLocks noGrp="1"/>
          </p:cNvSpPr>
          <p:nvPr>
            <p:ph type="body" sz="quarter" idx="38" hasCustomPrompt="1"/>
          </p:nvPr>
        </p:nvSpPr>
        <p:spPr>
          <a:xfrm>
            <a:off x="9965849" y="2361897"/>
            <a:ext cx="1887315" cy="738664"/>
          </a:xfrm>
        </p:spPr>
        <p:txBody>
          <a:bodyPr/>
          <a:lstStyle>
            <a:lvl1pPr algn="ctr">
              <a:defRPr kumimoji="0" lang="en-US" sz="4800" b="0" i="0" u="none" strike="noStrike" kern="1200" cap="none" spc="0" normalizeH="0" baseline="0" dirty="0">
                <a:ln>
                  <a:noFill/>
                </a:ln>
                <a:solidFill>
                  <a:schemeClr val="accent2">
                    <a:lumMod val="60000"/>
                    <a:lumOff val="40000"/>
                  </a:schemeClr>
                </a:solidFill>
                <a:effectLst/>
                <a:uLnTx/>
                <a:uFillTx/>
                <a:latin typeface="Segoe UI Semibold" panose="020B0702040204020203" pitchFamily="34" charset="0"/>
                <a:ea typeface="Segoe UI" pitchFamily="34" charset="0"/>
                <a:cs typeface="Segoe UI Semibold" panose="020B0702040204020203" pitchFamily="34" charset="0"/>
              </a:defRPr>
            </a:lvl1pPr>
            <a:lvl2pPr algn="ctr">
              <a:defRPr/>
            </a:lvl2pPr>
            <a:lvl3pPr algn="ctr">
              <a:defRPr/>
            </a:lvl3pPr>
            <a:lvl4pPr algn="ctr">
              <a:defRPr/>
            </a:lvl4pPr>
            <a:lvl5pPr algn="ctr">
              <a:defRPr/>
            </a:lvl5pPr>
          </a:lstStyle>
          <a:p>
            <a:pPr lvl="0"/>
            <a:r>
              <a:rPr lang="en-US"/>
              <a:t>#</a:t>
            </a:r>
          </a:p>
        </p:txBody>
      </p:sp>
      <p:sp>
        <p:nvSpPr>
          <p:cNvPr id="38" name="Text Placeholder 4">
            <a:extLst>
              <a:ext uri="{FF2B5EF4-FFF2-40B4-BE49-F238E27FC236}">
                <a16:creationId xmlns:a16="http://schemas.microsoft.com/office/drawing/2014/main" id="{4A45338F-06AF-1446-1C59-02D629511B01}"/>
              </a:ext>
            </a:extLst>
          </p:cNvPr>
          <p:cNvSpPr>
            <a:spLocks noGrp="1"/>
          </p:cNvSpPr>
          <p:nvPr>
            <p:ph type="body" sz="quarter" idx="39"/>
          </p:nvPr>
        </p:nvSpPr>
        <p:spPr>
          <a:xfrm>
            <a:off x="9965849" y="3281749"/>
            <a:ext cx="1887315" cy="369332"/>
          </a:xfrm>
        </p:spPr>
        <p:txBody>
          <a:bodyPr/>
          <a:lstStyle>
            <a:lvl1pPr algn="ctr">
              <a:defRPr sz="12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8442108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anim calcmode="lin" valueType="num">
                                      <p:cBhvr>
                                        <p:cTn id="8" dur="500" fill="hold"/>
                                        <p:tgtEl>
                                          <p:spTgt spid="9"/>
                                        </p:tgtEl>
                                        <p:attrNameLst>
                                          <p:attrName>ppt_x</p:attrName>
                                        </p:attrNameLst>
                                      </p:cBhvr>
                                      <p:tavLst>
                                        <p:tav tm="0">
                                          <p:val>
                                            <p:strVal val="#ppt_x"/>
                                          </p:val>
                                        </p:tav>
                                        <p:tav tm="100000">
                                          <p:val>
                                            <p:strVal val="#ppt_x"/>
                                          </p:val>
                                        </p:tav>
                                      </p:tavLst>
                                    </p:anim>
                                    <p:anim calcmode="lin" valueType="num">
                                      <p:cBhvr>
                                        <p:cTn id="9" dur="5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anim calcmode="lin" valueType="num">
                                      <p:cBhvr>
                                        <p:cTn id="13" dur="500" fill="hold"/>
                                        <p:tgtEl>
                                          <p:spTgt spid="7"/>
                                        </p:tgtEl>
                                        <p:attrNameLst>
                                          <p:attrName>ppt_x</p:attrName>
                                        </p:attrNameLst>
                                      </p:cBhvr>
                                      <p:tavLst>
                                        <p:tav tm="0">
                                          <p:val>
                                            <p:strVal val="#ppt_x"/>
                                          </p:val>
                                        </p:tav>
                                        <p:tav tm="100000">
                                          <p:val>
                                            <p:strVal val="#ppt_x"/>
                                          </p:val>
                                        </p:tav>
                                      </p:tavLst>
                                    </p:anim>
                                    <p:anim calcmode="lin" valueType="num">
                                      <p:cBhvr>
                                        <p:cTn id="14" dur="500" fill="hold"/>
                                        <p:tgtEl>
                                          <p:spTgt spid="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5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anim calcmode="lin" valueType="num">
                                      <p:cBhvr>
                                        <p:cTn id="18" dur="500" fill="hold"/>
                                        <p:tgtEl>
                                          <p:spTgt spid="6"/>
                                        </p:tgtEl>
                                        <p:attrNameLst>
                                          <p:attrName>ppt_x</p:attrName>
                                        </p:attrNameLst>
                                      </p:cBhvr>
                                      <p:tavLst>
                                        <p:tav tm="0">
                                          <p:val>
                                            <p:strVal val="#ppt_x"/>
                                          </p:val>
                                        </p:tav>
                                        <p:tav tm="100000">
                                          <p:val>
                                            <p:strVal val="#ppt_x"/>
                                          </p:val>
                                        </p:tav>
                                      </p:tavLst>
                                    </p:anim>
                                    <p:anim calcmode="lin" valueType="num">
                                      <p:cBhvr>
                                        <p:cTn id="19" dur="500" fill="hold"/>
                                        <p:tgtEl>
                                          <p:spTgt spid="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2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anim calcmode="lin" valueType="num">
                                      <p:cBhvr>
                                        <p:cTn id="23" dur="500" fill="hold"/>
                                        <p:tgtEl>
                                          <p:spTgt spid="5"/>
                                        </p:tgtEl>
                                        <p:attrNameLst>
                                          <p:attrName>ppt_x</p:attrName>
                                        </p:attrNameLst>
                                      </p:cBhvr>
                                      <p:tavLst>
                                        <p:tav tm="0">
                                          <p:val>
                                            <p:strVal val="#ppt_x"/>
                                          </p:val>
                                        </p:tav>
                                        <p:tav tm="100000">
                                          <p:val>
                                            <p:strVal val="#ppt_x"/>
                                          </p:val>
                                        </p:tav>
                                      </p:tavLst>
                                    </p:anim>
                                    <p:anim calcmode="lin" valueType="num">
                                      <p:cBhvr>
                                        <p:cTn id="24" dur="500" fill="hold"/>
                                        <p:tgtEl>
                                          <p:spTgt spid="5"/>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25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anim calcmode="lin" valueType="num">
                                      <p:cBhvr>
                                        <p:cTn id="28" dur="500" fill="hold"/>
                                        <p:tgtEl>
                                          <p:spTgt spid="4"/>
                                        </p:tgtEl>
                                        <p:attrNameLst>
                                          <p:attrName>ppt_x</p:attrName>
                                        </p:attrNameLst>
                                      </p:cBhvr>
                                      <p:tavLst>
                                        <p:tav tm="0">
                                          <p:val>
                                            <p:strVal val="#ppt_x"/>
                                          </p:val>
                                        </p:tav>
                                        <p:tav tm="100000">
                                          <p:val>
                                            <p:strVal val="#ppt_x"/>
                                          </p:val>
                                        </p:tav>
                                      </p:tavLst>
                                    </p:anim>
                                    <p:anim calcmode="lin" valueType="num">
                                      <p:cBhvr>
                                        <p:cTn id="2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9"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11" name="Parallelogram 10">
            <a:extLst>
              <a:ext uri="{FF2B5EF4-FFF2-40B4-BE49-F238E27FC236}">
                <a16:creationId xmlns:a16="http://schemas.microsoft.com/office/drawing/2014/main" id="{862BC943-834E-D768-1E78-710233EA92BD}"/>
              </a:ext>
              <a:ext uri="{C183D7F6-B498-43B3-948B-1728B52AA6E4}">
                <adec:decorative xmlns:adec="http://schemas.microsoft.com/office/drawing/2017/decorative" val="1"/>
              </a:ext>
            </a:extLst>
          </p:cNvPr>
          <p:cNvSpPr/>
          <p:nvPr userDrawn="1"/>
        </p:nvSpPr>
        <p:spPr bwMode="auto">
          <a:xfrm>
            <a:off x="9060747" y="1735155"/>
            <a:ext cx="2537428" cy="2933886"/>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2" name="Parallelogram 11">
            <a:extLst>
              <a:ext uri="{FF2B5EF4-FFF2-40B4-BE49-F238E27FC236}">
                <a16:creationId xmlns:a16="http://schemas.microsoft.com/office/drawing/2014/main" id="{6DB0B3CD-FF9A-6CB0-AF6A-AFE08B0DADDA}"/>
              </a:ext>
              <a:ext uri="{C183D7F6-B498-43B3-948B-1728B52AA6E4}">
                <adec:decorative xmlns:adec="http://schemas.microsoft.com/office/drawing/2017/decorative" val="1"/>
              </a:ext>
            </a:extLst>
          </p:cNvPr>
          <p:cNvSpPr/>
          <p:nvPr userDrawn="1"/>
        </p:nvSpPr>
        <p:spPr bwMode="auto">
          <a:xfrm>
            <a:off x="6259926" y="1731751"/>
            <a:ext cx="2537428" cy="2946991"/>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3" name="Parallelogram 12">
            <a:extLst>
              <a:ext uri="{FF2B5EF4-FFF2-40B4-BE49-F238E27FC236}">
                <a16:creationId xmlns:a16="http://schemas.microsoft.com/office/drawing/2014/main" id="{E0B4800C-ECFD-50AC-934A-B96A3842C298}"/>
              </a:ext>
              <a:ext uri="{C183D7F6-B498-43B3-948B-1728B52AA6E4}">
                <adec:decorative xmlns:adec="http://schemas.microsoft.com/office/drawing/2017/decorative" val="1"/>
              </a:ext>
            </a:extLst>
          </p:cNvPr>
          <p:cNvSpPr/>
          <p:nvPr userDrawn="1"/>
        </p:nvSpPr>
        <p:spPr bwMode="auto">
          <a:xfrm>
            <a:off x="3450498" y="1725503"/>
            <a:ext cx="2537428" cy="2971053"/>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4" name="Parallelogram 13">
            <a:extLst>
              <a:ext uri="{FF2B5EF4-FFF2-40B4-BE49-F238E27FC236}">
                <a16:creationId xmlns:a16="http://schemas.microsoft.com/office/drawing/2014/main" id="{06A942EC-6B0B-F478-75A1-5BF261A4E22B}"/>
              </a:ext>
              <a:ext uri="{C183D7F6-B498-43B3-948B-1728B52AA6E4}">
                <adec:decorative xmlns:adec="http://schemas.microsoft.com/office/drawing/2017/decorative" val="1"/>
              </a:ext>
            </a:extLst>
          </p:cNvPr>
          <p:cNvSpPr/>
          <p:nvPr userDrawn="1"/>
        </p:nvSpPr>
        <p:spPr bwMode="auto">
          <a:xfrm>
            <a:off x="641070" y="1729951"/>
            <a:ext cx="2537428" cy="2953922"/>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5" name="Text Placeholder 4">
            <a:extLst>
              <a:ext uri="{FF2B5EF4-FFF2-40B4-BE49-F238E27FC236}">
                <a16:creationId xmlns:a16="http://schemas.microsoft.com/office/drawing/2014/main" id="{A57B7F50-C42D-50E7-2198-16D842396E6A}"/>
              </a:ext>
            </a:extLst>
          </p:cNvPr>
          <p:cNvSpPr>
            <a:spLocks noGrp="1"/>
          </p:cNvSpPr>
          <p:nvPr>
            <p:ph type="body" sz="quarter" idx="10"/>
          </p:nvPr>
        </p:nvSpPr>
        <p:spPr>
          <a:xfrm>
            <a:off x="696124" y="3212465"/>
            <a:ext cx="2353842" cy="615553"/>
          </a:xfrm>
        </p:spPr>
        <p:txBody>
          <a:bodyPr anchor="t"/>
          <a:lstStyle>
            <a:lvl1pPr algn="ctr">
              <a:defRPr sz="20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17" name="Text Placeholder 4">
            <a:extLst>
              <a:ext uri="{FF2B5EF4-FFF2-40B4-BE49-F238E27FC236}">
                <a16:creationId xmlns:a16="http://schemas.microsoft.com/office/drawing/2014/main" id="{44F3B272-17F3-9E75-1965-3C7FB1F2893A}"/>
              </a:ext>
            </a:extLst>
          </p:cNvPr>
          <p:cNvSpPr>
            <a:spLocks noGrp="1"/>
          </p:cNvSpPr>
          <p:nvPr>
            <p:ph type="body" sz="quarter" idx="27"/>
          </p:nvPr>
        </p:nvSpPr>
        <p:spPr>
          <a:xfrm>
            <a:off x="737419" y="4033086"/>
            <a:ext cx="2353842" cy="430887"/>
          </a:xfrm>
        </p:spPr>
        <p:txBody>
          <a:bodyPr/>
          <a:lstStyle>
            <a:lvl1pPr algn="ctr">
              <a:defRPr sz="14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18" name="Text Placeholder 4">
            <a:extLst>
              <a:ext uri="{FF2B5EF4-FFF2-40B4-BE49-F238E27FC236}">
                <a16:creationId xmlns:a16="http://schemas.microsoft.com/office/drawing/2014/main" id="{F5E0CD47-E763-5E29-B1A8-AAFF61754BFB}"/>
              </a:ext>
            </a:extLst>
          </p:cNvPr>
          <p:cNvSpPr>
            <a:spLocks noGrp="1"/>
          </p:cNvSpPr>
          <p:nvPr>
            <p:ph type="body" sz="quarter" idx="28"/>
          </p:nvPr>
        </p:nvSpPr>
        <p:spPr>
          <a:xfrm>
            <a:off x="3505552" y="3212465"/>
            <a:ext cx="2353842" cy="615553"/>
          </a:xfrm>
        </p:spPr>
        <p:txBody>
          <a:bodyPr anchor="t"/>
          <a:lstStyle>
            <a:lvl1pPr algn="ctr">
              <a:defRPr sz="20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0" name="Text Placeholder 4">
            <a:extLst>
              <a:ext uri="{FF2B5EF4-FFF2-40B4-BE49-F238E27FC236}">
                <a16:creationId xmlns:a16="http://schemas.microsoft.com/office/drawing/2014/main" id="{FD3C1D9C-8972-34E1-6D5C-216169A9E61E}"/>
              </a:ext>
            </a:extLst>
          </p:cNvPr>
          <p:cNvSpPr>
            <a:spLocks noGrp="1"/>
          </p:cNvSpPr>
          <p:nvPr>
            <p:ph type="body" sz="quarter" idx="30"/>
          </p:nvPr>
        </p:nvSpPr>
        <p:spPr>
          <a:xfrm>
            <a:off x="3546847" y="4033086"/>
            <a:ext cx="2353842" cy="430887"/>
          </a:xfrm>
        </p:spPr>
        <p:txBody>
          <a:bodyPr/>
          <a:lstStyle>
            <a:lvl1pPr algn="ctr">
              <a:defRPr sz="14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21" name="Text Placeholder 4">
            <a:extLst>
              <a:ext uri="{FF2B5EF4-FFF2-40B4-BE49-F238E27FC236}">
                <a16:creationId xmlns:a16="http://schemas.microsoft.com/office/drawing/2014/main" id="{B05BFCA0-43C3-0BA2-FCFC-8A18AB6441EF}"/>
              </a:ext>
            </a:extLst>
          </p:cNvPr>
          <p:cNvSpPr>
            <a:spLocks noGrp="1"/>
          </p:cNvSpPr>
          <p:nvPr>
            <p:ph type="body" sz="quarter" idx="31"/>
          </p:nvPr>
        </p:nvSpPr>
        <p:spPr>
          <a:xfrm>
            <a:off x="6314980" y="3212465"/>
            <a:ext cx="2353842" cy="615553"/>
          </a:xfrm>
        </p:spPr>
        <p:txBody>
          <a:bodyPr anchor="t"/>
          <a:lstStyle>
            <a:lvl1pPr algn="ctr">
              <a:defRPr sz="20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3" name="Text Placeholder 4">
            <a:extLst>
              <a:ext uri="{FF2B5EF4-FFF2-40B4-BE49-F238E27FC236}">
                <a16:creationId xmlns:a16="http://schemas.microsoft.com/office/drawing/2014/main" id="{21B8D045-69AB-88D8-58D7-C8E6B671A24F}"/>
              </a:ext>
            </a:extLst>
          </p:cNvPr>
          <p:cNvSpPr>
            <a:spLocks noGrp="1"/>
          </p:cNvSpPr>
          <p:nvPr>
            <p:ph type="body" sz="quarter" idx="33"/>
          </p:nvPr>
        </p:nvSpPr>
        <p:spPr>
          <a:xfrm>
            <a:off x="6356275" y="4033086"/>
            <a:ext cx="2353842" cy="430887"/>
          </a:xfrm>
        </p:spPr>
        <p:txBody>
          <a:bodyPr/>
          <a:lstStyle>
            <a:lvl1pPr algn="ctr">
              <a:defRPr sz="14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24" name="Text Placeholder 4">
            <a:extLst>
              <a:ext uri="{FF2B5EF4-FFF2-40B4-BE49-F238E27FC236}">
                <a16:creationId xmlns:a16="http://schemas.microsoft.com/office/drawing/2014/main" id="{D483B526-A1F6-A761-C299-692ECF850041}"/>
              </a:ext>
            </a:extLst>
          </p:cNvPr>
          <p:cNvSpPr>
            <a:spLocks noGrp="1"/>
          </p:cNvSpPr>
          <p:nvPr>
            <p:ph type="body" sz="quarter" idx="34"/>
          </p:nvPr>
        </p:nvSpPr>
        <p:spPr>
          <a:xfrm>
            <a:off x="9115801" y="3212465"/>
            <a:ext cx="2353842" cy="615553"/>
          </a:xfrm>
        </p:spPr>
        <p:txBody>
          <a:bodyPr anchor="t"/>
          <a:lstStyle>
            <a:lvl1pPr algn="ctr">
              <a:defRPr sz="20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26" name="Text Placeholder 4">
            <a:extLst>
              <a:ext uri="{FF2B5EF4-FFF2-40B4-BE49-F238E27FC236}">
                <a16:creationId xmlns:a16="http://schemas.microsoft.com/office/drawing/2014/main" id="{0B96ECA4-3300-1827-2A0F-8AF13EF9E661}"/>
              </a:ext>
            </a:extLst>
          </p:cNvPr>
          <p:cNvSpPr>
            <a:spLocks noGrp="1"/>
          </p:cNvSpPr>
          <p:nvPr>
            <p:ph type="body" sz="quarter" idx="36"/>
          </p:nvPr>
        </p:nvSpPr>
        <p:spPr>
          <a:xfrm>
            <a:off x="9157096" y="4033086"/>
            <a:ext cx="2353842" cy="430887"/>
          </a:xfrm>
        </p:spPr>
        <p:txBody>
          <a:bodyPr/>
          <a:lstStyle>
            <a:lvl1pPr algn="ctr">
              <a:defRPr sz="1400">
                <a:solidFill>
                  <a:schemeClr val="tx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6705386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anim calcmode="lin" valueType="num">
                                      <p:cBhvr>
                                        <p:cTn id="8" dur="500" fill="hold"/>
                                        <p:tgtEl>
                                          <p:spTgt spid="14"/>
                                        </p:tgtEl>
                                        <p:attrNameLst>
                                          <p:attrName>ppt_x</p:attrName>
                                        </p:attrNameLst>
                                      </p:cBhvr>
                                      <p:tavLst>
                                        <p:tav tm="0">
                                          <p:val>
                                            <p:strVal val="#ppt_x"/>
                                          </p:val>
                                        </p:tav>
                                        <p:tav tm="100000">
                                          <p:val>
                                            <p:strVal val="#ppt_x"/>
                                          </p:val>
                                        </p:tav>
                                      </p:tavLst>
                                    </p:anim>
                                    <p:anim calcmode="lin" valueType="num">
                                      <p:cBhvr>
                                        <p:cTn id="9" dur="500" fill="hold"/>
                                        <p:tgtEl>
                                          <p:spTgt spid="1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5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anim calcmode="lin" valueType="num">
                                      <p:cBhvr>
                                        <p:cTn id="13" dur="500" fill="hold"/>
                                        <p:tgtEl>
                                          <p:spTgt spid="13"/>
                                        </p:tgtEl>
                                        <p:attrNameLst>
                                          <p:attrName>ppt_x</p:attrName>
                                        </p:attrNameLst>
                                      </p:cBhvr>
                                      <p:tavLst>
                                        <p:tav tm="0">
                                          <p:val>
                                            <p:strVal val="#ppt_x"/>
                                          </p:val>
                                        </p:tav>
                                        <p:tav tm="100000">
                                          <p:val>
                                            <p:strVal val="#ppt_x"/>
                                          </p:val>
                                        </p:tav>
                                      </p:tavLst>
                                    </p:anim>
                                    <p:anim calcmode="lin" valueType="num">
                                      <p:cBhvr>
                                        <p:cTn id="14" dur="500" fill="hold"/>
                                        <p:tgtEl>
                                          <p:spTgt spid="1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5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anim calcmode="lin" valueType="num">
                                      <p:cBhvr>
                                        <p:cTn id="18" dur="500" fill="hold"/>
                                        <p:tgtEl>
                                          <p:spTgt spid="12"/>
                                        </p:tgtEl>
                                        <p:attrNameLst>
                                          <p:attrName>ppt_x</p:attrName>
                                        </p:attrNameLst>
                                      </p:cBhvr>
                                      <p:tavLst>
                                        <p:tav tm="0">
                                          <p:val>
                                            <p:strVal val="#ppt_x"/>
                                          </p:val>
                                        </p:tav>
                                        <p:tav tm="100000">
                                          <p:val>
                                            <p:strVal val="#ppt_x"/>
                                          </p:val>
                                        </p:tav>
                                      </p:tavLst>
                                    </p:anim>
                                    <p:anim calcmode="lin" valueType="num">
                                      <p:cBhvr>
                                        <p:cTn id="19" dur="500" fill="hold"/>
                                        <p:tgtEl>
                                          <p:spTgt spid="1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25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anim calcmode="lin" valueType="num">
                                      <p:cBhvr>
                                        <p:cTn id="23" dur="500" fill="hold"/>
                                        <p:tgtEl>
                                          <p:spTgt spid="11"/>
                                        </p:tgtEl>
                                        <p:attrNameLst>
                                          <p:attrName>ppt_x</p:attrName>
                                        </p:attrNameLst>
                                      </p:cBhvr>
                                      <p:tavLst>
                                        <p:tav tm="0">
                                          <p:val>
                                            <p:strVal val="#ppt_x"/>
                                          </p:val>
                                        </p:tav>
                                        <p:tav tm="100000">
                                          <p:val>
                                            <p:strVal val="#ppt_x"/>
                                          </p:val>
                                        </p:tav>
                                      </p:tavLst>
                                    </p:anim>
                                    <p:anim calcmode="lin" valueType="num">
                                      <p:cBhvr>
                                        <p:cTn id="24"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0" name="Parallelogram 39">
            <a:extLst>
              <a:ext uri="{FF2B5EF4-FFF2-40B4-BE49-F238E27FC236}">
                <a16:creationId xmlns:a16="http://schemas.microsoft.com/office/drawing/2014/main" id="{22F9646A-C5AC-6775-21DA-1F711E0060F9}"/>
              </a:ext>
              <a:ext uri="{C183D7F6-B498-43B3-948B-1728B52AA6E4}">
                <adec:decorative xmlns:adec="http://schemas.microsoft.com/office/drawing/2017/decorative" val="1"/>
              </a:ext>
            </a:extLst>
          </p:cNvPr>
          <p:cNvSpPr/>
          <p:nvPr userDrawn="1"/>
        </p:nvSpPr>
        <p:spPr bwMode="auto">
          <a:xfrm>
            <a:off x="1236663" y="1436688"/>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41" name="Text Placeholder 4">
            <a:extLst>
              <a:ext uri="{FF2B5EF4-FFF2-40B4-BE49-F238E27FC236}">
                <a16:creationId xmlns:a16="http://schemas.microsoft.com/office/drawing/2014/main" id="{08382973-7657-3B43-5793-D74490F5DEC4}"/>
              </a:ext>
            </a:extLst>
          </p:cNvPr>
          <p:cNvSpPr>
            <a:spLocks noGrp="1"/>
          </p:cNvSpPr>
          <p:nvPr>
            <p:ph type="body" sz="quarter" idx="10"/>
          </p:nvPr>
        </p:nvSpPr>
        <p:spPr>
          <a:xfrm>
            <a:off x="1335492" y="1543528"/>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42" name="Text Placeholder 4">
            <a:extLst>
              <a:ext uri="{FF2B5EF4-FFF2-40B4-BE49-F238E27FC236}">
                <a16:creationId xmlns:a16="http://schemas.microsoft.com/office/drawing/2014/main" id="{7D6EC260-B0F4-B849-542F-07ED69078BA7}"/>
              </a:ext>
            </a:extLst>
          </p:cNvPr>
          <p:cNvSpPr>
            <a:spLocks noGrp="1"/>
          </p:cNvSpPr>
          <p:nvPr>
            <p:ph type="body" sz="quarter" idx="27"/>
          </p:nvPr>
        </p:nvSpPr>
        <p:spPr>
          <a:xfrm>
            <a:off x="1400690" y="3003038"/>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43" name="Parallelogram 42">
            <a:extLst>
              <a:ext uri="{FF2B5EF4-FFF2-40B4-BE49-F238E27FC236}">
                <a16:creationId xmlns:a16="http://schemas.microsoft.com/office/drawing/2014/main" id="{28787EEB-ACB0-9DB3-175C-2EA187D1C556}"/>
              </a:ext>
              <a:ext uri="{C183D7F6-B498-43B3-948B-1728B52AA6E4}">
                <adec:decorative xmlns:adec="http://schemas.microsoft.com/office/drawing/2017/decorative" val="1"/>
              </a:ext>
            </a:extLst>
          </p:cNvPr>
          <p:cNvSpPr/>
          <p:nvPr userDrawn="1"/>
        </p:nvSpPr>
        <p:spPr bwMode="auto">
          <a:xfrm>
            <a:off x="4581313" y="1436688"/>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44" name="Text Placeholder 4">
            <a:extLst>
              <a:ext uri="{FF2B5EF4-FFF2-40B4-BE49-F238E27FC236}">
                <a16:creationId xmlns:a16="http://schemas.microsoft.com/office/drawing/2014/main" id="{18645737-3196-0DF4-F9C7-D8AD33DA307F}"/>
              </a:ext>
            </a:extLst>
          </p:cNvPr>
          <p:cNvSpPr>
            <a:spLocks noGrp="1"/>
          </p:cNvSpPr>
          <p:nvPr>
            <p:ph type="body" sz="quarter" idx="28"/>
          </p:nvPr>
        </p:nvSpPr>
        <p:spPr>
          <a:xfrm>
            <a:off x="4680142" y="1543528"/>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45" name="Text Placeholder 4">
            <a:extLst>
              <a:ext uri="{FF2B5EF4-FFF2-40B4-BE49-F238E27FC236}">
                <a16:creationId xmlns:a16="http://schemas.microsoft.com/office/drawing/2014/main" id="{2B1B6639-7DA7-A9BE-9050-667B7E0CCC14}"/>
              </a:ext>
            </a:extLst>
          </p:cNvPr>
          <p:cNvSpPr>
            <a:spLocks noGrp="1"/>
          </p:cNvSpPr>
          <p:nvPr>
            <p:ph type="body" sz="quarter" idx="29"/>
          </p:nvPr>
        </p:nvSpPr>
        <p:spPr>
          <a:xfrm>
            <a:off x="4745340" y="3003038"/>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46" name="Parallelogram 45">
            <a:extLst>
              <a:ext uri="{FF2B5EF4-FFF2-40B4-BE49-F238E27FC236}">
                <a16:creationId xmlns:a16="http://schemas.microsoft.com/office/drawing/2014/main" id="{DD759959-ADFF-C0EA-B52B-4612E7228300}"/>
              </a:ext>
              <a:ext uri="{C183D7F6-B498-43B3-948B-1728B52AA6E4}">
                <adec:decorative xmlns:adec="http://schemas.microsoft.com/office/drawing/2017/decorative" val="1"/>
              </a:ext>
            </a:extLst>
          </p:cNvPr>
          <p:cNvSpPr/>
          <p:nvPr userDrawn="1"/>
        </p:nvSpPr>
        <p:spPr bwMode="auto">
          <a:xfrm>
            <a:off x="8128000" y="1436688"/>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47" name="Text Placeholder 4">
            <a:extLst>
              <a:ext uri="{FF2B5EF4-FFF2-40B4-BE49-F238E27FC236}">
                <a16:creationId xmlns:a16="http://schemas.microsoft.com/office/drawing/2014/main" id="{17C81D81-42A5-CC3A-9587-4E8118EA53DF}"/>
              </a:ext>
            </a:extLst>
          </p:cNvPr>
          <p:cNvSpPr>
            <a:spLocks noGrp="1"/>
          </p:cNvSpPr>
          <p:nvPr>
            <p:ph type="body" sz="quarter" idx="30"/>
          </p:nvPr>
        </p:nvSpPr>
        <p:spPr>
          <a:xfrm>
            <a:off x="8226829" y="1543528"/>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48" name="Text Placeholder 4">
            <a:extLst>
              <a:ext uri="{FF2B5EF4-FFF2-40B4-BE49-F238E27FC236}">
                <a16:creationId xmlns:a16="http://schemas.microsoft.com/office/drawing/2014/main" id="{1C06A924-717C-B99E-E74A-BB49DDF5BA84}"/>
              </a:ext>
            </a:extLst>
          </p:cNvPr>
          <p:cNvSpPr>
            <a:spLocks noGrp="1"/>
          </p:cNvSpPr>
          <p:nvPr>
            <p:ph type="body" sz="quarter" idx="31"/>
          </p:nvPr>
        </p:nvSpPr>
        <p:spPr>
          <a:xfrm>
            <a:off x="8292027" y="3003038"/>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49" name="Parallelogram 48">
            <a:extLst>
              <a:ext uri="{FF2B5EF4-FFF2-40B4-BE49-F238E27FC236}">
                <a16:creationId xmlns:a16="http://schemas.microsoft.com/office/drawing/2014/main" id="{4029C3CE-E1E5-CCCB-FA16-786B135AF46A}"/>
              </a:ext>
              <a:ext uri="{C183D7F6-B498-43B3-948B-1728B52AA6E4}">
                <adec:decorative xmlns:adec="http://schemas.microsoft.com/office/drawing/2017/decorative" val="1"/>
              </a:ext>
            </a:extLst>
          </p:cNvPr>
          <p:cNvSpPr/>
          <p:nvPr userDrawn="1"/>
        </p:nvSpPr>
        <p:spPr bwMode="auto">
          <a:xfrm>
            <a:off x="1236663" y="4067547"/>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0" name="Text Placeholder 4">
            <a:extLst>
              <a:ext uri="{FF2B5EF4-FFF2-40B4-BE49-F238E27FC236}">
                <a16:creationId xmlns:a16="http://schemas.microsoft.com/office/drawing/2014/main" id="{7885048E-1CE6-7909-067D-FC7FFF7EAB35}"/>
              </a:ext>
            </a:extLst>
          </p:cNvPr>
          <p:cNvSpPr>
            <a:spLocks noGrp="1"/>
          </p:cNvSpPr>
          <p:nvPr>
            <p:ph type="body" sz="quarter" idx="32"/>
          </p:nvPr>
        </p:nvSpPr>
        <p:spPr>
          <a:xfrm>
            <a:off x="1335492" y="4174387"/>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51" name="Text Placeholder 4">
            <a:extLst>
              <a:ext uri="{FF2B5EF4-FFF2-40B4-BE49-F238E27FC236}">
                <a16:creationId xmlns:a16="http://schemas.microsoft.com/office/drawing/2014/main" id="{D6F68CF3-3F67-B4F5-E530-97126B657BFE}"/>
              </a:ext>
            </a:extLst>
          </p:cNvPr>
          <p:cNvSpPr>
            <a:spLocks noGrp="1"/>
          </p:cNvSpPr>
          <p:nvPr>
            <p:ph type="body" sz="quarter" idx="33"/>
          </p:nvPr>
        </p:nvSpPr>
        <p:spPr>
          <a:xfrm>
            <a:off x="1400690" y="5633897"/>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52" name="Parallelogram 51">
            <a:extLst>
              <a:ext uri="{FF2B5EF4-FFF2-40B4-BE49-F238E27FC236}">
                <a16:creationId xmlns:a16="http://schemas.microsoft.com/office/drawing/2014/main" id="{FEEC267D-0926-B118-CA28-A1ED61BF3467}"/>
              </a:ext>
              <a:ext uri="{C183D7F6-B498-43B3-948B-1728B52AA6E4}">
                <adec:decorative xmlns:adec="http://schemas.microsoft.com/office/drawing/2017/decorative" val="1"/>
              </a:ext>
            </a:extLst>
          </p:cNvPr>
          <p:cNvSpPr/>
          <p:nvPr userDrawn="1"/>
        </p:nvSpPr>
        <p:spPr bwMode="auto">
          <a:xfrm>
            <a:off x="4581313" y="4067547"/>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3" name="Text Placeholder 4">
            <a:extLst>
              <a:ext uri="{FF2B5EF4-FFF2-40B4-BE49-F238E27FC236}">
                <a16:creationId xmlns:a16="http://schemas.microsoft.com/office/drawing/2014/main" id="{F521C0F7-D303-9C3E-4141-3516F4274351}"/>
              </a:ext>
            </a:extLst>
          </p:cNvPr>
          <p:cNvSpPr>
            <a:spLocks noGrp="1"/>
          </p:cNvSpPr>
          <p:nvPr>
            <p:ph type="body" sz="quarter" idx="34"/>
          </p:nvPr>
        </p:nvSpPr>
        <p:spPr>
          <a:xfrm>
            <a:off x="4680142" y="4174387"/>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54" name="Text Placeholder 4">
            <a:extLst>
              <a:ext uri="{FF2B5EF4-FFF2-40B4-BE49-F238E27FC236}">
                <a16:creationId xmlns:a16="http://schemas.microsoft.com/office/drawing/2014/main" id="{6AF1FA70-1585-1E16-AA0F-F88D64B7EDE8}"/>
              </a:ext>
            </a:extLst>
          </p:cNvPr>
          <p:cNvSpPr>
            <a:spLocks noGrp="1"/>
          </p:cNvSpPr>
          <p:nvPr>
            <p:ph type="body" sz="quarter" idx="35"/>
          </p:nvPr>
        </p:nvSpPr>
        <p:spPr>
          <a:xfrm>
            <a:off x="4745340" y="5633897"/>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55" name="Parallelogram 54">
            <a:extLst>
              <a:ext uri="{FF2B5EF4-FFF2-40B4-BE49-F238E27FC236}">
                <a16:creationId xmlns:a16="http://schemas.microsoft.com/office/drawing/2014/main" id="{B5832AC7-DA3F-5F2C-905D-1E6B71539DC8}"/>
              </a:ext>
              <a:ext uri="{C183D7F6-B498-43B3-948B-1728B52AA6E4}">
                <adec:decorative xmlns:adec="http://schemas.microsoft.com/office/drawing/2017/decorative" val="1"/>
              </a:ext>
            </a:extLst>
          </p:cNvPr>
          <p:cNvSpPr/>
          <p:nvPr userDrawn="1"/>
        </p:nvSpPr>
        <p:spPr bwMode="auto">
          <a:xfrm>
            <a:off x="8128000" y="4067547"/>
            <a:ext cx="3108744" cy="2493849"/>
          </a:xfrm>
          <a:prstGeom prst="parallelogram">
            <a:avLst>
              <a:gd name="adj" fmla="val 0"/>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56" name="Text Placeholder 4">
            <a:extLst>
              <a:ext uri="{FF2B5EF4-FFF2-40B4-BE49-F238E27FC236}">
                <a16:creationId xmlns:a16="http://schemas.microsoft.com/office/drawing/2014/main" id="{D0DA43C5-B630-CFDB-FA6E-7A2D12D7F83D}"/>
              </a:ext>
            </a:extLst>
          </p:cNvPr>
          <p:cNvSpPr>
            <a:spLocks noGrp="1"/>
          </p:cNvSpPr>
          <p:nvPr>
            <p:ph type="body" sz="quarter" idx="36"/>
          </p:nvPr>
        </p:nvSpPr>
        <p:spPr>
          <a:xfrm>
            <a:off x="8226829" y="4174387"/>
            <a:ext cx="2911086" cy="738664"/>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57" name="Text Placeholder 4">
            <a:extLst>
              <a:ext uri="{FF2B5EF4-FFF2-40B4-BE49-F238E27FC236}">
                <a16:creationId xmlns:a16="http://schemas.microsoft.com/office/drawing/2014/main" id="{353F03FA-B27A-F437-3CC9-3E3F4EFB02DF}"/>
              </a:ext>
            </a:extLst>
          </p:cNvPr>
          <p:cNvSpPr>
            <a:spLocks noGrp="1"/>
          </p:cNvSpPr>
          <p:nvPr>
            <p:ph type="body" sz="quarter" idx="37"/>
          </p:nvPr>
        </p:nvSpPr>
        <p:spPr>
          <a:xfrm>
            <a:off x="8292027" y="5633897"/>
            <a:ext cx="2780691" cy="757130"/>
          </a:xfrm>
        </p:spPr>
        <p:txBody>
          <a:bodyPr/>
          <a:lstStyle>
            <a:lvl1pPr algn="ctr">
              <a:defRPr kumimoji="0" lang="en-US" sz="1800" b="1"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Tree>
    <p:extLst>
      <p:ext uri="{BB962C8B-B14F-4D97-AF65-F5344CB8AC3E}">
        <p14:creationId xmlns:p14="http://schemas.microsoft.com/office/powerpoint/2010/main" val="3013447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5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anim calcmode="lin" valueType="num">
                                      <p:cBhvr>
                                        <p:cTn id="8" dur="500" fill="hold"/>
                                        <p:tgtEl>
                                          <p:spTgt spid="40"/>
                                        </p:tgtEl>
                                        <p:attrNameLst>
                                          <p:attrName>ppt_x</p:attrName>
                                        </p:attrNameLst>
                                      </p:cBhvr>
                                      <p:tavLst>
                                        <p:tav tm="0">
                                          <p:val>
                                            <p:strVal val="#ppt_x"/>
                                          </p:val>
                                        </p:tav>
                                        <p:tav tm="100000">
                                          <p:val>
                                            <p:strVal val="#ppt_x"/>
                                          </p:val>
                                        </p:tav>
                                      </p:tavLst>
                                    </p:anim>
                                    <p:anim calcmode="lin" valueType="num">
                                      <p:cBhvr>
                                        <p:cTn id="9" dur="500" fill="hold"/>
                                        <p:tgtEl>
                                          <p:spTgt spid="40"/>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grpId="0" nodeType="afterEffect">
                                  <p:stCondLst>
                                    <p:cond delay="25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anim calcmode="lin" valueType="num">
                                      <p:cBhvr>
                                        <p:cTn id="14" dur="500" fill="hold"/>
                                        <p:tgtEl>
                                          <p:spTgt spid="43"/>
                                        </p:tgtEl>
                                        <p:attrNameLst>
                                          <p:attrName>ppt_x</p:attrName>
                                        </p:attrNameLst>
                                      </p:cBhvr>
                                      <p:tavLst>
                                        <p:tav tm="0">
                                          <p:val>
                                            <p:strVal val="#ppt_x"/>
                                          </p:val>
                                        </p:tav>
                                        <p:tav tm="100000">
                                          <p:val>
                                            <p:strVal val="#ppt_x"/>
                                          </p:val>
                                        </p:tav>
                                      </p:tavLst>
                                    </p:anim>
                                    <p:anim calcmode="lin" valueType="num">
                                      <p:cBhvr>
                                        <p:cTn id="15" dur="500" fill="hold"/>
                                        <p:tgtEl>
                                          <p:spTgt spid="43"/>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grpId="0" nodeType="afterEffect">
                                  <p:stCondLst>
                                    <p:cond delay="25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500"/>
                                        <p:tgtEl>
                                          <p:spTgt spid="46"/>
                                        </p:tgtEl>
                                      </p:cBhvr>
                                    </p:animEffect>
                                    <p:anim calcmode="lin" valueType="num">
                                      <p:cBhvr>
                                        <p:cTn id="20" dur="500" fill="hold"/>
                                        <p:tgtEl>
                                          <p:spTgt spid="46"/>
                                        </p:tgtEl>
                                        <p:attrNameLst>
                                          <p:attrName>ppt_x</p:attrName>
                                        </p:attrNameLst>
                                      </p:cBhvr>
                                      <p:tavLst>
                                        <p:tav tm="0">
                                          <p:val>
                                            <p:strVal val="#ppt_x"/>
                                          </p:val>
                                        </p:tav>
                                        <p:tav tm="100000">
                                          <p:val>
                                            <p:strVal val="#ppt_x"/>
                                          </p:val>
                                        </p:tav>
                                      </p:tavLst>
                                    </p:anim>
                                    <p:anim calcmode="lin" valueType="num">
                                      <p:cBhvr>
                                        <p:cTn id="21" dur="500" fill="hold"/>
                                        <p:tgtEl>
                                          <p:spTgt spid="46"/>
                                        </p:tgtEl>
                                        <p:attrNameLst>
                                          <p:attrName>ppt_y</p:attrName>
                                        </p:attrNameLst>
                                      </p:cBhvr>
                                      <p:tavLst>
                                        <p:tav tm="0">
                                          <p:val>
                                            <p:strVal val="#ppt_y+.1"/>
                                          </p:val>
                                        </p:tav>
                                        <p:tav tm="100000">
                                          <p:val>
                                            <p:strVal val="#ppt_y"/>
                                          </p:val>
                                        </p:tav>
                                      </p:tavLst>
                                    </p:anim>
                                  </p:childTnLst>
                                </p:cTn>
                              </p:par>
                            </p:childTnLst>
                          </p:cTn>
                        </p:par>
                        <p:par>
                          <p:cTn id="22" fill="hold">
                            <p:stCondLst>
                              <p:cond delay="2250"/>
                            </p:stCondLst>
                            <p:childTnLst>
                              <p:par>
                                <p:cTn id="23" presetID="42" presetClass="entr" presetSubtype="0" fill="hold" grpId="0" nodeType="afterEffect">
                                  <p:stCondLst>
                                    <p:cond delay="250"/>
                                  </p:stCondLst>
                                  <p:childTnLst>
                                    <p:set>
                                      <p:cBhvr>
                                        <p:cTn id="24" dur="1" fill="hold">
                                          <p:stCondLst>
                                            <p:cond delay="0"/>
                                          </p:stCondLst>
                                        </p:cTn>
                                        <p:tgtEl>
                                          <p:spTgt spid="49"/>
                                        </p:tgtEl>
                                        <p:attrNameLst>
                                          <p:attrName>style.visibility</p:attrName>
                                        </p:attrNameLst>
                                      </p:cBhvr>
                                      <p:to>
                                        <p:strVal val="visible"/>
                                      </p:to>
                                    </p:set>
                                    <p:animEffect transition="in" filter="fade">
                                      <p:cBhvr>
                                        <p:cTn id="25" dur="500"/>
                                        <p:tgtEl>
                                          <p:spTgt spid="49"/>
                                        </p:tgtEl>
                                      </p:cBhvr>
                                    </p:animEffect>
                                    <p:anim calcmode="lin" valueType="num">
                                      <p:cBhvr>
                                        <p:cTn id="26" dur="500" fill="hold"/>
                                        <p:tgtEl>
                                          <p:spTgt spid="49"/>
                                        </p:tgtEl>
                                        <p:attrNameLst>
                                          <p:attrName>ppt_x</p:attrName>
                                        </p:attrNameLst>
                                      </p:cBhvr>
                                      <p:tavLst>
                                        <p:tav tm="0">
                                          <p:val>
                                            <p:strVal val="#ppt_x"/>
                                          </p:val>
                                        </p:tav>
                                        <p:tav tm="100000">
                                          <p:val>
                                            <p:strVal val="#ppt_x"/>
                                          </p:val>
                                        </p:tav>
                                      </p:tavLst>
                                    </p:anim>
                                    <p:anim calcmode="lin" valueType="num">
                                      <p:cBhvr>
                                        <p:cTn id="27" dur="500" fill="hold"/>
                                        <p:tgtEl>
                                          <p:spTgt spid="49"/>
                                        </p:tgtEl>
                                        <p:attrNameLst>
                                          <p:attrName>ppt_y</p:attrName>
                                        </p:attrNameLst>
                                      </p:cBhvr>
                                      <p:tavLst>
                                        <p:tav tm="0">
                                          <p:val>
                                            <p:strVal val="#ppt_y+.1"/>
                                          </p:val>
                                        </p:tav>
                                        <p:tav tm="100000">
                                          <p:val>
                                            <p:strVal val="#ppt_y"/>
                                          </p:val>
                                        </p:tav>
                                      </p:tavLst>
                                    </p:anim>
                                  </p:childTnLst>
                                </p:cTn>
                              </p:par>
                            </p:childTnLst>
                          </p:cTn>
                        </p:par>
                        <p:par>
                          <p:cTn id="28" fill="hold">
                            <p:stCondLst>
                              <p:cond delay="3000"/>
                            </p:stCondLst>
                            <p:childTnLst>
                              <p:par>
                                <p:cTn id="29" presetID="42" presetClass="entr" presetSubtype="0" fill="hold" grpId="0" nodeType="afterEffect">
                                  <p:stCondLst>
                                    <p:cond delay="250"/>
                                  </p:stCondLst>
                                  <p:childTnLst>
                                    <p:set>
                                      <p:cBhvr>
                                        <p:cTn id="30" dur="1" fill="hold">
                                          <p:stCondLst>
                                            <p:cond delay="0"/>
                                          </p:stCondLst>
                                        </p:cTn>
                                        <p:tgtEl>
                                          <p:spTgt spid="52"/>
                                        </p:tgtEl>
                                        <p:attrNameLst>
                                          <p:attrName>style.visibility</p:attrName>
                                        </p:attrNameLst>
                                      </p:cBhvr>
                                      <p:to>
                                        <p:strVal val="visible"/>
                                      </p:to>
                                    </p:set>
                                    <p:animEffect transition="in" filter="fade">
                                      <p:cBhvr>
                                        <p:cTn id="31" dur="500"/>
                                        <p:tgtEl>
                                          <p:spTgt spid="52"/>
                                        </p:tgtEl>
                                      </p:cBhvr>
                                    </p:animEffect>
                                    <p:anim calcmode="lin" valueType="num">
                                      <p:cBhvr>
                                        <p:cTn id="32" dur="500" fill="hold"/>
                                        <p:tgtEl>
                                          <p:spTgt spid="52"/>
                                        </p:tgtEl>
                                        <p:attrNameLst>
                                          <p:attrName>ppt_x</p:attrName>
                                        </p:attrNameLst>
                                      </p:cBhvr>
                                      <p:tavLst>
                                        <p:tav tm="0">
                                          <p:val>
                                            <p:strVal val="#ppt_x"/>
                                          </p:val>
                                        </p:tav>
                                        <p:tav tm="100000">
                                          <p:val>
                                            <p:strVal val="#ppt_x"/>
                                          </p:val>
                                        </p:tav>
                                      </p:tavLst>
                                    </p:anim>
                                    <p:anim calcmode="lin" valueType="num">
                                      <p:cBhvr>
                                        <p:cTn id="33" dur="500" fill="hold"/>
                                        <p:tgtEl>
                                          <p:spTgt spid="52"/>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42" presetClass="entr" presetSubtype="0" fill="hold" grpId="0" nodeType="afterEffect">
                                  <p:stCondLst>
                                    <p:cond delay="250"/>
                                  </p:stCondLst>
                                  <p:childTnLst>
                                    <p:set>
                                      <p:cBhvr>
                                        <p:cTn id="36" dur="1" fill="hold">
                                          <p:stCondLst>
                                            <p:cond delay="0"/>
                                          </p:stCondLst>
                                        </p:cTn>
                                        <p:tgtEl>
                                          <p:spTgt spid="55"/>
                                        </p:tgtEl>
                                        <p:attrNameLst>
                                          <p:attrName>style.visibility</p:attrName>
                                        </p:attrNameLst>
                                      </p:cBhvr>
                                      <p:to>
                                        <p:strVal val="visible"/>
                                      </p:to>
                                    </p:set>
                                    <p:animEffect transition="in" filter="fade">
                                      <p:cBhvr>
                                        <p:cTn id="37" dur="500"/>
                                        <p:tgtEl>
                                          <p:spTgt spid="55"/>
                                        </p:tgtEl>
                                      </p:cBhvr>
                                    </p:animEffect>
                                    <p:anim calcmode="lin" valueType="num">
                                      <p:cBhvr>
                                        <p:cTn id="38" dur="500" fill="hold"/>
                                        <p:tgtEl>
                                          <p:spTgt spid="55"/>
                                        </p:tgtEl>
                                        <p:attrNameLst>
                                          <p:attrName>ppt_x</p:attrName>
                                        </p:attrNameLst>
                                      </p:cBhvr>
                                      <p:tavLst>
                                        <p:tav tm="0">
                                          <p:val>
                                            <p:strVal val="#ppt_x"/>
                                          </p:val>
                                        </p:tav>
                                        <p:tav tm="100000">
                                          <p:val>
                                            <p:strVal val="#ppt_x"/>
                                          </p:val>
                                        </p:tav>
                                      </p:tavLst>
                                    </p:anim>
                                    <p:anim calcmode="lin" valueType="num">
                                      <p:cBhvr>
                                        <p:cTn id="39" dur="500" fill="hold"/>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3" grpId="0" animBg="1"/>
      <p:bldP spid="46" grpId="0" animBg="1"/>
      <p:bldP spid="49" grpId="0" animBg="1"/>
      <p:bldP spid="52" grpId="0" animBg="1"/>
      <p:bldP spid="55" grpId="0" animBg="1"/>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1" name="Text Placeholder 4">
            <a:extLst>
              <a:ext uri="{FF2B5EF4-FFF2-40B4-BE49-F238E27FC236}">
                <a16:creationId xmlns:a16="http://schemas.microsoft.com/office/drawing/2014/main" id="{08382973-7657-3B43-5793-D74490F5DEC4}"/>
              </a:ext>
            </a:extLst>
          </p:cNvPr>
          <p:cNvSpPr>
            <a:spLocks noGrp="1"/>
          </p:cNvSpPr>
          <p:nvPr>
            <p:ph type="body" sz="quarter" idx="10"/>
          </p:nvPr>
        </p:nvSpPr>
        <p:spPr>
          <a:xfrm>
            <a:off x="589503" y="1788145"/>
            <a:ext cx="2403838" cy="369332"/>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a:t>
            </a:r>
          </a:p>
        </p:txBody>
      </p:sp>
      <p:sp>
        <p:nvSpPr>
          <p:cNvPr id="42" name="Text Placeholder 4">
            <a:extLst>
              <a:ext uri="{FF2B5EF4-FFF2-40B4-BE49-F238E27FC236}">
                <a16:creationId xmlns:a16="http://schemas.microsoft.com/office/drawing/2014/main" id="{7D6EC260-B0F4-B849-542F-07ED69078BA7}"/>
              </a:ext>
            </a:extLst>
          </p:cNvPr>
          <p:cNvSpPr>
            <a:spLocks noGrp="1"/>
          </p:cNvSpPr>
          <p:nvPr>
            <p:ph type="body" sz="quarter" idx="27"/>
          </p:nvPr>
        </p:nvSpPr>
        <p:spPr>
          <a:xfrm>
            <a:off x="643340" y="3335658"/>
            <a:ext cx="2296164" cy="449354"/>
          </a:xfrm>
        </p:spPr>
        <p:txBody>
          <a:bodyPr/>
          <a:lstStyle>
            <a:lvl1pPr algn="ctr">
              <a:defRPr kumimoji="0" lang="en-US" sz="1600" b="0"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lvl="0"/>
            <a:r>
              <a:rPr lang="en-US"/>
              <a:t>Click to edit Master text styles</a:t>
            </a:r>
          </a:p>
          <a:p>
            <a:pPr lvl="1"/>
            <a:r>
              <a:rPr lang="en-US"/>
              <a:t>second</a:t>
            </a:r>
          </a:p>
        </p:txBody>
      </p:sp>
      <p:sp>
        <p:nvSpPr>
          <p:cNvPr id="44" name="Text Placeholder 4">
            <a:extLst>
              <a:ext uri="{FF2B5EF4-FFF2-40B4-BE49-F238E27FC236}">
                <a16:creationId xmlns:a16="http://schemas.microsoft.com/office/drawing/2014/main" id="{18645737-3196-0DF4-F9C7-D8AD33DA307F}"/>
              </a:ext>
            </a:extLst>
          </p:cNvPr>
          <p:cNvSpPr>
            <a:spLocks noGrp="1"/>
          </p:cNvSpPr>
          <p:nvPr>
            <p:ph type="body" sz="quarter" idx="28"/>
          </p:nvPr>
        </p:nvSpPr>
        <p:spPr>
          <a:xfrm>
            <a:off x="3465360" y="1788145"/>
            <a:ext cx="2403838" cy="369332"/>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a:t>
            </a:r>
          </a:p>
        </p:txBody>
      </p:sp>
      <p:sp>
        <p:nvSpPr>
          <p:cNvPr id="45" name="Text Placeholder 4">
            <a:extLst>
              <a:ext uri="{FF2B5EF4-FFF2-40B4-BE49-F238E27FC236}">
                <a16:creationId xmlns:a16="http://schemas.microsoft.com/office/drawing/2014/main" id="{2B1B6639-7DA7-A9BE-9050-667B7E0CCC14}"/>
              </a:ext>
            </a:extLst>
          </p:cNvPr>
          <p:cNvSpPr>
            <a:spLocks noGrp="1"/>
          </p:cNvSpPr>
          <p:nvPr>
            <p:ph type="body" sz="quarter" idx="29"/>
          </p:nvPr>
        </p:nvSpPr>
        <p:spPr>
          <a:xfrm>
            <a:off x="3519197" y="3335658"/>
            <a:ext cx="2296164" cy="449354"/>
          </a:xfrm>
        </p:spPr>
        <p:txBody>
          <a:bodyPr/>
          <a:lstStyle>
            <a:lvl1pPr algn="ctr">
              <a:defRPr kumimoji="0" lang="en-US" sz="1600" b="0"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marL="0" marR="0" lvl="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Click to edit Master text styles</a:t>
            </a:r>
          </a:p>
          <a:p>
            <a:pPr lvl="1"/>
            <a:r>
              <a:rPr lang="en-US"/>
              <a:t>second</a:t>
            </a:r>
          </a:p>
        </p:txBody>
      </p:sp>
      <p:sp>
        <p:nvSpPr>
          <p:cNvPr id="50" name="Text Placeholder 4">
            <a:extLst>
              <a:ext uri="{FF2B5EF4-FFF2-40B4-BE49-F238E27FC236}">
                <a16:creationId xmlns:a16="http://schemas.microsoft.com/office/drawing/2014/main" id="{7885048E-1CE6-7909-067D-FC7FFF7EAB35}"/>
              </a:ext>
            </a:extLst>
          </p:cNvPr>
          <p:cNvSpPr>
            <a:spLocks noGrp="1"/>
          </p:cNvSpPr>
          <p:nvPr>
            <p:ph type="body" sz="quarter" idx="32"/>
          </p:nvPr>
        </p:nvSpPr>
        <p:spPr>
          <a:xfrm>
            <a:off x="6278606" y="1784970"/>
            <a:ext cx="2403838" cy="369332"/>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a:t>
            </a:r>
          </a:p>
        </p:txBody>
      </p:sp>
      <p:sp>
        <p:nvSpPr>
          <p:cNvPr id="51" name="Text Placeholder 4">
            <a:extLst>
              <a:ext uri="{FF2B5EF4-FFF2-40B4-BE49-F238E27FC236}">
                <a16:creationId xmlns:a16="http://schemas.microsoft.com/office/drawing/2014/main" id="{D6F68CF3-3F67-B4F5-E530-97126B657BFE}"/>
              </a:ext>
            </a:extLst>
          </p:cNvPr>
          <p:cNvSpPr>
            <a:spLocks noGrp="1"/>
          </p:cNvSpPr>
          <p:nvPr>
            <p:ph type="body" sz="quarter" idx="33"/>
          </p:nvPr>
        </p:nvSpPr>
        <p:spPr>
          <a:xfrm>
            <a:off x="6332443" y="3376594"/>
            <a:ext cx="2296164" cy="449354"/>
          </a:xfrm>
        </p:spPr>
        <p:txBody>
          <a:bodyPr/>
          <a:lstStyle>
            <a:lvl1pPr algn="ctr">
              <a:defRPr kumimoji="0" lang="en-US" sz="1600" b="0"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marL="0" marR="0" lvl="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Click to edit Master text styles</a:t>
            </a:r>
          </a:p>
          <a:p>
            <a:pPr lvl="1"/>
            <a:r>
              <a:rPr lang="en-US"/>
              <a:t>second</a:t>
            </a:r>
          </a:p>
        </p:txBody>
      </p:sp>
      <p:sp>
        <p:nvSpPr>
          <p:cNvPr id="53" name="Text Placeholder 4">
            <a:extLst>
              <a:ext uri="{FF2B5EF4-FFF2-40B4-BE49-F238E27FC236}">
                <a16:creationId xmlns:a16="http://schemas.microsoft.com/office/drawing/2014/main" id="{F521C0F7-D303-9C3E-4141-3516F4274351}"/>
              </a:ext>
            </a:extLst>
          </p:cNvPr>
          <p:cNvSpPr>
            <a:spLocks noGrp="1"/>
          </p:cNvSpPr>
          <p:nvPr>
            <p:ph type="body" sz="quarter" idx="34"/>
          </p:nvPr>
        </p:nvSpPr>
        <p:spPr>
          <a:xfrm>
            <a:off x="9091851" y="1784970"/>
            <a:ext cx="2403838" cy="369332"/>
          </a:xfrm>
        </p:spPr>
        <p:txBody>
          <a:bodyPr anchor="t"/>
          <a:lstStyle>
            <a:lvl1pPr algn="ctr">
              <a:defRPr sz="2400">
                <a:solidFill>
                  <a:schemeClr val="accent2">
                    <a:lumMod val="60000"/>
                    <a:lumOff val="40000"/>
                  </a:schemeClr>
                </a:solidFill>
                <a:latin typeface="+mj-lt"/>
              </a:defRPr>
            </a:lvl1pPr>
            <a:lvl2pPr algn="ctr">
              <a:defRPr/>
            </a:lvl2pPr>
            <a:lvl3pPr algn="ctr">
              <a:defRPr/>
            </a:lvl3pPr>
            <a:lvl4pPr algn="ctr">
              <a:defRPr/>
            </a:lvl4pPr>
            <a:lvl5pPr algn="ctr">
              <a:defRPr/>
            </a:lvl5pPr>
          </a:lstStyle>
          <a:p>
            <a:pPr lvl="0"/>
            <a:r>
              <a:rPr lang="en-US"/>
              <a:t>Click to edit Master</a:t>
            </a:r>
          </a:p>
        </p:txBody>
      </p:sp>
      <p:sp>
        <p:nvSpPr>
          <p:cNvPr id="54" name="Text Placeholder 4">
            <a:extLst>
              <a:ext uri="{FF2B5EF4-FFF2-40B4-BE49-F238E27FC236}">
                <a16:creationId xmlns:a16="http://schemas.microsoft.com/office/drawing/2014/main" id="{6AF1FA70-1585-1E16-AA0F-F88D64B7EDE8}"/>
              </a:ext>
            </a:extLst>
          </p:cNvPr>
          <p:cNvSpPr>
            <a:spLocks noGrp="1"/>
          </p:cNvSpPr>
          <p:nvPr>
            <p:ph type="body" sz="quarter" idx="35"/>
          </p:nvPr>
        </p:nvSpPr>
        <p:spPr>
          <a:xfrm>
            <a:off x="9145688" y="3376594"/>
            <a:ext cx="2296164" cy="449354"/>
          </a:xfrm>
        </p:spPr>
        <p:txBody>
          <a:bodyPr/>
          <a:lstStyle>
            <a:lvl1pPr algn="ctr">
              <a:defRPr kumimoji="0" lang="en-US" sz="1600" b="0" i="0" u="none" strike="noStrike" kern="0" cap="none" spc="0" normalizeH="0" baseline="0" dirty="0" smtClean="0">
                <a:ln>
                  <a:noFill/>
                </a:ln>
                <a:gradFill>
                  <a:gsLst>
                    <a:gs pos="0">
                      <a:srgbClr val="FFFFFF"/>
                    </a:gs>
                    <a:gs pos="100000">
                      <a:srgbClr val="FFFFFF"/>
                    </a:gs>
                  </a:gsLst>
                  <a:lin ang="4800000" scaled="0"/>
                </a:gradFill>
                <a:effectLst/>
                <a:uLnTx/>
                <a:uFillTx/>
                <a:latin typeface="Segoe UI"/>
                <a:ea typeface="+mn-ea"/>
                <a:cs typeface="Segoe UI Semibold" panose="020B0702040204020203" pitchFamily="34" charset="0"/>
              </a:defRPr>
            </a:lvl1pPr>
            <a:lvl2pPr algn="ctr">
              <a:defRPr kumimoji="0" lang="en-US" sz="1100" b="0" i="0" u="none" strike="noStrike" kern="1200" cap="none" spc="0" normalizeH="0" baseline="0" dirty="0">
                <a:ln>
                  <a:noFill/>
                </a:ln>
                <a:solidFill>
                  <a:prstClr val="white"/>
                </a:solidFill>
                <a:effectLst/>
                <a:uLnTx/>
                <a:uFillTx/>
                <a:latin typeface="Segoe UI"/>
                <a:ea typeface="+mn-ea"/>
                <a:cs typeface="+mn-cs"/>
              </a:defRPr>
            </a:lvl2pPr>
            <a:lvl3pPr algn="ctr">
              <a:defRPr/>
            </a:lvl3pPr>
            <a:lvl4pPr algn="ctr">
              <a:defRPr/>
            </a:lvl4pPr>
            <a:lvl5pPr algn="ctr">
              <a:defRPr/>
            </a:lvl5pPr>
          </a:lstStyle>
          <a:p>
            <a:pPr marL="0" marR="0" lvl="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pPr>
            <a:r>
              <a:rPr lang="en-US"/>
              <a:t>Click to edit Master text styles</a:t>
            </a:r>
          </a:p>
          <a:p>
            <a:pPr lvl="1"/>
            <a:r>
              <a:rPr lang="en-US"/>
              <a:t>second</a:t>
            </a:r>
          </a:p>
        </p:txBody>
      </p:sp>
    </p:spTree>
    <p:extLst>
      <p:ext uri="{BB962C8B-B14F-4D97-AF65-F5344CB8AC3E}">
        <p14:creationId xmlns:p14="http://schemas.microsoft.com/office/powerpoint/2010/main" val="17018267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2_cente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FC83CB0-368B-EE59-2AA8-4BCC54601BAB}"/>
              </a:ext>
              <a:ext uri="{C183D7F6-B498-43B3-948B-1728B52AA6E4}">
                <adec:decorative xmlns:adec="http://schemas.microsoft.com/office/drawing/2017/decorative" val="1"/>
              </a:ext>
            </a:extLst>
          </p:cNvPr>
          <p:cNvSpPr/>
          <p:nvPr userDrawn="1"/>
        </p:nvSpPr>
        <p:spPr bwMode="auto">
          <a:xfrm>
            <a:off x="3289311" y="1811461"/>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21" name="TextBox 20">
            <a:extLst>
              <a:ext uri="{FF2B5EF4-FFF2-40B4-BE49-F238E27FC236}">
                <a16:creationId xmlns:a16="http://schemas.microsoft.com/office/drawing/2014/main" id="{9E7D7CF8-879D-44FC-AD00-7BF55291B3F9}"/>
              </a:ext>
              <a:ext uri="{C183D7F6-B498-43B3-948B-1728B52AA6E4}">
                <adec:decorative xmlns:adec="http://schemas.microsoft.com/office/drawing/2017/decorative" val="1"/>
              </a:ext>
            </a:extLst>
          </p:cNvPr>
          <p:cNvSpPr txBox="1"/>
          <p:nvPr userDrawn="1"/>
        </p:nvSpPr>
        <p:spPr>
          <a:xfrm>
            <a:off x="10602500" y="-1381949"/>
            <a:ext cx="2718924" cy="615553"/>
          </a:xfrm>
          <a:prstGeom prst="rect">
            <a:avLst/>
          </a:prstGeom>
          <a:solidFill>
            <a:srgbClr val="FFFF00"/>
          </a:solidFill>
        </p:spPr>
        <p:txBody>
          <a:bodyPr wrap="square" lIns="0" tIns="0" rIns="0" bIns="0" rtlCol="0">
            <a:spAutoFit/>
          </a:bodyPr>
          <a:lstStyle/>
          <a:p>
            <a:pPr algn="l"/>
            <a:r>
              <a:rPr lang="en-US" sz="2000">
                <a:noFill/>
              </a:rPr>
              <a:t>highlight customizable serves</a:t>
            </a:r>
          </a:p>
        </p:txBody>
      </p:sp>
      <p:sp>
        <p:nvSpPr>
          <p:cNvPr id="7" name="Text Placeholder 4">
            <a:extLst>
              <a:ext uri="{FF2B5EF4-FFF2-40B4-BE49-F238E27FC236}">
                <a16:creationId xmlns:a16="http://schemas.microsoft.com/office/drawing/2014/main" id="{EA40BE75-C1EA-9EE6-8A1E-7417A3AB0E1D}"/>
              </a:ext>
            </a:extLst>
          </p:cNvPr>
          <p:cNvSpPr>
            <a:spLocks noGrp="1"/>
          </p:cNvSpPr>
          <p:nvPr>
            <p:ph type="body" sz="quarter" idx="10"/>
          </p:nvPr>
        </p:nvSpPr>
        <p:spPr>
          <a:xfrm>
            <a:off x="665757" y="3001474"/>
            <a:ext cx="2011680" cy="276999"/>
          </a:xfrm>
        </p:spPr>
        <p:txBody>
          <a:bodyPr vert="horz" wrap="square" lIns="0" tIns="0" rIns="0" bIns="0" rtlCol="0" anchor="t">
            <a:spAutoFit/>
          </a:bodyPr>
          <a:lstStyle>
            <a:lvl1pPr>
              <a:defRPr lang="en-US" sz="1800" b="0" dirty="0">
                <a:solidFill>
                  <a:schemeClr val="tx1"/>
                </a:solidFill>
              </a:defRPr>
            </a:lvl1pPr>
          </a:lstStyle>
          <a:p>
            <a:pPr lvl="0" algn="ctr"/>
            <a:r>
              <a:rPr lang="en-US"/>
              <a:t>Click to edit</a:t>
            </a:r>
          </a:p>
        </p:txBody>
      </p:sp>
      <p:sp>
        <p:nvSpPr>
          <p:cNvPr id="22" name="Text Placeholder 4">
            <a:extLst>
              <a:ext uri="{FF2B5EF4-FFF2-40B4-BE49-F238E27FC236}">
                <a16:creationId xmlns:a16="http://schemas.microsoft.com/office/drawing/2014/main" id="{FE86CE03-7D12-436E-29BB-3F3F2913467C}"/>
              </a:ext>
            </a:extLst>
          </p:cNvPr>
          <p:cNvSpPr>
            <a:spLocks noGrp="1"/>
          </p:cNvSpPr>
          <p:nvPr>
            <p:ph type="body" sz="quarter" idx="31"/>
          </p:nvPr>
        </p:nvSpPr>
        <p:spPr>
          <a:xfrm>
            <a:off x="665757" y="3838725"/>
            <a:ext cx="2011680" cy="276999"/>
          </a:xfrm>
        </p:spPr>
        <p:txBody>
          <a:bodyPr vert="horz" wrap="square" lIns="0" tIns="0" rIns="0" bIns="0" rtlCol="0" anchor="t">
            <a:spAutoFit/>
          </a:bodyPr>
          <a:lstStyle>
            <a:lvl1pPr>
              <a:defRPr lang="en-US" sz="1800" b="0" dirty="0">
                <a:solidFill>
                  <a:schemeClr val="tx1"/>
                </a:solidFill>
              </a:defRPr>
            </a:lvl1pPr>
          </a:lstStyle>
          <a:p>
            <a:pPr lvl="0" algn="ctr"/>
            <a:r>
              <a:rPr lang="en-US"/>
              <a:t>Click to edit Master</a:t>
            </a:r>
          </a:p>
        </p:txBody>
      </p:sp>
      <p:sp>
        <p:nvSpPr>
          <p:cNvPr id="23" name="Text Placeholder 4">
            <a:extLst>
              <a:ext uri="{FF2B5EF4-FFF2-40B4-BE49-F238E27FC236}">
                <a16:creationId xmlns:a16="http://schemas.microsoft.com/office/drawing/2014/main" id="{5B3CD849-10A7-6070-46A1-5F11C0D15850}"/>
              </a:ext>
            </a:extLst>
          </p:cNvPr>
          <p:cNvSpPr>
            <a:spLocks noGrp="1"/>
          </p:cNvSpPr>
          <p:nvPr>
            <p:ph type="body" sz="quarter" idx="32"/>
          </p:nvPr>
        </p:nvSpPr>
        <p:spPr>
          <a:xfrm>
            <a:off x="665757" y="4583643"/>
            <a:ext cx="2011680" cy="430887"/>
          </a:xfrm>
        </p:spPr>
        <p:txBody>
          <a:bodyPr vert="horz" wrap="square" lIns="0" tIns="0" rIns="0" bIns="0" rtlCol="0" anchor="t">
            <a:spAutoFit/>
          </a:bodyPr>
          <a:lstStyle>
            <a:lvl1pPr>
              <a:defRPr lang="en-US" dirty="0">
                <a:solidFill>
                  <a:schemeClr val="accent2">
                    <a:lumMod val="60000"/>
                    <a:lumOff val="40000"/>
                  </a:schemeClr>
                </a:solidFill>
                <a:latin typeface="+mj-lt"/>
              </a:defRPr>
            </a:lvl1pPr>
          </a:lstStyle>
          <a:p>
            <a:pPr lvl="0" algn="ctr"/>
            <a:r>
              <a:rPr lang="en-US"/>
              <a:t>Click to edit</a:t>
            </a:r>
          </a:p>
        </p:txBody>
      </p:sp>
      <p:sp>
        <p:nvSpPr>
          <p:cNvPr id="24" name="Text Placeholder 4">
            <a:extLst>
              <a:ext uri="{FF2B5EF4-FFF2-40B4-BE49-F238E27FC236}">
                <a16:creationId xmlns:a16="http://schemas.microsoft.com/office/drawing/2014/main" id="{586A506A-65BD-64DB-6593-BEE2016291D0}"/>
              </a:ext>
            </a:extLst>
          </p:cNvPr>
          <p:cNvSpPr>
            <a:spLocks noGrp="1"/>
          </p:cNvSpPr>
          <p:nvPr>
            <p:ph type="body" sz="quarter" idx="34"/>
          </p:nvPr>
        </p:nvSpPr>
        <p:spPr>
          <a:xfrm>
            <a:off x="665757" y="5328561"/>
            <a:ext cx="2011680" cy="276999"/>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14" name="Text Placeholder 4">
            <a:extLst>
              <a:ext uri="{FF2B5EF4-FFF2-40B4-BE49-F238E27FC236}">
                <a16:creationId xmlns:a16="http://schemas.microsoft.com/office/drawing/2014/main" id="{161AF08B-866E-8BD4-467A-20D947186996}"/>
              </a:ext>
            </a:extLst>
          </p:cNvPr>
          <p:cNvSpPr>
            <a:spLocks noGrp="1"/>
          </p:cNvSpPr>
          <p:nvPr>
            <p:ph type="body" sz="quarter" idx="48"/>
          </p:nvPr>
        </p:nvSpPr>
        <p:spPr>
          <a:xfrm>
            <a:off x="3811653" y="2079056"/>
            <a:ext cx="7182411" cy="369332"/>
          </a:xfrm>
        </p:spPr>
        <p:txBody>
          <a:bodyPr anchor="t"/>
          <a:lstStyle>
            <a:lvl1pPr algn="ctr">
              <a:defRPr lang="en-US" sz="2400" kern="1200" spc="-50" baseline="0" dirty="0">
                <a:ln w="3175">
                  <a:noFill/>
                </a:ln>
                <a:gradFill>
                  <a:gsLst>
                    <a:gs pos="1250">
                      <a:schemeClr val="tx1"/>
                    </a:gs>
                    <a:gs pos="100000">
                      <a:schemeClr val="tx1"/>
                    </a:gs>
                  </a:gsLst>
                  <a:lin ang="5400000" scaled="0"/>
                </a:gradFill>
                <a:latin typeface="+mj-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31" name="Text Placeholder 4">
            <a:extLst>
              <a:ext uri="{FF2B5EF4-FFF2-40B4-BE49-F238E27FC236}">
                <a16:creationId xmlns:a16="http://schemas.microsoft.com/office/drawing/2014/main" id="{FC171152-CCF4-32C4-1446-13355EFAE62A}"/>
              </a:ext>
            </a:extLst>
          </p:cNvPr>
          <p:cNvSpPr>
            <a:spLocks noGrp="1"/>
          </p:cNvSpPr>
          <p:nvPr>
            <p:ph type="body" sz="quarter" idx="36"/>
          </p:nvPr>
        </p:nvSpPr>
        <p:spPr>
          <a:xfrm>
            <a:off x="3556471" y="3758478"/>
            <a:ext cx="7617806" cy="258404"/>
          </a:xfrm>
        </p:spPr>
        <p:txBody>
          <a:bodyPr anchor="t"/>
          <a:lstStyle>
            <a:lvl1pPr algn="l">
              <a:defRPr kumimoji="0" lang="en-US" sz="1679" b="1"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6" name="Text Placeholder 4">
            <a:extLst>
              <a:ext uri="{FF2B5EF4-FFF2-40B4-BE49-F238E27FC236}">
                <a16:creationId xmlns:a16="http://schemas.microsoft.com/office/drawing/2014/main" id="{1F903D7F-970E-653A-79C3-7383A04D37B8}"/>
              </a:ext>
            </a:extLst>
          </p:cNvPr>
          <p:cNvSpPr>
            <a:spLocks noGrp="1"/>
          </p:cNvSpPr>
          <p:nvPr>
            <p:ph type="body" sz="quarter" idx="41"/>
          </p:nvPr>
        </p:nvSpPr>
        <p:spPr>
          <a:xfrm>
            <a:off x="6893442" y="4325239"/>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8" name="Text Placeholder 4">
            <a:extLst>
              <a:ext uri="{FF2B5EF4-FFF2-40B4-BE49-F238E27FC236}">
                <a16:creationId xmlns:a16="http://schemas.microsoft.com/office/drawing/2014/main" id="{94B028B3-040E-0DFA-524B-5114E68F387D}"/>
              </a:ext>
            </a:extLst>
          </p:cNvPr>
          <p:cNvSpPr>
            <a:spLocks noGrp="1"/>
          </p:cNvSpPr>
          <p:nvPr>
            <p:ph type="body" sz="quarter" idx="42"/>
          </p:nvPr>
        </p:nvSpPr>
        <p:spPr>
          <a:xfrm>
            <a:off x="6893442" y="4698152"/>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9" name="Text Placeholder 4">
            <a:extLst>
              <a:ext uri="{FF2B5EF4-FFF2-40B4-BE49-F238E27FC236}">
                <a16:creationId xmlns:a16="http://schemas.microsoft.com/office/drawing/2014/main" id="{9973A6DC-ABA1-81AF-C20E-4FA5ABF5417A}"/>
              </a:ext>
            </a:extLst>
          </p:cNvPr>
          <p:cNvSpPr>
            <a:spLocks noGrp="1"/>
          </p:cNvSpPr>
          <p:nvPr>
            <p:ph type="body" sz="quarter" idx="43"/>
          </p:nvPr>
        </p:nvSpPr>
        <p:spPr>
          <a:xfrm>
            <a:off x="6893442" y="5071065"/>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0" name="Text Placeholder 4">
            <a:extLst>
              <a:ext uri="{FF2B5EF4-FFF2-40B4-BE49-F238E27FC236}">
                <a16:creationId xmlns:a16="http://schemas.microsoft.com/office/drawing/2014/main" id="{CA7A9303-FAC6-0F8B-A886-A8396E0FD08E}"/>
              </a:ext>
            </a:extLst>
          </p:cNvPr>
          <p:cNvSpPr>
            <a:spLocks noGrp="1"/>
          </p:cNvSpPr>
          <p:nvPr>
            <p:ph type="body" sz="quarter" idx="44"/>
          </p:nvPr>
        </p:nvSpPr>
        <p:spPr>
          <a:xfrm>
            <a:off x="6893442" y="5443977"/>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1" name="Text Placeholder 4">
            <a:extLst>
              <a:ext uri="{FF2B5EF4-FFF2-40B4-BE49-F238E27FC236}">
                <a16:creationId xmlns:a16="http://schemas.microsoft.com/office/drawing/2014/main" id="{F4243E01-EBDC-0274-077F-BD0E2B3A5235}"/>
              </a:ext>
            </a:extLst>
          </p:cNvPr>
          <p:cNvSpPr>
            <a:spLocks noGrp="1"/>
          </p:cNvSpPr>
          <p:nvPr>
            <p:ph type="body" sz="quarter" idx="45"/>
          </p:nvPr>
        </p:nvSpPr>
        <p:spPr>
          <a:xfrm>
            <a:off x="9202360" y="4325239"/>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2" name="Text Placeholder 4">
            <a:extLst>
              <a:ext uri="{FF2B5EF4-FFF2-40B4-BE49-F238E27FC236}">
                <a16:creationId xmlns:a16="http://schemas.microsoft.com/office/drawing/2014/main" id="{71848BBB-B5F9-65CC-0C83-07A08156C0AD}"/>
              </a:ext>
            </a:extLst>
          </p:cNvPr>
          <p:cNvSpPr>
            <a:spLocks noGrp="1"/>
          </p:cNvSpPr>
          <p:nvPr>
            <p:ph type="body" sz="quarter" idx="46"/>
          </p:nvPr>
        </p:nvSpPr>
        <p:spPr>
          <a:xfrm>
            <a:off x="9202360" y="4698152"/>
            <a:ext cx="1920240" cy="161583"/>
          </a:xfrm>
        </p:spPr>
        <p:txBody>
          <a:bodyPr anchor="t"/>
          <a:lstStyle>
            <a:lvl1pPr algn="l">
              <a:defRPr kumimoji="0" lang="en-US" sz="1050" b="0" i="0" u="none" strike="noStrike" kern="1200" cap="none" spc="0" normalizeH="0" baseline="0" dirty="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3" name="Text Placeholder 4">
            <a:extLst>
              <a:ext uri="{FF2B5EF4-FFF2-40B4-BE49-F238E27FC236}">
                <a16:creationId xmlns:a16="http://schemas.microsoft.com/office/drawing/2014/main" id="{27516926-7030-A96E-3F43-6BA530D12618}"/>
              </a:ext>
            </a:extLst>
          </p:cNvPr>
          <p:cNvSpPr>
            <a:spLocks noGrp="1"/>
          </p:cNvSpPr>
          <p:nvPr>
            <p:ph type="body" sz="quarter" idx="47"/>
          </p:nvPr>
        </p:nvSpPr>
        <p:spPr>
          <a:xfrm>
            <a:off x="9202360" y="5071065"/>
            <a:ext cx="192024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2" name="Text Placeholder 4">
            <a:extLst>
              <a:ext uri="{FF2B5EF4-FFF2-40B4-BE49-F238E27FC236}">
                <a16:creationId xmlns:a16="http://schemas.microsoft.com/office/drawing/2014/main" id="{871A32A8-A819-B22E-5C8F-618AEFB5916C}"/>
              </a:ext>
            </a:extLst>
          </p:cNvPr>
          <p:cNvSpPr>
            <a:spLocks noGrp="1"/>
          </p:cNvSpPr>
          <p:nvPr>
            <p:ph type="body" sz="quarter" idx="49"/>
          </p:nvPr>
        </p:nvSpPr>
        <p:spPr>
          <a:xfrm>
            <a:off x="3556471" y="4708401"/>
            <a:ext cx="320040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6" name="Text Placeholder 4">
            <a:extLst>
              <a:ext uri="{FF2B5EF4-FFF2-40B4-BE49-F238E27FC236}">
                <a16:creationId xmlns:a16="http://schemas.microsoft.com/office/drawing/2014/main" id="{30C557DD-F5FF-0426-BB50-8CA45699B173}"/>
              </a:ext>
            </a:extLst>
          </p:cNvPr>
          <p:cNvSpPr>
            <a:spLocks noGrp="1"/>
          </p:cNvSpPr>
          <p:nvPr>
            <p:ph type="body" sz="quarter" idx="50"/>
          </p:nvPr>
        </p:nvSpPr>
        <p:spPr>
          <a:xfrm>
            <a:off x="3556471" y="4336653"/>
            <a:ext cx="3200400" cy="161583"/>
          </a:xfrm>
        </p:spPr>
        <p:txBody>
          <a:bodyPr anchor="t"/>
          <a:lstStyle>
            <a:lvl1pPr algn="l">
              <a:defRPr kumimoji="0" lang="en-US" sz="1050" b="0" i="0" u="none" strike="noStrike" kern="1200" cap="none" spc="0" normalizeH="0" baseline="0" dirty="0">
                <a:ln>
                  <a:noFill/>
                </a:ln>
                <a:solidFill>
                  <a:srgbClr val="50E6FF"/>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18" name="Text Placeholder 17">
            <a:extLst>
              <a:ext uri="{FF2B5EF4-FFF2-40B4-BE49-F238E27FC236}">
                <a16:creationId xmlns:a16="http://schemas.microsoft.com/office/drawing/2014/main" id="{31EC0B09-1954-5B3B-2C67-6E448608FA39}"/>
              </a:ext>
            </a:extLst>
          </p:cNvPr>
          <p:cNvSpPr>
            <a:spLocks noGrp="1"/>
          </p:cNvSpPr>
          <p:nvPr>
            <p:ph type="body" sz="quarter" idx="51"/>
          </p:nvPr>
        </p:nvSpPr>
        <p:spPr>
          <a:xfrm>
            <a:off x="3556471" y="5080149"/>
            <a:ext cx="3200400" cy="153662"/>
          </a:xfrm>
        </p:spPr>
        <p:txBody>
          <a:bodyPr/>
          <a:lstStyle>
            <a:lvl1pPr>
              <a:defRPr kumimoji="0" lang="en-US" sz="1050" b="0" i="0" u="none" strike="noStrike" kern="1200" cap="none" spc="0" normalizeH="0" baseline="0" dirty="0" smtClean="0">
                <a:ln>
                  <a:noFill/>
                </a:ln>
                <a:solidFill>
                  <a:srgbClr val="50E6FF"/>
                </a:solidFill>
                <a:effectLst/>
                <a:uLnTx/>
                <a:uFillTx/>
                <a:latin typeface="Segoe UI" panose="020B0502040204020203" pitchFamily="34" charset="0"/>
                <a:ea typeface="+mn-ea"/>
                <a:cs typeface="Segoe UI" panose="020B0502040204020203" pitchFamily="34" charset="0"/>
              </a:defRPr>
            </a:lvl1pPr>
          </a:lstStyle>
          <a:p>
            <a:pPr lvl="0"/>
            <a:r>
              <a:rPr lang="en-US"/>
              <a:t>Click to edit Master text styles</a:t>
            </a:r>
          </a:p>
        </p:txBody>
      </p:sp>
      <p:sp>
        <p:nvSpPr>
          <p:cNvPr id="20" name="Text Placeholder 17">
            <a:extLst>
              <a:ext uri="{FF2B5EF4-FFF2-40B4-BE49-F238E27FC236}">
                <a16:creationId xmlns:a16="http://schemas.microsoft.com/office/drawing/2014/main" id="{B64693B1-4420-F2CE-CBBC-742ABE82D5D7}"/>
              </a:ext>
            </a:extLst>
          </p:cNvPr>
          <p:cNvSpPr>
            <a:spLocks noGrp="1"/>
          </p:cNvSpPr>
          <p:nvPr>
            <p:ph type="body" sz="quarter" idx="52"/>
          </p:nvPr>
        </p:nvSpPr>
        <p:spPr>
          <a:xfrm>
            <a:off x="3556471" y="5447078"/>
            <a:ext cx="3200400" cy="153662"/>
          </a:xfrm>
        </p:spPr>
        <p:txBody>
          <a:bodyPr/>
          <a:lstStyle>
            <a:lvl1pPr>
              <a:defRPr kumimoji="0" lang="en-US" sz="1050" b="0" i="0" u="none" strike="noStrike" kern="1200" cap="none" spc="0" normalizeH="0" baseline="0" dirty="0" smtClean="0">
                <a:ln>
                  <a:noFill/>
                </a:ln>
                <a:solidFill>
                  <a:srgbClr val="50E6FF"/>
                </a:solidFill>
                <a:effectLst/>
                <a:uLnTx/>
                <a:uFillTx/>
                <a:latin typeface="Segoe UI" panose="020B0502040204020203" pitchFamily="34" charset="0"/>
                <a:ea typeface="+mn-ea"/>
                <a:cs typeface="Segoe UI" panose="020B0502040204020203" pitchFamily="34" charset="0"/>
              </a:defRPr>
            </a:lvl1pPr>
          </a:lstStyle>
          <a:p>
            <a:pPr lvl="0"/>
            <a:r>
              <a:rPr lang="en-US"/>
              <a:t>Click to edit Master text styles</a:t>
            </a:r>
          </a:p>
        </p:txBody>
      </p:sp>
    </p:spTree>
    <p:extLst>
      <p:ext uri="{BB962C8B-B14F-4D97-AF65-F5344CB8AC3E}">
        <p14:creationId xmlns:p14="http://schemas.microsoft.com/office/powerpoint/2010/main" val="377211834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4_cente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FC83CB0-368B-EE59-2AA8-4BCC54601BAB}"/>
              </a:ext>
              <a:ext uri="{C183D7F6-B498-43B3-948B-1728B52AA6E4}">
                <adec:decorative xmlns:adec="http://schemas.microsoft.com/office/drawing/2017/decorative" val="1"/>
              </a:ext>
            </a:extLst>
          </p:cNvPr>
          <p:cNvSpPr/>
          <p:nvPr userDrawn="1"/>
        </p:nvSpPr>
        <p:spPr bwMode="auto">
          <a:xfrm>
            <a:off x="3289311" y="1811461"/>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7" name="Text Placeholder 4">
            <a:extLst>
              <a:ext uri="{FF2B5EF4-FFF2-40B4-BE49-F238E27FC236}">
                <a16:creationId xmlns:a16="http://schemas.microsoft.com/office/drawing/2014/main" id="{EA40BE75-C1EA-9EE6-8A1E-7417A3AB0E1D}"/>
              </a:ext>
            </a:extLst>
          </p:cNvPr>
          <p:cNvSpPr>
            <a:spLocks noGrp="1"/>
          </p:cNvSpPr>
          <p:nvPr>
            <p:ph type="body" sz="quarter" idx="10"/>
          </p:nvPr>
        </p:nvSpPr>
        <p:spPr>
          <a:xfrm>
            <a:off x="665757" y="3001474"/>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a:t>
            </a:r>
          </a:p>
        </p:txBody>
      </p:sp>
      <p:sp>
        <p:nvSpPr>
          <p:cNvPr id="22" name="Text Placeholder 4">
            <a:extLst>
              <a:ext uri="{FF2B5EF4-FFF2-40B4-BE49-F238E27FC236}">
                <a16:creationId xmlns:a16="http://schemas.microsoft.com/office/drawing/2014/main" id="{FE86CE03-7D12-436E-29BB-3F3F2913467C}"/>
              </a:ext>
            </a:extLst>
          </p:cNvPr>
          <p:cNvSpPr>
            <a:spLocks noGrp="1"/>
          </p:cNvSpPr>
          <p:nvPr>
            <p:ph type="body" sz="quarter" idx="31"/>
          </p:nvPr>
        </p:nvSpPr>
        <p:spPr>
          <a:xfrm>
            <a:off x="665757" y="3838725"/>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 Master</a:t>
            </a:r>
          </a:p>
        </p:txBody>
      </p:sp>
      <p:sp>
        <p:nvSpPr>
          <p:cNvPr id="23" name="LANGUAGE">
            <a:extLst>
              <a:ext uri="{FF2B5EF4-FFF2-40B4-BE49-F238E27FC236}">
                <a16:creationId xmlns:a16="http://schemas.microsoft.com/office/drawing/2014/main" id="{5B3CD849-10A7-6070-46A1-5F11C0D15850}"/>
              </a:ext>
            </a:extLst>
          </p:cNvPr>
          <p:cNvSpPr>
            <a:spLocks noGrp="1"/>
          </p:cNvSpPr>
          <p:nvPr>
            <p:ph type="body" sz="quarter" idx="32"/>
          </p:nvPr>
        </p:nvSpPr>
        <p:spPr>
          <a:xfrm>
            <a:off x="665757" y="4583643"/>
            <a:ext cx="2011680" cy="430887"/>
          </a:xfrm>
        </p:spPr>
        <p:txBody>
          <a:bodyPr vert="horz" wrap="square" lIns="0" tIns="0" rIns="0" bIns="0" rtlCol="0" anchor="t">
            <a:spAutoFit/>
          </a:bodyPr>
          <a:lstStyle>
            <a:lvl1pPr algn="ctr">
              <a:defRPr lang="en-US" dirty="0">
                <a:solidFill>
                  <a:schemeClr val="accent2">
                    <a:lumMod val="60000"/>
                    <a:lumOff val="40000"/>
                  </a:schemeClr>
                </a:solidFill>
                <a:latin typeface="+mj-lt"/>
              </a:defRPr>
            </a:lvl1pPr>
          </a:lstStyle>
          <a:p>
            <a:pPr lvl="0" algn="ctr"/>
            <a:r>
              <a:rPr lang="en-US"/>
              <a:t>Click to edit</a:t>
            </a:r>
          </a:p>
        </p:txBody>
      </p:sp>
      <p:sp>
        <p:nvSpPr>
          <p:cNvPr id="24" name="Text Placeholder 4">
            <a:extLst>
              <a:ext uri="{FF2B5EF4-FFF2-40B4-BE49-F238E27FC236}">
                <a16:creationId xmlns:a16="http://schemas.microsoft.com/office/drawing/2014/main" id="{586A506A-65BD-64DB-6593-BEE2016291D0}"/>
              </a:ext>
            </a:extLst>
          </p:cNvPr>
          <p:cNvSpPr>
            <a:spLocks noGrp="1"/>
          </p:cNvSpPr>
          <p:nvPr>
            <p:ph type="body" sz="quarter" idx="34"/>
          </p:nvPr>
        </p:nvSpPr>
        <p:spPr>
          <a:xfrm>
            <a:off x="665757" y="5328561"/>
            <a:ext cx="2011680" cy="276999"/>
          </a:xfrm>
        </p:spPr>
        <p:txBody>
          <a:bodyPr anchor="t"/>
          <a:lstStyle>
            <a:lvl1pPr algn="ctr">
              <a:defRPr sz="1800" b="0">
                <a:solidFill>
                  <a:schemeClr val="tx1"/>
                </a:solidFill>
                <a:latin typeface="+mn-lt"/>
              </a:defRPr>
            </a:lvl1pPr>
            <a:lvl2pPr algn="ctr">
              <a:defRPr/>
            </a:lvl2pPr>
            <a:lvl3pPr algn="ctr">
              <a:defRPr/>
            </a:lvl3pPr>
            <a:lvl4pPr algn="ctr">
              <a:defRPr/>
            </a:lvl4pPr>
            <a:lvl5pPr algn="ctr">
              <a:defRPr/>
            </a:lvl5pPr>
          </a:lstStyle>
          <a:p>
            <a:pPr lvl="0"/>
            <a:r>
              <a:rPr lang="en-US"/>
              <a:t>Click to edit Master</a:t>
            </a:r>
          </a:p>
        </p:txBody>
      </p:sp>
      <p:sp>
        <p:nvSpPr>
          <p:cNvPr id="35" name="Text Placeholder 4">
            <a:extLst>
              <a:ext uri="{FF2B5EF4-FFF2-40B4-BE49-F238E27FC236}">
                <a16:creationId xmlns:a16="http://schemas.microsoft.com/office/drawing/2014/main" id="{892B8EE0-198C-90BA-82D8-E554D6FBDF49}"/>
              </a:ext>
            </a:extLst>
          </p:cNvPr>
          <p:cNvSpPr>
            <a:spLocks noGrp="1"/>
          </p:cNvSpPr>
          <p:nvPr>
            <p:ph type="body" sz="quarter" idx="60"/>
          </p:nvPr>
        </p:nvSpPr>
        <p:spPr>
          <a:xfrm>
            <a:off x="3640446" y="2076574"/>
            <a:ext cx="7617806" cy="369332"/>
          </a:xfrm>
        </p:spPr>
        <p:txBody>
          <a:bodyPr anchor="t"/>
          <a:lstStyle>
            <a:lvl1pPr algn="ctr">
              <a:defRPr lang="en-US" sz="2400" kern="1200" spc="-50" baseline="0" dirty="0">
                <a:ln w="3175">
                  <a:noFill/>
                </a:ln>
                <a:gradFill>
                  <a:gsLst>
                    <a:gs pos="1250">
                      <a:schemeClr val="tx1"/>
                    </a:gs>
                    <a:gs pos="100000">
                      <a:schemeClr val="tx1"/>
                    </a:gs>
                  </a:gsLst>
                  <a:lin ang="5400000" scaled="0"/>
                </a:gradFill>
                <a:latin typeface="+mj-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36" name="Text Placeholder 4">
            <a:extLst>
              <a:ext uri="{FF2B5EF4-FFF2-40B4-BE49-F238E27FC236}">
                <a16:creationId xmlns:a16="http://schemas.microsoft.com/office/drawing/2014/main" id="{2F5D52A3-AF16-3B9B-007C-83FBCAF4EA02}"/>
              </a:ext>
            </a:extLst>
          </p:cNvPr>
          <p:cNvSpPr>
            <a:spLocks noGrp="1"/>
          </p:cNvSpPr>
          <p:nvPr>
            <p:ph type="body" sz="quarter" idx="61"/>
          </p:nvPr>
        </p:nvSpPr>
        <p:spPr>
          <a:xfrm>
            <a:off x="3556471" y="3709504"/>
            <a:ext cx="7617806" cy="246221"/>
          </a:xfrm>
        </p:spPr>
        <p:txBody>
          <a:bodyPr anchor="t"/>
          <a:lstStyle>
            <a:lvl1pPr algn="l">
              <a:defRPr kumimoji="0" lang="en-US" sz="1600" b="1" i="0" u="none" strike="noStrike" kern="1200" cap="none" spc="0" normalizeH="0" baseline="0" dirty="0">
                <a:ln>
                  <a:noFill/>
                </a:ln>
                <a:solidFill>
                  <a:schemeClr val="accent2">
                    <a:lumMod val="60000"/>
                    <a:lumOff val="40000"/>
                  </a:schemeClr>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
        <p:nvSpPr>
          <p:cNvPr id="5" name="Text Placeholder 4">
            <a:extLst>
              <a:ext uri="{FF2B5EF4-FFF2-40B4-BE49-F238E27FC236}">
                <a16:creationId xmlns:a16="http://schemas.microsoft.com/office/drawing/2014/main" id="{ADB31DE3-0A59-70E4-08B7-316815C16C32}"/>
              </a:ext>
            </a:extLst>
          </p:cNvPr>
          <p:cNvSpPr>
            <a:spLocks noGrp="1"/>
          </p:cNvSpPr>
          <p:nvPr>
            <p:ph type="body" sz="quarter" idx="49"/>
          </p:nvPr>
        </p:nvSpPr>
        <p:spPr>
          <a:xfrm>
            <a:off x="3556000" y="4221163"/>
            <a:ext cx="3200991"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5" name="Text Placeholder 4">
            <a:extLst>
              <a:ext uri="{FF2B5EF4-FFF2-40B4-BE49-F238E27FC236}">
                <a16:creationId xmlns:a16="http://schemas.microsoft.com/office/drawing/2014/main" id="{966F5003-7188-B726-78BC-362D7BF7DCF2}"/>
              </a:ext>
            </a:extLst>
          </p:cNvPr>
          <p:cNvSpPr>
            <a:spLocks noGrp="1"/>
          </p:cNvSpPr>
          <p:nvPr>
            <p:ph type="body" sz="quarter" idx="52"/>
          </p:nvPr>
        </p:nvSpPr>
        <p:spPr>
          <a:xfrm>
            <a:off x="3556000" y="4652149"/>
            <a:ext cx="3200991"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8" name="Text Placeholder 4">
            <a:extLst>
              <a:ext uri="{FF2B5EF4-FFF2-40B4-BE49-F238E27FC236}">
                <a16:creationId xmlns:a16="http://schemas.microsoft.com/office/drawing/2014/main" id="{CD9BB2AD-F13A-A125-84F8-E93CD6B99950}"/>
              </a:ext>
            </a:extLst>
          </p:cNvPr>
          <p:cNvSpPr>
            <a:spLocks noGrp="1"/>
          </p:cNvSpPr>
          <p:nvPr>
            <p:ph type="body" sz="quarter" idx="55"/>
          </p:nvPr>
        </p:nvSpPr>
        <p:spPr>
          <a:xfrm>
            <a:off x="3556000" y="5083135"/>
            <a:ext cx="3200991"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32" name="Text Placeholder 4">
            <a:extLst>
              <a:ext uri="{FF2B5EF4-FFF2-40B4-BE49-F238E27FC236}">
                <a16:creationId xmlns:a16="http://schemas.microsoft.com/office/drawing/2014/main" id="{1A6701AF-4543-0258-6EC5-E4ED3FBBFE98}"/>
              </a:ext>
            </a:extLst>
          </p:cNvPr>
          <p:cNvSpPr>
            <a:spLocks noGrp="1"/>
          </p:cNvSpPr>
          <p:nvPr>
            <p:ph type="body" sz="quarter" idx="58"/>
          </p:nvPr>
        </p:nvSpPr>
        <p:spPr>
          <a:xfrm>
            <a:off x="3556000" y="5514120"/>
            <a:ext cx="3200991"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17" name="Text Placeholder 4">
            <a:extLst>
              <a:ext uri="{FF2B5EF4-FFF2-40B4-BE49-F238E27FC236}">
                <a16:creationId xmlns:a16="http://schemas.microsoft.com/office/drawing/2014/main" id="{948D393E-6975-F34F-BE66-C01D46EFB990}"/>
              </a:ext>
            </a:extLst>
          </p:cNvPr>
          <p:cNvSpPr>
            <a:spLocks noGrp="1"/>
          </p:cNvSpPr>
          <p:nvPr>
            <p:ph type="body" sz="quarter" idx="50"/>
          </p:nvPr>
        </p:nvSpPr>
        <p:spPr>
          <a:xfrm>
            <a:off x="6756991" y="4221163"/>
            <a:ext cx="2169633"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6" name="Text Placeholder 4">
            <a:extLst>
              <a:ext uri="{FF2B5EF4-FFF2-40B4-BE49-F238E27FC236}">
                <a16:creationId xmlns:a16="http://schemas.microsoft.com/office/drawing/2014/main" id="{FFC45E88-826C-7DD6-1958-CAE4B68996B9}"/>
              </a:ext>
            </a:extLst>
          </p:cNvPr>
          <p:cNvSpPr>
            <a:spLocks noGrp="1"/>
          </p:cNvSpPr>
          <p:nvPr>
            <p:ph type="body" sz="quarter" idx="53"/>
          </p:nvPr>
        </p:nvSpPr>
        <p:spPr>
          <a:xfrm>
            <a:off x="6756991" y="4652149"/>
            <a:ext cx="2169633"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9" name="Text Placeholder 4">
            <a:extLst>
              <a:ext uri="{FF2B5EF4-FFF2-40B4-BE49-F238E27FC236}">
                <a16:creationId xmlns:a16="http://schemas.microsoft.com/office/drawing/2014/main" id="{166F066D-FC89-D9AA-3123-36179DAD8C67}"/>
              </a:ext>
            </a:extLst>
          </p:cNvPr>
          <p:cNvSpPr>
            <a:spLocks noGrp="1"/>
          </p:cNvSpPr>
          <p:nvPr>
            <p:ph type="body" sz="quarter" idx="56"/>
          </p:nvPr>
        </p:nvSpPr>
        <p:spPr>
          <a:xfrm>
            <a:off x="6756991" y="5083135"/>
            <a:ext cx="2169633"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33" name="Text Placeholder 4">
            <a:extLst>
              <a:ext uri="{FF2B5EF4-FFF2-40B4-BE49-F238E27FC236}">
                <a16:creationId xmlns:a16="http://schemas.microsoft.com/office/drawing/2014/main" id="{79808FCD-39B8-2734-6B68-C429331A95D4}"/>
              </a:ext>
            </a:extLst>
          </p:cNvPr>
          <p:cNvSpPr>
            <a:spLocks noGrp="1"/>
          </p:cNvSpPr>
          <p:nvPr>
            <p:ph type="body" sz="quarter" idx="59"/>
          </p:nvPr>
        </p:nvSpPr>
        <p:spPr>
          <a:xfrm>
            <a:off x="6756991" y="5514120"/>
            <a:ext cx="2169633"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19" name="Text Placeholder 4">
            <a:extLst>
              <a:ext uri="{FF2B5EF4-FFF2-40B4-BE49-F238E27FC236}">
                <a16:creationId xmlns:a16="http://schemas.microsoft.com/office/drawing/2014/main" id="{94A0818D-C8F7-BA6A-4FE0-DA4AE243A4C7}"/>
              </a:ext>
            </a:extLst>
          </p:cNvPr>
          <p:cNvSpPr>
            <a:spLocks noGrp="1"/>
          </p:cNvSpPr>
          <p:nvPr>
            <p:ph type="body" sz="quarter" idx="51"/>
          </p:nvPr>
        </p:nvSpPr>
        <p:spPr>
          <a:xfrm>
            <a:off x="9074888" y="4221163"/>
            <a:ext cx="2264735"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27" name="Text Placeholder 4">
            <a:extLst>
              <a:ext uri="{FF2B5EF4-FFF2-40B4-BE49-F238E27FC236}">
                <a16:creationId xmlns:a16="http://schemas.microsoft.com/office/drawing/2014/main" id="{8B105497-614A-3CC9-EF57-C294F3F3F246}"/>
              </a:ext>
            </a:extLst>
          </p:cNvPr>
          <p:cNvSpPr>
            <a:spLocks noGrp="1"/>
          </p:cNvSpPr>
          <p:nvPr>
            <p:ph type="body" sz="quarter" idx="54"/>
          </p:nvPr>
        </p:nvSpPr>
        <p:spPr>
          <a:xfrm>
            <a:off x="9074888" y="4652149"/>
            <a:ext cx="2264735" cy="182880"/>
          </a:xfrm>
        </p:spPr>
        <p:txBody>
          <a:bodyPr/>
          <a:lstStyle>
            <a:lvl1pPr>
              <a:defRPr sz="1200">
                <a:solidFill>
                  <a:schemeClr val="accent1"/>
                </a:solidFill>
              </a:defRPr>
            </a:lvl1pPr>
          </a:lstStyle>
          <a:p>
            <a:pPr lvl="0"/>
            <a:r>
              <a:rPr lang="en-US"/>
              <a:t>Click to edit Master text styles</a:t>
            </a:r>
          </a:p>
        </p:txBody>
      </p:sp>
      <p:sp>
        <p:nvSpPr>
          <p:cNvPr id="30" name="Text Placeholder 4">
            <a:extLst>
              <a:ext uri="{FF2B5EF4-FFF2-40B4-BE49-F238E27FC236}">
                <a16:creationId xmlns:a16="http://schemas.microsoft.com/office/drawing/2014/main" id="{F54D76E5-0F56-1A4A-6A4E-03F94D894B98}"/>
              </a:ext>
            </a:extLst>
          </p:cNvPr>
          <p:cNvSpPr>
            <a:spLocks noGrp="1"/>
          </p:cNvSpPr>
          <p:nvPr>
            <p:ph type="body" sz="quarter" idx="57"/>
          </p:nvPr>
        </p:nvSpPr>
        <p:spPr>
          <a:xfrm>
            <a:off x="9074888" y="5083135"/>
            <a:ext cx="2264735" cy="182880"/>
          </a:xfrm>
        </p:spPr>
        <p:txBody>
          <a:bodyPr/>
          <a:lstStyle>
            <a:lvl1pPr>
              <a:defRPr sz="1200">
                <a:solidFill>
                  <a:schemeClr val="accent2">
                    <a:lumMod val="60000"/>
                    <a:lumOff val="40000"/>
                  </a:schemeClr>
                </a:solidFill>
              </a:defRPr>
            </a:lvl1pPr>
          </a:lstStyle>
          <a:p>
            <a:pPr lvl="0"/>
            <a:r>
              <a:rPr lang="en-US"/>
              <a:t>Click to edit Master text styles</a:t>
            </a:r>
          </a:p>
        </p:txBody>
      </p:sp>
      <p:sp>
        <p:nvSpPr>
          <p:cNvPr id="37" name="Text Placeholder 4">
            <a:extLst>
              <a:ext uri="{FF2B5EF4-FFF2-40B4-BE49-F238E27FC236}">
                <a16:creationId xmlns:a16="http://schemas.microsoft.com/office/drawing/2014/main" id="{091A77D2-28A4-6705-4310-DCC68BA20D73}"/>
              </a:ext>
            </a:extLst>
          </p:cNvPr>
          <p:cNvSpPr>
            <a:spLocks noGrp="1"/>
          </p:cNvSpPr>
          <p:nvPr>
            <p:ph type="body" sz="quarter" idx="62"/>
          </p:nvPr>
        </p:nvSpPr>
        <p:spPr>
          <a:xfrm>
            <a:off x="3556471" y="2735682"/>
            <a:ext cx="7617806" cy="276999"/>
          </a:xfrm>
        </p:spPr>
        <p:txBody>
          <a:bodyPr anchor="t"/>
          <a:lstStyle>
            <a:lvl1pPr algn="l">
              <a:defRPr kumimoji="0" lang="en-US" sz="1800" b="1" i="1" u="none" strike="noStrike" kern="1200" cap="none" spc="0" normalizeH="0" baseline="0" dirty="0">
                <a:ln>
                  <a:noFill/>
                </a:ln>
                <a:solidFill>
                  <a:schemeClr val="accent1"/>
                </a:solidFill>
                <a:effectLst/>
                <a:uLnTx/>
                <a:uFillTx/>
                <a:latin typeface="Segoe UI" panose="020B0502040204020203" pitchFamily="34" charset="0"/>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a:t>
            </a:r>
          </a:p>
        </p:txBody>
      </p:sp>
    </p:spTree>
    <p:extLst>
      <p:ext uri="{BB962C8B-B14F-4D97-AF65-F5344CB8AC3E}">
        <p14:creationId xmlns:p14="http://schemas.microsoft.com/office/powerpoint/2010/main" val="370908250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5_center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870D59-C980-5FC2-2459-7E1BA95C194E}"/>
              </a:ext>
              <a:ext uri="{C183D7F6-B498-43B3-948B-1728B52AA6E4}">
                <adec:decorative xmlns:adec="http://schemas.microsoft.com/office/drawing/2017/decorative" val="1"/>
              </a:ext>
            </a:extLst>
          </p:cNvPr>
          <p:cNvSpPr/>
          <p:nvPr userDrawn="1"/>
        </p:nvSpPr>
        <p:spPr bwMode="auto">
          <a:xfrm>
            <a:off x="3289311" y="1811461"/>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5D4824CE-E43F-4CC0-B46E-B20B0CF2DEFA}"/>
              </a:ext>
            </a:extLst>
          </p:cNvPr>
          <p:cNvSpPr>
            <a:spLocks noGrp="1"/>
          </p:cNvSpPr>
          <p:nvPr>
            <p:ph sz="quarter" idx="14"/>
          </p:nvPr>
        </p:nvSpPr>
        <p:spPr>
          <a:xfrm>
            <a:off x="4197195" y="2017713"/>
            <a:ext cx="6324600" cy="430887"/>
          </a:xfrm>
        </p:spPr>
        <p:txBody>
          <a:bodyPr/>
          <a:lstStyle>
            <a:lvl1pPr algn="ctr">
              <a:defRPr/>
            </a:lvl1pPr>
          </a:lstStyle>
          <a:p>
            <a:pPr lvl="0"/>
            <a:endParaRPr lang="en-US"/>
          </a:p>
        </p:txBody>
      </p:sp>
      <p:sp>
        <p:nvSpPr>
          <p:cNvPr id="6" name="Text Placeholder 4">
            <a:extLst>
              <a:ext uri="{FF2B5EF4-FFF2-40B4-BE49-F238E27FC236}">
                <a16:creationId xmlns:a16="http://schemas.microsoft.com/office/drawing/2014/main" id="{12D47C63-1AA5-489B-DC5D-733C3295E499}"/>
              </a:ext>
            </a:extLst>
          </p:cNvPr>
          <p:cNvSpPr>
            <a:spLocks noGrp="1"/>
          </p:cNvSpPr>
          <p:nvPr>
            <p:ph type="body" sz="quarter" idx="10"/>
          </p:nvPr>
        </p:nvSpPr>
        <p:spPr>
          <a:xfrm>
            <a:off x="665757" y="3001474"/>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a:t>
            </a:r>
          </a:p>
        </p:txBody>
      </p:sp>
      <p:sp>
        <p:nvSpPr>
          <p:cNvPr id="7" name="Text Placeholder 4">
            <a:extLst>
              <a:ext uri="{FF2B5EF4-FFF2-40B4-BE49-F238E27FC236}">
                <a16:creationId xmlns:a16="http://schemas.microsoft.com/office/drawing/2014/main" id="{D7A015D5-E15E-30E8-3AAE-C971965919C3}"/>
              </a:ext>
            </a:extLst>
          </p:cNvPr>
          <p:cNvSpPr>
            <a:spLocks noGrp="1"/>
          </p:cNvSpPr>
          <p:nvPr>
            <p:ph type="body" sz="quarter" idx="31"/>
          </p:nvPr>
        </p:nvSpPr>
        <p:spPr>
          <a:xfrm>
            <a:off x="665757" y="3838725"/>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 Master</a:t>
            </a:r>
          </a:p>
        </p:txBody>
      </p:sp>
      <p:sp>
        <p:nvSpPr>
          <p:cNvPr id="12" name="Text Placeholder 4">
            <a:extLst>
              <a:ext uri="{FF2B5EF4-FFF2-40B4-BE49-F238E27FC236}">
                <a16:creationId xmlns:a16="http://schemas.microsoft.com/office/drawing/2014/main" id="{4960C89D-568F-489D-7517-A7BB2E0050CC}"/>
              </a:ext>
            </a:extLst>
          </p:cNvPr>
          <p:cNvSpPr>
            <a:spLocks noGrp="1"/>
          </p:cNvSpPr>
          <p:nvPr>
            <p:ph type="body" sz="quarter" idx="32"/>
          </p:nvPr>
        </p:nvSpPr>
        <p:spPr>
          <a:xfrm>
            <a:off x="665757" y="4583643"/>
            <a:ext cx="2011680" cy="276999"/>
          </a:xfrm>
        </p:spPr>
        <p:txBody>
          <a:bodyPr vert="horz" wrap="square" lIns="0" tIns="0" rIns="0" bIns="0" rtlCol="0" anchor="t">
            <a:spAutoFit/>
          </a:bodyPr>
          <a:lstStyle>
            <a:lvl1pPr algn="ctr">
              <a:defRPr lang="en-US" sz="1800" b="0" dirty="0">
                <a:solidFill>
                  <a:schemeClr val="tx1"/>
                </a:solidFill>
              </a:defRPr>
            </a:lvl1pPr>
          </a:lstStyle>
          <a:p>
            <a:pPr lvl="0" algn="ctr"/>
            <a:r>
              <a:rPr lang="en-US"/>
              <a:t>Click to edit Master</a:t>
            </a:r>
          </a:p>
        </p:txBody>
      </p:sp>
      <p:sp>
        <p:nvSpPr>
          <p:cNvPr id="15" name="Text Placeholder 4">
            <a:extLst>
              <a:ext uri="{FF2B5EF4-FFF2-40B4-BE49-F238E27FC236}">
                <a16:creationId xmlns:a16="http://schemas.microsoft.com/office/drawing/2014/main" id="{D0891C29-4773-7F35-4D37-8F647E0B0229}"/>
              </a:ext>
            </a:extLst>
          </p:cNvPr>
          <p:cNvSpPr>
            <a:spLocks noGrp="1"/>
          </p:cNvSpPr>
          <p:nvPr>
            <p:ph type="body" sz="quarter" idx="34"/>
          </p:nvPr>
        </p:nvSpPr>
        <p:spPr>
          <a:xfrm>
            <a:off x="665757" y="5328561"/>
            <a:ext cx="2011680" cy="430887"/>
          </a:xfrm>
        </p:spPr>
        <p:txBody>
          <a:bodyPr vert="horz" wrap="square" lIns="0" tIns="0" rIns="0" bIns="0" rtlCol="0" anchor="t">
            <a:spAutoFit/>
          </a:bodyPr>
          <a:lstStyle>
            <a:lvl1pPr algn="ctr">
              <a:defRPr lang="en-US" dirty="0">
                <a:solidFill>
                  <a:schemeClr val="accent2">
                    <a:lumMod val="60000"/>
                    <a:lumOff val="40000"/>
                  </a:schemeClr>
                </a:solidFill>
                <a:latin typeface="+mj-lt"/>
              </a:defRPr>
            </a:lvl1pPr>
          </a:lstStyle>
          <a:p>
            <a:pPr lvl="0" algn="ctr"/>
            <a:r>
              <a:rPr lang="en-US"/>
              <a:t>Click to edit</a:t>
            </a:r>
          </a:p>
        </p:txBody>
      </p:sp>
    </p:spTree>
    <p:extLst>
      <p:ext uri="{BB962C8B-B14F-4D97-AF65-F5344CB8AC3E}">
        <p14:creationId xmlns:p14="http://schemas.microsoft.com/office/powerpoint/2010/main" val="67463359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5"/>
            <a:ext cx="9144000" cy="615553"/>
          </a:xfrm>
          <a:noFill/>
        </p:spPr>
        <p:txBody>
          <a:bodyPr lIns="0" tIns="0" rIns="0" bIns="0" anchor="b" anchorCtr="0">
            <a:spAutoFit/>
          </a:bodyPr>
          <a:lstStyle>
            <a:lvl1pPr>
              <a:defRPr sz="40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2050" name="Picture 2">
            <a:extLst>
              <a:ext uri="{FF2B5EF4-FFF2-40B4-BE49-F238E27FC236}">
                <a16:creationId xmlns:a16="http://schemas.microsoft.com/office/drawing/2014/main" id="{A318813A-8F0C-92D9-D0C2-A62BB201C3AA}"/>
              </a:ext>
            </a:extLst>
          </p:cNvPr>
          <p:cNvPicPr>
            <a:picLocks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84203" y="585790"/>
            <a:ext cx="1366245" cy="29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0727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6_centere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870D59-C980-5FC2-2459-7E1BA95C194E}"/>
              </a:ext>
              <a:ext uri="{C183D7F6-B498-43B3-948B-1728B52AA6E4}">
                <adec:decorative xmlns:adec="http://schemas.microsoft.com/office/drawing/2017/decorative" val="1"/>
              </a:ext>
            </a:extLst>
          </p:cNvPr>
          <p:cNvSpPr/>
          <p:nvPr userDrawn="1"/>
        </p:nvSpPr>
        <p:spPr bwMode="auto">
          <a:xfrm>
            <a:off x="678789" y="1811461"/>
            <a:ext cx="10930600"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5D4824CE-E43F-4CC0-B46E-B20B0CF2DEFA}"/>
              </a:ext>
            </a:extLst>
          </p:cNvPr>
          <p:cNvSpPr>
            <a:spLocks noGrp="1"/>
          </p:cNvSpPr>
          <p:nvPr>
            <p:ph sz="quarter" idx="14"/>
          </p:nvPr>
        </p:nvSpPr>
        <p:spPr>
          <a:xfrm>
            <a:off x="897570" y="2017713"/>
            <a:ext cx="10439867" cy="430887"/>
          </a:xfrm>
        </p:spPr>
        <p:txBody>
          <a:bodyPr/>
          <a:lstStyle>
            <a:lvl1pPr marL="457200" indent="-457200" algn="l">
              <a:buFont typeface="Arial" panose="020B0604020202020204" pitchFamily="34" charset="0"/>
              <a:buChar char="•"/>
              <a:defRPr/>
            </a:lvl1pPr>
          </a:lstStyle>
          <a:p>
            <a:pPr lvl="0"/>
            <a:endParaRPr lang="en-US"/>
          </a:p>
        </p:txBody>
      </p:sp>
    </p:spTree>
    <p:extLst>
      <p:ext uri="{BB962C8B-B14F-4D97-AF65-F5344CB8AC3E}">
        <p14:creationId xmlns:p14="http://schemas.microsoft.com/office/powerpoint/2010/main" val="110286794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8" name="Text Placeholder 4">
            <a:extLst>
              <a:ext uri="{FF2B5EF4-FFF2-40B4-BE49-F238E27FC236}">
                <a16:creationId xmlns:a16="http://schemas.microsoft.com/office/drawing/2014/main" id="{AC23DA72-E26A-8A49-D09B-004C95C83B62}"/>
              </a:ext>
            </a:extLst>
          </p:cNvPr>
          <p:cNvSpPr>
            <a:spLocks noGrp="1"/>
          </p:cNvSpPr>
          <p:nvPr>
            <p:ph type="body" sz="quarter" idx="31"/>
          </p:nvPr>
        </p:nvSpPr>
        <p:spPr>
          <a:xfrm>
            <a:off x="584200" y="2017713"/>
            <a:ext cx="3554768" cy="430887"/>
          </a:xfrm>
        </p:spPr>
        <p:txBody>
          <a:bodyPr vert="horz" wrap="square" lIns="0" tIns="0" rIns="0" bIns="0" rtlCol="0" anchor="t">
            <a:spAutoFit/>
          </a:bodyPr>
          <a:lstStyle>
            <a:lvl1pPr algn="ctr">
              <a:defRPr lang="en-US" sz="2800" b="0" kern="1200" cap="none" spc="-50" baseline="0" dirty="0">
                <a:ln w="3175">
                  <a:noFill/>
                </a:ln>
                <a:solidFill>
                  <a:schemeClr val="tx1"/>
                </a:solidFill>
                <a:effectLst/>
                <a:latin typeface="Segoe UI Semibold"/>
                <a:ea typeface="+mn-ea"/>
                <a:cs typeface="Segoe UI Light" panose="020B0502040204020203" pitchFamily="34" charset="0"/>
              </a:defRPr>
            </a:lvl1pPr>
          </a:lstStyle>
          <a:p>
            <a:pPr lvl="0" algn="ctr"/>
            <a:r>
              <a:rPr lang="en-US"/>
              <a:t>Click to edit Master</a:t>
            </a:r>
          </a:p>
        </p:txBody>
      </p:sp>
      <p:sp>
        <p:nvSpPr>
          <p:cNvPr id="9" name="Text Placeholder 4">
            <a:extLst>
              <a:ext uri="{FF2B5EF4-FFF2-40B4-BE49-F238E27FC236}">
                <a16:creationId xmlns:a16="http://schemas.microsoft.com/office/drawing/2014/main" id="{E334008F-FDD1-40DA-E0AB-7B7394564520}"/>
              </a:ext>
            </a:extLst>
          </p:cNvPr>
          <p:cNvSpPr>
            <a:spLocks noGrp="1"/>
          </p:cNvSpPr>
          <p:nvPr>
            <p:ph type="body" sz="quarter" idx="32"/>
          </p:nvPr>
        </p:nvSpPr>
        <p:spPr>
          <a:xfrm>
            <a:off x="5747911" y="2042430"/>
            <a:ext cx="5038569" cy="307777"/>
          </a:xfrm>
        </p:spPr>
        <p:txBody>
          <a:bodyPr vert="horz" wrap="square" lIns="0" tIns="0" rIns="0" bIns="0" rtlCol="0" anchor="t">
            <a:spAutoFit/>
          </a:bodyPr>
          <a:lstStyle>
            <a:lvl1pPr algn="l">
              <a:defRPr kumimoji="0" lang="en-US" sz="2000" b="0" i="0" u="none" strike="noStrike" kern="1200" cap="none" spc="0" normalizeH="0" baseline="0" dirty="0">
                <a:ln>
                  <a:noFill/>
                </a:ln>
                <a:solidFill>
                  <a:srgbClr val="FFFFFF"/>
                </a:solidFill>
                <a:effectLst/>
                <a:uLnTx/>
                <a:uFillTx/>
                <a:latin typeface="Segoe UI Semibold" panose="020B0702040204020203" pitchFamily="34" charset="0"/>
                <a:ea typeface="+mn-ea"/>
                <a:cs typeface="Segoe UI Semibold" panose="020B0702040204020203" pitchFamily="34" charset="0"/>
              </a:defRPr>
            </a:lvl1pPr>
          </a:lstStyle>
          <a:p>
            <a:pPr lvl="0" algn="ctr"/>
            <a:r>
              <a:rPr lang="en-US"/>
              <a:t>Click to edit Master</a:t>
            </a:r>
          </a:p>
        </p:txBody>
      </p:sp>
      <p:sp>
        <p:nvSpPr>
          <p:cNvPr id="10" name="Text Placeholder 4">
            <a:extLst>
              <a:ext uri="{FF2B5EF4-FFF2-40B4-BE49-F238E27FC236}">
                <a16:creationId xmlns:a16="http://schemas.microsoft.com/office/drawing/2014/main" id="{EE082993-E8CA-3E0E-B7E3-73B62204DC0D}"/>
              </a:ext>
            </a:extLst>
          </p:cNvPr>
          <p:cNvSpPr>
            <a:spLocks noGrp="1"/>
          </p:cNvSpPr>
          <p:nvPr>
            <p:ph type="body" sz="quarter" idx="33"/>
          </p:nvPr>
        </p:nvSpPr>
        <p:spPr>
          <a:xfrm>
            <a:off x="5747911" y="3182269"/>
            <a:ext cx="5038569" cy="307777"/>
          </a:xfrm>
        </p:spPr>
        <p:txBody>
          <a:bodyPr vert="horz" wrap="square" lIns="0" tIns="0" rIns="0" bIns="0" rtlCol="0" anchor="t">
            <a:spAutoFit/>
          </a:bodyPr>
          <a:lstStyle>
            <a:lvl1pPr algn="l">
              <a:defRPr kumimoji="0" lang="en-US" sz="2000" b="0" i="0" u="none" strike="noStrike" kern="1200" cap="none" spc="0" normalizeH="0" baseline="0" dirty="0">
                <a:ln>
                  <a:noFill/>
                </a:ln>
                <a:solidFill>
                  <a:srgbClr val="FFFFFF"/>
                </a:solidFill>
                <a:effectLst/>
                <a:uLnTx/>
                <a:uFillTx/>
                <a:latin typeface="Segoe UI Semibold" panose="020B0702040204020203" pitchFamily="34" charset="0"/>
                <a:ea typeface="+mn-ea"/>
                <a:cs typeface="Segoe UI Semibold" panose="020B0702040204020203" pitchFamily="34" charset="0"/>
              </a:defRPr>
            </a:lvl1pPr>
          </a:lstStyle>
          <a:p>
            <a:pPr lvl="0" algn="ctr"/>
            <a:r>
              <a:rPr lang="en-US"/>
              <a:t>Click to edit Master</a:t>
            </a:r>
          </a:p>
        </p:txBody>
      </p:sp>
      <p:sp>
        <p:nvSpPr>
          <p:cNvPr id="11" name="Text Placeholder 4">
            <a:extLst>
              <a:ext uri="{FF2B5EF4-FFF2-40B4-BE49-F238E27FC236}">
                <a16:creationId xmlns:a16="http://schemas.microsoft.com/office/drawing/2014/main" id="{274990A7-3E44-C3CD-1A1D-7700CF13B0D9}"/>
              </a:ext>
            </a:extLst>
          </p:cNvPr>
          <p:cNvSpPr>
            <a:spLocks noGrp="1"/>
          </p:cNvSpPr>
          <p:nvPr>
            <p:ph type="body" sz="quarter" idx="34"/>
          </p:nvPr>
        </p:nvSpPr>
        <p:spPr>
          <a:xfrm>
            <a:off x="5747911" y="4322107"/>
            <a:ext cx="5038569" cy="307777"/>
          </a:xfrm>
        </p:spPr>
        <p:txBody>
          <a:bodyPr vert="horz" wrap="square" lIns="0" tIns="0" rIns="0" bIns="0" rtlCol="0" anchor="t">
            <a:spAutoFit/>
          </a:bodyPr>
          <a:lstStyle>
            <a:lvl1pPr algn="l">
              <a:defRPr kumimoji="0" lang="en-US" sz="2000" b="0" i="0" u="none" strike="noStrike" kern="1200" cap="none" spc="0" normalizeH="0" baseline="0" dirty="0">
                <a:ln>
                  <a:noFill/>
                </a:ln>
                <a:solidFill>
                  <a:srgbClr val="FFFFFF"/>
                </a:solidFill>
                <a:effectLst/>
                <a:uLnTx/>
                <a:uFillTx/>
                <a:latin typeface="Segoe UI Semibold" panose="020B0702040204020203" pitchFamily="34" charset="0"/>
                <a:ea typeface="+mn-ea"/>
                <a:cs typeface="Segoe UI Semibold" panose="020B0702040204020203" pitchFamily="34" charset="0"/>
              </a:defRPr>
            </a:lvl1pPr>
          </a:lstStyle>
          <a:p>
            <a:pPr lvl="0" algn="ctr"/>
            <a:r>
              <a:rPr lang="en-US"/>
              <a:t>Click to edit Master</a:t>
            </a:r>
          </a:p>
        </p:txBody>
      </p:sp>
    </p:spTree>
    <p:extLst>
      <p:ext uri="{BB962C8B-B14F-4D97-AF65-F5344CB8AC3E}">
        <p14:creationId xmlns:p14="http://schemas.microsoft.com/office/powerpoint/2010/main" val="2044631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FB571EB3-F791-0966-BABC-7D75ACC131E6}"/>
              </a:ext>
            </a:extLst>
          </p:cNvPr>
          <p:cNvSpPr>
            <a:spLocks noGrp="1"/>
          </p:cNvSpPr>
          <p:nvPr>
            <p:ph type="body" sz="quarter" idx="24"/>
          </p:nvPr>
        </p:nvSpPr>
        <p:spPr>
          <a:xfrm>
            <a:off x="886522" y="1302174"/>
            <a:ext cx="10326029" cy="316682"/>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0" i="0" kern="1200" spc="0" baseline="0" dirty="0">
                <a:solidFill>
                  <a:schemeClr val="accent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50345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1023458"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8013157" y="2017712"/>
            <a:ext cx="3155385"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246574" y="2410992"/>
            <a:ext cx="2704616" cy="830997"/>
          </a:xfrm>
        </p:spPr>
        <p:txBody>
          <a:bodyPr/>
          <a:lstStyle>
            <a:lvl1pPr algn="ctr">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1246574" y="3720800"/>
            <a:ext cx="2704616" cy="215444"/>
          </a:xfrm>
        </p:spPr>
        <p:txBody>
          <a:bodyPr/>
          <a:lstStyle>
            <a:lvl1pPr algn="ctr">
              <a:defRPr lang="en-US" sz="14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726574" y="2410992"/>
            <a:ext cx="2704616" cy="830997"/>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a:t>
            </a:r>
          </a:p>
        </p:txBody>
      </p:sp>
      <p:sp>
        <p:nvSpPr>
          <p:cNvPr id="4" name="Text Placeholder 3">
            <a:extLst>
              <a:ext uri="{FF2B5EF4-FFF2-40B4-BE49-F238E27FC236}">
                <a16:creationId xmlns:a16="http://schemas.microsoft.com/office/drawing/2014/main" id="{988130C9-489D-B6F0-FCAE-94624824B7C1}"/>
              </a:ext>
            </a:extLst>
          </p:cNvPr>
          <p:cNvSpPr>
            <a:spLocks noGrp="1"/>
          </p:cNvSpPr>
          <p:nvPr>
            <p:ph type="body" sz="quarter" idx="22"/>
          </p:nvPr>
        </p:nvSpPr>
        <p:spPr>
          <a:xfrm>
            <a:off x="4726574" y="3757313"/>
            <a:ext cx="2704616" cy="215444"/>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4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296163" y="2410992"/>
            <a:ext cx="2704615" cy="830997"/>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a:t>
            </a:r>
          </a:p>
        </p:txBody>
      </p:sp>
      <p:sp>
        <p:nvSpPr>
          <p:cNvPr id="5" name="Text Placeholder 3">
            <a:extLst>
              <a:ext uri="{FF2B5EF4-FFF2-40B4-BE49-F238E27FC236}">
                <a16:creationId xmlns:a16="http://schemas.microsoft.com/office/drawing/2014/main" id="{5822FC56-2C4F-FA9E-9E6A-687AC4D809BB}"/>
              </a:ext>
            </a:extLst>
          </p:cNvPr>
          <p:cNvSpPr>
            <a:spLocks noGrp="1"/>
          </p:cNvSpPr>
          <p:nvPr>
            <p:ph type="body" sz="quarter" idx="23"/>
          </p:nvPr>
        </p:nvSpPr>
        <p:spPr>
          <a:xfrm>
            <a:off x="8296163" y="3718218"/>
            <a:ext cx="2704615" cy="215444"/>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4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Tree>
    <p:extLst>
      <p:ext uri="{BB962C8B-B14F-4D97-AF65-F5344CB8AC3E}">
        <p14:creationId xmlns:p14="http://schemas.microsoft.com/office/powerpoint/2010/main" val="288921147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8576901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TITLE AND SU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67953" y="956922"/>
            <a:ext cx="11056094" cy="307777"/>
          </a:xfrm>
        </p:spPr>
        <p:txBody>
          <a:bodyPr/>
          <a:lstStyle>
            <a:lvl1pPr algn="ctr">
              <a:defRPr sz="2000">
                <a:solidFill>
                  <a:schemeClr val="accent2">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10" name="Text Placeholder 16">
            <a:extLst>
              <a:ext uri="{FF2B5EF4-FFF2-40B4-BE49-F238E27FC236}">
                <a16:creationId xmlns:a16="http://schemas.microsoft.com/office/drawing/2014/main" id="{4B51A31B-6B81-0353-258B-FEBB0161678E}"/>
              </a:ext>
            </a:extLst>
          </p:cNvPr>
          <p:cNvSpPr>
            <a:spLocks noGrp="1"/>
          </p:cNvSpPr>
          <p:nvPr>
            <p:ph type="body" sz="quarter" idx="24"/>
          </p:nvPr>
        </p:nvSpPr>
        <p:spPr>
          <a:xfrm>
            <a:off x="1246574" y="2108469"/>
            <a:ext cx="2704616" cy="276999"/>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 name="Text Placeholder 16">
            <a:extLst>
              <a:ext uri="{FF2B5EF4-FFF2-40B4-BE49-F238E27FC236}">
                <a16:creationId xmlns:a16="http://schemas.microsoft.com/office/drawing/2014/main" id="{B9317853-28A0-6AC9-80C8-A4163E3B27EB}"/>
              </a:ext>
            </a:extLst>
          </p:cNvPr>
          <p:cNvSpPr>
            <a:spLocks noGrp="1"/>
          </p:cNvSpPr>
          <p:nvPr>
            <p:ph type="body" sz="quarter" idx="20"/>
          </p:nvPr>
        </p:nvSpPr>
        <p:spPr>
          <a:xfrm>
            <a:off x="1246574" y="4896631"/>
            <a:ext cx="2704616" cy="830997"/>
          </a:xfrm>
        </p:spPr>
        <p:txBody>
          <a:bodyPr/>
          <a:lstStyle>
            <a:lvl1pPr algn="ctr">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a:t>
            </a:r>
          </a:p>
        </p:txBody>
      </p:sp>
      <p:sp>
        <p:nvSpPr>
          <p:cNvPr id="5" name="Text Placeholder 16">
            <a:extLst>
              <a:ext uri="{FF2B5EF4-FFF2-40B4-BE49-F238E27FC236}">
                <a16:creationId xmlns:a16="http://schemas.microsoft.com/office/drawing/2014/main" id="{2AA35CFE-E38A-464D-1743-0C2A2E4E47CE}"/>
              </a:ext>
            </a:extLst>
          </p:cNvPr>
          <p:cNvSpPr>
            <a:spLocks noGrp="1"/>
          </p:cNvSpPr>
          <p:nvPr>
            <p:ph type="body" sz="quarter" idx="21"/>
          </p:nvPr>
        </p:nvSpPr>
        <p:spPr>
          <a:xfrm>
            <a:off x="1246574" y="5730210"/>
            <a:ext cx="2704616" cy="215444"/>
          </a:xfrm>
        </p:spPr>
        <p:txBody>
          <a:bodyPr/>
          <a:lstStyle>
            <a:lvl1pPr algn="ctr">
              <a:defRPr lang="en-US" sz="14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11" name="Text Placeholder 16">
            <a:extLst>
              <a:ext uri="{FF2B5EF4-FFF2-40B4-BE49-F238E27FC236}">
                <a16:creationId xmlns:a16="http://schemas.microsoft.com/office/drawing/2014/main" id="{C2323615-EF32-59CF-BE9D-7BCEDAB7F2D2}"/>
              </a:ext>
            </a:extLst>
          </p:cNvPr>
          <p:cNvSpPr>
            <a:spLocks noGrp="1"/>
          </p:cNvSpPr>
          <p:nvPr>
            <p:ph type="body" sz="quarter" idx="25"/>
          </p:nvPr>
        </p:nvSpPr>
        <p:spPr>
          <a:xfrm>
            <a:off x="4726574" y="2108469"/>
            <a:ext cx="2704616" cy="276999"/>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6" name="Text Placeholder 3">
            <a:extLst>
              <a:ext uri="{FF2B5EF4-FFF2-40B4-BE49-F238E27FC236}">
                <a16:creationId xmlns:a16="http://schemas.microsoft.com/office/drawing/2014/main" id="{F367803D-5F4A-4875-7C57-4C8189EE12B7}"/>
              </a:ext>
            </a:extLst>
          </p:cNvPr>
          <p:cNvSpPr>
            <a:spLocks noGrp="1"/>
          </p:cNvSpPr>
          <p:nvPr>
            <p:ph type="body" sz="quarter" idx="17"/>
          </p:nvPr>
        </p:nvSpPr>
        <p:spPr>
          <a:xfrm>
            <a:off x="4726574" y="4896631"/>
            <a:ext cx="2704616" cy="830997"/>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a:t>
            </a:r>
          </a:p>
        </p:txBody>
      </p:sp>
      <p:sp>
        <p:nvSpPr>
          <p:cNvPr id="7" name="Text Placeholder 3">
            <a:extLst>
              <a:ext uri="{FF2B5EF4-FFF2-40B4-BE49-F238E27FC236}">
                <a16:creationId xmlns:a16="http://schemas.microsoft.com/office/drawing/2014/main" id="{F5998EB9-3CF1-353F-9713-28EA4F79DD87}"/>
              </a:ext>
            </a:extLst>
          </p:cNvPr>
          <p:cNvSpPr>
            <a:spLocks noGrp="1"/>
          </p:cNvSpPr>
          <p:nvPr>
            <p:ph type="body" sz="quarter" idx="22"/>
          </p:nvPr>
        </p:nvSpPr>
        <p:spPr>
          <a:xfrm>
            <a:off x="4726574" y="5766723"/>
            <a:ext cx="2704616" cy="215444"/>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4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2" name="Text Placeholder 16">
            <a:extLst>
              <a:ext uri="{FF2B5EF4-FFF2-40B4-BE49-F238E27FC236}">
                <a16:creationId xmlns:a16="http://schemas.microsoft.com/office/drawing/2014/main" id="{020B2944-2A61-02E2-4616-9FC98E984154}"/>
              </a:ext>
            </a:extLst>
          </p:cNvPr>
          <p:cNvSpPr>
            <a:spLocks noGrp="1"/>
          </p:cNvSpPr>
          <p:nvPr>
            <p:ph type="body" sz="quarter" idx="26"/>
          </p:nvPr>
        </p:nvSpPr>
        <p:spPr>
          <a:xfrm>
            <a:off x="8272648" y="2108469"/>
            <a:ext cx="2704616" cy="276999"/>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8" name="Text Placeholder 3">
            <a:extLst>
              <a:ext uri="{FF2B5EF4-FFF2-40B4-BE49-F238E27FC236}">
                <a16:creationId xmlns:a16="http://schemas.microsoft.com/office/drawing/2014/main" id="{0B2292AD-46CC-56B0-84DB-E9ABF479DB24}"/>
              </a:ext>
            </a:extLst>
          </p:cNvPr>
          <p:cNvSpPr>
            <a:spLocks noGrp="1"/>
          </p:cNvSpPr>
          <p:nvPr>
            <p:ph type="body" sz="quarter" idx="18"/>
          </p:nvPr>
        </p:nvSpPr>
        <p:spPr>
          <a:xfrm>
            <a:off x="8272649" y="4896631"/>
            <a:ext cx="2704615" cy="830997"/>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5400" kern="1200" spc="0" baseline="0" dirty="0">
                <a:solidFill>
                  <a:schemeClr val="accent2">
                    <a:lumMod val="60000"/>
                    <a:lumOff val="40000"/>
                  </a:schemeClr>
                </a:solidFill>
                <a:latin typeface="Segoe UI Semibold" panose="020B0702040204020203" pitchFamily="34" charset="0"/>
                <a:ea typeface="Segoe UI" pitchFamily="34" charset="0"/>
                <a:cs typeface="Segoe UI Semibold" panose="020B07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a:t>
            </a:r>
          </a:p>
        </p:txBody>
      </p:sp>
      <p:sp>
        <p:nvSpPr>
          <p:cNvPr id="9" name="Text Placeholder 3">
            <a:extLst>
              <a:ext uri="{FF2B5EF4-FFF2-40B4-BE49-F238E27FC236}">
                <a16:creationId xmlns:a16="http://schemas.microsoft.com/office/drawing/2014/main" id="{89DADAEB-74C0-B5CF-AC37-55FA27B5D949}"/>
              </a:ext>
            </a:extLst>
          </p:cNvPr>
          <p:cNvSpPr>
            <a:spLocks noGrp="1"/>
          </p:cNvSpPr>
          <p:nvPr>
            <p:ph type="body" sz="quarter" idx="23"/>
          </p:nvPr>
        </p:nvSpPr>
        <p:spPr>
          <a:xfrm>
            <a:off x="8272649" y="5727628"/>
            <a:ext cx="2704615" cy="215444"/>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400" b="0" i="0" kern="1200" spc="0" baseline="0" dirty="0">
                <a:solidFill>
                  <a:schemeClr val="tx1"/>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Tree>
    <p:extLst>
      <p:ext uri="{BB962C8B-B14F-4D97-AF65-F5344CB8AC3E}">
        <p14:creationId xmlns:p14="http://schemas.microsoft.com/office/powerpoint/2010/main" val="6245494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52" name="Text Placeholder 16">
            <a:extLst>
              <a:ext uri="{FF2B5EF4-FFF2-40B4-BE49-F238E27FC236}">
                <a16:creationId xmlns:a16="http://schemas.microsoft.com/office/drawing/2014/main" id="{D3C7E08C-EFD7-F033-6E93-0DF3136D888B}"/>
              </a:ext>
            </a:extLst>
          </p:cNvPr>
          <p:cNvSpPr>
            <a:spLocks noGrp="1"/>
          </p:cNvSpPr>
          <p:nvPr userDrawn="1">
            <p:ph type="body" sz="quarter" idx="27"/>
          </p:nvPr>
        </p:nvSpPr>
        <p:spPr>
          <a:xfrm>
            <a:off x="563566" y="1436688"/>
            <a:ext cx="10656230" cy="215444"/>
          </a:xfrm>
        </p:spPr>
        <p:txBody>
          <a:bodyPr/>
          <a:lstStyle>
            <a:lvl1pPr algn="l">
              <a:spcBef>
                <a:spcPts val="600"/>
              </a:spcBef>
              <a:defRPr lang="en-US" sz="14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5" name="Text Placeholder 16">
            <a:extLst>
              <a:ext uri="{FF2B5EF4-FFF2-40B4-BE49-F238E27FC236}">
                <a16:creationId xmlns:a16="http://schemas.microsoft.com/office/drawing/2014/main" id="{270169D1-5BC1-1CB5-36DE-48A82B8A92A5}"/>
              </a:ext>
            </a:extLst>
          </p:cNvPr>
          <p:cNvSpPr>
            <a:spLocks noGrp="1"/>
          </p:cNvSpPr>
          <p:nvPr userDrawn="1">
            <p:ph type="body" sz="quarter" idx="20"/>
          </p:nvPr>
        </p:nvSpPr>
        <p:spPr>
          <a:xfrm rot="16200000">
            <a:off x="-133658" y="3975808"/>
            <a:ext cx="1969006" cy="430887"/>
          </a:xfrm>
        </p:spPr>
        <p:txBody>
          <a:bodyPr/>
          <a:lstStyle>
            <a:lvl1pPr algn="ctr">
              <a:defRPr lang="en-US" sz="28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a:t>
            </a:r>
          </a:p>
        </p:txBody>
      </p:sp>
      <p:sp>
        <p:nvSpPr>
          <p:cNvPr id="46" name="Text Placeholder 16">
            <a:extLst>
              <a:ext uri="{FF2B5EF4-FFF2-40B4-BE49-F238E27FC236}">
                <a16:creationId xmlns:a16="http://schemas.microsoft.com/office/drawing/2014/main" id="{F9116E86-B1D2-9907-F707-4B5BEF9E0D9D}"/>
              </a:ext>
            </a:extLst>
          </p:cNvPr>
          <p:cNvSpPr>
            <a:spLocks noGrp="1"/>
          </p:cNvSpPr>
          <p:nvPr userDrawn="1">
            <p:ph type="body" sz="quarter" idx="21"/>
          </p:nvPr>
        </p:nvSpPr>
        <p:spPr>
          <a:xfrm>
            <a:off x="1173354"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7" name="Text Placeholder 16">
            <a:extLst>
              <a:ext uri="{FF2B5EF4-FFF2-40B4-BE49-F238E27FC236}">
                <a16:creationId xmlns:a16="http://schemas.microsoft.com/office/drawing/2014/main" id="{E7DDBB3D-50A1-F3D1-3408-9E1FBF56C393}"/>
              </a:ext>
            </a:extLst>
          </p:cNvPr>
          <p:cNvSpPr>
            <a:spLocks noGrp="1"/>
          </p:cNvSpPr>
          <p:nvPr userDrawn="1">
            <p:ph type="body" sz="quarter" idx="22"/>
          </p:nvPr>
        </p:nvSpPr>
        <p:spPr>
          <a:xfrm>
            <a:off x="2941473"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8" name="Text Placeholder 16">
            <a:extLst>
              <a:ext uri="{FF2B5EF4-FFF2-40B4-BE49-F238E27FC236}">
                <a16:creationId xmlns:a16="http://schemas.microsoft.com/office/drawing/2014/main" id="{D95B9959-0B82-4076-D032-9A768224D60D}"/>
              </a:ext>
            </a:extLst>
          </p:cNvPr>
          <p:cNvSpPr>
            <a:spLocks noGrp="1"/>
          </p:cNvSpPr>
          <p:nvPr userDrawn="1">
            <p:ph type="body" sz="quarter" idx="23"/>
          </p:nvPr>
        </p:nvSpPr>
        <p:spPr>
          <a:xfrm>
            <a:off x="4709592"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9" name="Text Placeholder 16">
            <a:extLst>
              <a:ext uri="{FF2B5EF4-FFF2-40B4-BE49-F238E27FC236}">
                <a16:creationId xmlns:a16="http://schemas.microsoft.com/office/drawing/2014/main" id="{2240FFA7-8FD8-232A-8087-660A4C81B511}"/>
              </a:ext>
            </a:extLst>
          </p:cNvPr>
          <p:cNvSpPr>
            <a:spLocks noGrp="1"/>
          </p:cNvSpPr>
          <p:nvPr userDrawn="1">
            <p:ph type="body" sz="quarter" idx="24"/>
          </p:nvPr>
        </p:nvSpPr>
        <p:spPr>
          <a:xfrm>
            <a:off x="6477711"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0" name="Text Placeholder 16">
            <a:extLst>
              <a:ext uri="{FF2B5EF4-FFF2-40B4-BE49-F238E27FC236}">
                <a16:creationId xmlns:a16="http://schemas.microsoft.com/office/drawing/2014/main" id="{8EBD5B07-4080-799D-7FCB-CC783C8690D1}"/>
              </a:ext>
            </a:extLst>
          </p:cNvPr>
          <p:cNvSpPr>
            <a:spLocks noGrp="1"/>
          </p:cNvSpPr>
          <p:nvPr userDrawn="1">
            <p:ph type="body" sz="quarter" idx="25"/>
          </p:nvPr>
        </p:nvSpPr>
        <p:spPr>
          <a:xfrm>
            <a:off x="8245830"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1" name="Text Placeholder 16">
            <a:extLst>
              <a:ext uri="{FF2B5EF4-FFF2-40B4-BE49-F238E27FC236}">
                <a16:creationId xmlns:a16="http://schemas.microsoft.com/office/drawing/2014/main" id="{922D108F-8C2B-5FB3-DCE4-A07B98A2A510}"/>
              </a:ext>
            </a:extLst>
          </p:cNvPr>
          <p:cNvSpPr>
            <a:spLocks noGrp="1"/>
          </p:cNvSpPr>
          <p:nvPr userDrawn="1">
            <p:ph type="body" sz="quarter" idx="26"/>
          </p:nvPr>
        </p:nvSpPr>
        <p:spPr>
          <a:xfrm>
            <a:off x="10013950"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4" name="Text Placeholder 16">
            <a:extLst>
              <a:ext uri="{FF2B5EF4-FFF2-40B4-BE49-F238E27FC236}">
                <a16:creationId xmlns:a16="http://schemas.microsoft.com/office/drawing/2014/main" id="{96AAE2F1-38AB-1BCF-2B95-6D87DF9DDD76}"/>
              </a:ext>
            </a:extLst>
          </p:cNvPr>
          <p:cNvSpPr>
            <a:spLocks noGrp="1"/>
          </p:cNvSpPr>
          <p:nvPr userDrawn="1">
            <p:ph type="body" sz="quarter" idx="28"/>
          </p:nvPr>
        </p:nvSpPr>
        <p:spPr>
          <a:xfrm>
            <a:off x="583238" y="6230208"/>
            <a:ext cx="5658812" cy="276999"/>
          </a:xfrm>
        </p:spPr>
        <p:txBody>
          <a:bodyPr/>
          <a:lstStyle>
            <a:lvl1pPr algn="l">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5" name="Text Placeholder 16">
            <a:extLst>
              <a:ext uri="{FF2B5EF4-FFF2-40B4-BE49-F238E27FC236}">
                <a16:creationId xmlns:a16="http://schemas.microsoft.com/office/drawing/2014/main" id="{647130FA-FF24-370C-1ABC-037E40622A61}"/>
              </a:ext>
            </a:extLst>
          </p:cNvPr>
          <p:cNvSpPr>
            <a:spLocks noGrp="1"/>
          </p:cNvSpPr>
          <p:nvPr userDrawn="1">
            <p:ph type="body" sz="quarter" idx="29"/>
          </p:nvPr>
        </p:nvSpPr>
        <p:spPr>
          <a:xfrm>
            <a:off x="8150925" y="6246941"/>
            <a:ext cx="3905116" cy="215444"/>
          </a:xfrm>
        </p:spPr>
        <p:txBody>
          <a:bodyPr/>
          <a:lstStyle>
            <a:lvl1pPr algn="l">
              <a:defRPr lang="en-US" sz="14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4343753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9" name="Text Placeholder 3">
            <a:extLst>
              <a:ext uri="{FF2B5EF4-FFF2-40B4-BE49-F238E27FC236}">
                <a16:creationId xmlns:a16="http://schemas.microsoft.com/office/drawing/2014/main" id="{ED573360-5367-C61C-39FC-5A6625DFDFE3}"/>
              </a:ext>
            </a:extLst>
          </p:cNvPr>
          <p:cNvSpPr>
            <a:spLocks noGrp="1"/>
          </p:cNvSpPr>
          <p:nvPr>
            <p:ph type="body" sz="quarter" idx="10"/>
          </p:nvPr>
        </p:nvSpPr>
        <p:spPr>
          <a:xfrm>
            <a:off x="592708" y="1018108"/>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379460"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588263"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8170658" y="2010100"/>
            <a:ext cx="3438730" cy="425893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774373" y="2309068"/>
            <a:ext cx="3076259" cy="984885"/>
          </a:xfrm>
        </p:spPr>
        <p:txBody>
          <a:bodyPr/>
          <a:lstStyle>
            <a:lvl1pPr algn="ctr">
              <a:defRPr kumimoji="0" lang="en-US" sz="3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3" name="Text Placeholder 16">
            <a:extLst>
              <a:ext uri="{FF2B5EF4-FFF2-40B4-BE49-F238E27FC236}">
                <a16:creationId xmlns:a16="http://schemas.microsoft.com/office/drawing/2014/main" id="{419DAE43-6477-DD7A-7D8D-14C4481A86E0}"/>
              </a:ext>
            </a:extLst>
          </p:cNvPr>
          <p:cNvSpPr>
            <a:spLocks noGrp="1"/>
          </p:cNvSpPr>
          <p:nvPr>
            <p:ph type="body" sz="quarter" idx="21"/>
          </p:nvPr>
        </p:nvSpPr>
        <p:spPr>
          <a:xfrm>
            <a:off x="774373" y="3429000"/>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7" name="Text Placeholder 16">
            <a:extLst>
              <a:ext uri="{FF2B5EF4-FFF2-40B4-BE49-F238E27FC236}">
                <a16:creationId xmlns:a16="http://schemas.microsoft.com/office/drawing/2014/main" id="{8A9BB07C-8F49-D57D-7CDE-3FB9DBDEEAEB}"/>
              </a:ext>
            </a:extLst>
          </p:cNvPr>
          <p:cNvSpPr>
            <a:spLocks noGrp="1"/>
          </p:cNvSpPr>
          <p:nvPr>
            <p:ph type="body" sz="quarter" idx="24"/>
          </p:nvPr>
        </p:nvSpPr>
        <p:spPr>
          <a:xfrm>
            <a:off x="774373" y="5232268"/>
            <a:ext cx="3076259" cy="304699"/>
          </a:xfrm>
        </p:spPr>
        <p:txBody>
          <a:bodyPr/>
          <a:lstStyle>
            <a:lvl1pPr algn="ctr">
              <a:defRPr lang="en-US" sz="900" b="0" kern="1200" spc="0" baseline="0" dirty="0">
                <a:solidFill>
                  <a:schemeClr val="accent2">
                    <a:lumMod val="60000"/>
                    <a:lumOff val="40000"/>
                  </a:schemeClr>
                </a:solidFill>
                <a:latin typeface="+mn-lt"/>
                <a:ea typeface="+mn-ea"/>
                <a:cs typeface="Segoe UI" panose="020B0502040204020203" pitchFamily="34" charset="0"/>
              </a:defRPr>
            </a:lvl1pPr>
            <a:lvl2pPr algn="ctr">
              <a:defRPr sz="9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48" name="Text Placeholder 16">
            <a:extLst>
              <a:ext uri="{FF2B5EF4-FFF2-40B4-BE49-F238E27FC236}">
                <a16:creationId xmlns:a16="http://schemas.microsoft.com/office/drawing/2014/main" id="{E5CE76E3-AE45-0945-17E1-766B24B2D30D}"/>
              </a:ext>
            </a:extLst>
          </p:cNvPr>
          <p:cNvSpPr>
            <a:spLocks noGrp="1"/>
          </p:cNvSpPr>
          <p:nvPr>
            <p:ph type="body" sz="quarter" idx="25"/>
          </p:nvPr>
        </p:nvSpPr>
        <p:spPr>
          <a:xfrm>
            <a:off x="4565570" y="2309068"/>
            <a:ext cx="3076259" cy="984885"/>
          </a:xfrm>
        </p:spPr>
        <p:txBody>
          <a:bodyPr/>
          <a:lstStyle>
            <a:lvl1pPr algn="ctr">
              <a:defRPr kumimoji="0" lang="en-US" sz="3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9" name="Text Placeholder 16">
            <a:extLst>
              <a:ext uri="{FF2B5EF4-FFF2-40B4-BE49-F238E27FC236}">
                <a16:creationId xmlns:a16="http://schemas.microsoft.com/office/drawing/2014/main" id="{E48E66DB-1533-D6EF-4A3E-EA1A5D095324}"/>
              </a:ext>
            </a:extLst>
          </p:cNvPr>
          <p:cNvSpPr>
            <a:spLocks noGrp="1"/>
          </p:cNvSpPr>
          <p:nvPr>
            <p:ph type="body" sz="quarter" idx="26"/>
          </p:nvPr>
        </p:nvSpPr>
        <p:spPr>
          <a:xfrm>
            <a:off x="4565570" y="3429000"/>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0" name="Text Placeholder 16">
            <a:extLst>
              <a:ext uri="{FF2B5EF4-FFF2-40B4-BE49-F238E27FC236}">
                <a16:creationId xmlns:a16="http://schemas.microsoft.com/office/drawing/2014/main" id="{05059835-E9BC-A32A-3E81-AB2AFDA26CD9}"/>
              </a:ext>
            </a:extLst>
          </p:cNvPr>
          <p:cNvSpPr>
            <a:spLocks noGrp="1"/>
          </p:cNvSpPr>
          <p:nvPr>
            <p:ph type="body" sz="quarter" idx="27"/>
          </p:nvPr>
        </p:nvSpPr>
        <p:spPr>
          <a:xfrm>
            <a:off x="4565570" y="5232268"/>
            <a:ext cx="3076259" cy="304699"/>
          </a:xfrm>
        </p:spPr>
        <p:txBody>
          <a:bodyPr/>
          <a:lstStyle>
            <a:lvl1pPr algn="ctr">
              <a:defRPr lang="en-US" sz="900" b="0" kern="1200" spc="0" baseline="0" dirty="0">
                <a:solidFill>
                  <a:schemeClr val="accent2">
                    <a:lumMod val="60000"/>
                    <a:lumOff val="40000"/>
                  </a:schemeClr>
                </a:solidFill>
                <a:latin typeface="+mn-lt"/>
                <a:ea typeface="+mn-ea"/>
                <a:cs typeface="Segoe UI" panose="020B0502040204020203" pitchFamily="34" charset="0"/>
              </a:defRPr>
            </a:lvl1pPr>
            <a:lvl2pPr algn="ctr">
              <a:defRPr sz="9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
        <p:nvSpPr>
          <p:cNvPr id="51" name="Text Placeholder 16">
            <a:extLst>
              <a:ext uri="{FF2B5EF4-FFF2-40B4-BE49-F238E27FC236}">
                <a16:creationId xmlns:a16="http://schemas.microsoft.com/office/drawing/2014/main" id="{DD683300-8AE2-B6F6-8521-1723B2FF71C9}"/>
              </a:ext>
            </a:extLst>
          </p:cNvPr>
          <p:cNvSpPr>
            <a:spLocks noGrp="1"/>
          </p:cNvSpPr>
          <p:nvPr>
            <p:ph type="body" sz="quarter" idx="28"/>
          </p:nvPr>
        </p:nvSpPr>
        <p:spPr>
          <a:xfrm>
            <a:off x="8356768" y="2309068"/>
            <a:ext cx="3076259" cy="984885"/>
          </a:xfrm>
        </p:spPr>
        <p:txBody>
          <a:bodyPr/>
          <a:lstStyle>
            <a:lvl1pPr algn="ctr">
              <a:defRPr kumimoji="0" lang="en-US" sz="3200" b="0" i="0" u="none" strike="noStrike" kern="1200" cap="none" spc="0" normalizeH="0" baseline="0" dirty="0">
                <a:ln>
                  <a:noFill/>
                </a:ln>
                <a:solidFill>
                  <a:schemeClr val="accent2">
                    <a:lumMod val="60000"/>
                    <a:lumOff val="40000"/>
                  </a:schemeClr>
                </a:solidFill>
                <a:effectLst/>
                <a:uLnTx/>
                <a:uFillTx/>
                <a:latin typeface="Segoe UI Semibold"/>
                <a:ea typeface="+mn-ea"/>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2" name="Text Placeholder 16">
            <a:extLst>
              <a:ext uri="{FF2B5EF4-FFF2-40B4-BE49-F238E27FC236}">
                <a16:creationId xmlns:a16="http://schemas.microsoft.com/office/drawing/2014/main" id="{1ED97302-8FE4-F59C-0E27-F086728BDAA1}"/>
              </a:ext>
            </a:extLst>
          </p:cNvPr>
          <p:cNvSpPr>
            <a:spLocks noGrp="1"/>
          </p:cNvSpPr>
          <p:nvPr>
            <p:ph type="body" sz="quarter" idx="29"/>
          </p:nvPr>
        </p:nvSpPr>
        <p:spPr>
          <a:xfrm>
            <a:off x="8356768" y="3429000"/>
            <a:ext cx="3076259" cy="615553"/>
          </a:xfrm>
        </p:spPr>
        <p:txBody>
          <a:bodyPr/>
          <a:lstStyle>
            <a:lvl1pPr algn="ctr">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3" name="Text Placeholder 16">
            <a:extLst>
              <a:ext uri="{FF2B5EF4-FFF2-40B4-BE49-F238E27FC236}">
                <a16:creationId xmlns:a16="http://schemas.microsoft.com/office/drawing/2014/main" id="{FEAB4685-EFA3-9A65-0D02-B6BE3AAA70AF}"/>
              </a:ext>
            </a:extLst>
          </p:cNvPr>
          <p:cNvSpPr>
            <a:spLocks noGrp="1"/>
          </p:cNvSpPr>
          <p:nvPr>
            <p:ph type="body" sz="quarter" idx="30"/>
          </p:nvPr>
        </p:nvSpPr>
        <p:spPr>
          <a:xfrm>
            <a:off x="8356768" y="5232268"/>
            <a:ext cx="3076259" cy="304699"/>
          </a:xfrm>
        </p:spPr>
        <p:txBody>
          <a:bodyPr/>
          <a:lstStyle>
            <a:lvl1pPr algn="ctr">
              <a:defRPr lang="en-US" sz="900" b="0" kern="1200" spc="0" baseline="0" dirty="0">
                <a:solidFill>
                  <a:schemeClr val="accent2">
                    <a:lumMod val="60000"/>
                    <a:lumOff val="40000"/>
                  </a:schemeClr>
                </a:solidFill>
                <a:latin typeface="+mn-lt"/>
                <a:ea typeface="+mn-ea"/>
                <a:cs typeface="Segoe UI" panose="020B0502040204020203" pitchFamily="34" charset="0"/>
              </a:defRPr>
            </a:lvl1pPr>
            <a:lvl2pPr algn="ctr">
              <a:defRPr sz="9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a:p>
            <a:pPr lvl="1"/>
            <a:r>
              <a:rPr lang="en-US"/>
              <a:t>second</a:t>
            </a:r>
          </a:p>
        </p:txBody>
      </p:sp>
    </p:spTree>
    <p:extLst>
      <p:ext uri="{BB962C8B-B14F-4D97-AF65-F5344CB8AC3E}">
        <p14:creationId xmlns:p14="http://schemas.microsoft.com/office/powerpoint/2010/main" val="177183178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98116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752126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EB2D0-8F4C-4F21-BBBB-BD5B16A0A64C}"/>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32521DE7-7566-4E60-8A22-114C9E64CE6A}"/>
              </a:ext>
            </a:extLst>
          </p:cNvPr>
          <p:cNvSpPr>
            <a:spLocks noGrp="1"/>
          </p:cNvSpPr>
          <p:nvPr>
            <p:ph sz="quarter" idx="10"/>
          </p:nvPr>
        </p:nvSpPr>
        <p:spPr>
          <a:xfrm>
            <a:off x="668338" y="1438275"/>
            <a:ext cx="3836987" cy="430887"/>
          </a:xfrm>
        </p:spPr>
        <p:txBody>
          <a:bodyPr/>
          <a:lstStyle/>
          <a:p>
            <a:pPr lvl="0"/>
            <a:endParaRPr lang="en-US"/>
          </a:p>
        </p:txBody>
      </p:sp>
      <p:sp>
        <p:nvSpPr>
          <p:cNvPr id="5" name="Content Placeholder 3">
            <a:extLst>
              <a:ext uri="{FF2B5EF4-FFF2-40B4-BE49-F238E27FC236}">
                <a16:creationId xmlns:a16="http://schemas.microsoft.com/office/drawing/2014/main" id="{84D56B1E-AD22-43E0-81A6-0A27E2426B02}"/>
              </a:ext>
            </a:extLst>
          </p:cNvPr>
          <p:cNvSpPr>
            <a:spLocks noGrp="1"/>
          </p:cNvSpPr>
          <p:nvPr>
            <p:ph sz="quarter" idx="11"/>
          </p:nvPr>
        </p:nvSpPr>
        <p:spPr>
          <a:xfrm>
            <a:off x="668338" y="2296239"/>
            <a:ext cx="3836987" cy="430887"/>
          </a:xfrm>
        </p:spPr>
        <p:txBody>
          <a:bodyPr/>
          <a:lstStyle/>
          <a:p>
            <a:pPr lvl="0"/>
            <a:endParaRPr lang="en-US"/>
          </a:p>
        </p:txBody>
      </p:sp>
      <p:sp>
        <p:nvSpPr>
          <p:cNvPr id="6" name="Content Placeholder 3">
            <a:extLst>
              <a:ext uri="{FF2B5EF4-FFF2-40B4-BE49-F238E27FC236}">
                <a16:creationId xmlns:a16="http://schemas.microsoft.com/office/drawing/2014/main" id="{F91077E4-134A-40DF-A44F-3F0B08225D75}"/>
              </a:ext>
            </a:extLst>
          </p:cNvPr>
          <p:cNvSpPr>
            <a:spLocks noGrp="1"/>
          </p:cNvSpPr>
          <p:nvPr>
            <p:ph sz="quarter" idx="12"/>
          </p:nvPr>
        </p:nvSpPr>
        <p:spPr>
          <a:xfrm>
            <a:off x="668338" y="2998113"/>
            <a:ext cx="3836987" cy="430887"/>
          </a:xfrm>
        </p:spPr>
        <p:txBody>
          <a:bodyPr/>
          <a:lstStyle/>
          <a:p>
            <a:pPr lvl="0"/>
            <a:endParaRPr lang="en-US"/>
          </a:p>
        </p:txBody>
      </p:sp>
      <p:sp>
        <p:nvSpPr>
          <p:cNvPr id="7" name="Content Placeholder 3">
            <a:extLst>
              <a:ext uri="{FF2B5EF4-FFF2-40B4-BE49-F238E27FC236}">
                <a16:creationId xmlns:a16="http://schemas.microsoft.com/office/drawing/2014/main" id="{93EDDCB8-78E3-4CB9-BDFD-D5D43CF5A45E}"/>
              </a:ext>
            </a:extLst>
          </p:cNvPr>
          <p:cNvSpPr>
            <a:spLocks noGrp="1"/>
          </p:cNvSpPr>
          <p:nvPr>
            <p:ph sz="quarter" idx="13"/>
          </p:nvPr>
        </p:nvSpPr>
        <p:spPr>
          <a:xfrm>
            <a:off x="668338" y="3856077"/>
            <a:ext cx="3836987" cy="430887"/>
          </a:xfrm>
        </p:spPr>
        <p:txBody>
          <a:bodyPr/>
          <a:lstStyle/>
          <a:p>
            <a:pPr lvl="0"/>
            <a:endParaRPr lang="en-US"/>
          </a:p>
        </p:txBody>
      </p:sp>
      <p:sp>
        <p:nvSpPr>
          <p:cNvPr id="8" name="Content Placeholder 3">
            <a:extLst>
              <a:ext uri="{FF2B5EF4-FFF2-40B4-BE49-F238E27FC236}">
                <a16:creationId xmlns:a16="http://schemas.microsoft.com/office/drawing/2014/main" id="{CD438C14-A4F9-4297-8F49-4B5C7E802998}"/>
              </a:ext>
            </a:extLst>
          </p:cNvPr>
          <p:cNvSpPr>
            <a:spLocks noGrp="1"/>
          </p:cNvSpPr>
          <p:nvPr>
            <p:ph sz="quarter" idx="14"/>
          </p:nvPr>
        </p:nvSpPr>
        <p:spPr>
          <a:xfrm>
            <a:off x="5682670" y="1438275"/>
            <a:ext cx="3836987" cy="430887"/>
          </a:xfrm>
        </p:spPr>
        <p:txBody>
          <a:bodyPr/>
          <a:lstStyle/>
          <a:p>
            <a:pPr lvl="0"/>
            <a:endParaRPr lang="en-US"/>
          </a:p>
        </p:txBody>
      </p:sp>
      <p:sp>
        <p:nvSpPr>
          <p:cNvPr id="9" name="Content Placeholder 3">
            <a:extLst>
              <a:ext uri="{FF2B5EF4-FFF2-40B4-BE49-F238E27FC236}">
                <a16:creationId xmlns:a16="http://schemas.microsoft.com/office/drawing/2014/main" id="{1C067363-0DA4-44A0-B2AD-545C09D09561}"/>
              </a:ext>
            </a:extLst>
          </p:cNvPr>
          <p:cNvSpPr>
            <a:spLocks noGrp="1"/>
          </p:cNvSpPr>
          <p:nvPr>
            <p:ph sz="quarter" idx="15"/>
          </p:nvPr>
        </p:nvSpPr>
        <p:spPr>
          <a:xfrm>
            <a:off x="5682670" y="2296239"/>
            <a:ext cx="3836987" cy="430887"/>
          </a:xfrm>
        </p:spPr>
        <p:txBody>
          <a:bodyPr/>
          <a:lstStyle/>
          <a:p>
            <a:pPr lvl="0"/>
            <a:endParaRPr lang="en-US"/>
          </a:p>
        </p:txBody>
      </p:sp>
      <p:sp>
        <p:nvSpPr>
          <p:cNvPr id="10" name="Content Placeholder 3">
            <a:extLst>
              <a:ext uri="{FF2B5EF4-FFF2-40B4-BE49-F238E27FC236}">
                <a16:creationId xmlns:a16="http://schemas.microsoft.com/office/drawing/2014/main" id="{4DA634C5-82D5-4BC5-8A19-8B59621455AF}"/>
              </a:ext>
            </a:extLst>
          </p:cNvPr>
          <p:cNvSpPr>
            <a:spLocks noGrp="1"/>
          </p:cNvSpPr>
          <p:nvPr>
            <p:ph sz="quarter" idx="16"/>
          </p:nvPr>
        </p:nvSpPr>
        <p:spPr>
          <a:xfrm>
            <a:off x="5768183" y="3213556"/>
            <a:ext cx="3836987" cy="430887"/>
          </a:xfrm>
        </p:spPr>
        <p:txBody>
          <a:bodyPr/>
          <a:lstStyle/>
          <a:p>
            <a:pPr lvl="0"/>
            <a:endParaRPr lang="en-US"/>
          </a:p>
        </p:txBody>
      </p:sp>
      <p:sp>
        <p:nvSpPr>
          <p:cNvPr id="11" name="Content Placeholder 3">
            <a:extLst>
              <a:ext uri="{FF2B5EF4-FFF2-40B4-BE49-F238E27FC236}">
                <a16:creationId xmlns:a16="http://schemas.microsoft.com/office/drawing/2014/main" id="{6998D792-543F-48DD-B22A-F7AEB55517D8}"/>
              </a:ext>
            </a:extLst>
          </p:cNvPr>
          <p:cNvSpPr>
            <a:spLocks noGrp="1"/>
          </p:cNvSpPr>
          <p:nvPr>
            <p:ph sz="quarter" idx="17"/>
          </p:nvPr>
        </p:nvSpPr>
        <p:spPr>
          <a:xfrm>
            <a:off x="5768183" y="4071520"/>
            <a:ext cx="3836987" cy="430887"/>
          </a:xfrm>
        </p:spPr>
        <p:txBody>
          <a:bodyPr/>
          <a:lstStyle/>
          <a:p>
            <a:pPr lvl="0"/>
            <a:endParaRPr lang="en-US"/>
          </a:p>
        </p:txBody>
      </p:sp>
      <p:sp>
        <p:nvSpPr>
          <p:cNvPr id="12" name="Content Placeholder 3">
            <a:extLst>
              <a:ext uri="{FF2B5EF4-FFF2-40B4-BE49-F238E27FC236}">
                <a16:creationId xmlns:a16="http://schemas.microsoft.com/office/drawing/2014/main" id="{19364BF2-0C03-422B-B1B6-25D7313E18C5}"/>
              </a:ext>
            </a:extLst>
          </p:cNvPr>
          <p:cNvSpPr>
            <a:spLocks noGrp="1"/>
          </p:cNvSpPr>
          <p:nvPr>
            <p:ph sz="quarter" idx="18"/>
          </p:nvPr>
        </p:nvSpPr>
        <p:spPr>
          <a:xfrm>
            <a:off x="668338" y="4988838"/>
            <a:ext cx="3836987" cy="430887"/>
          </a:xfrm>
        </p:spPr>
        <p:txBody>
          <a:bodyPr/>
          <a:lstStyle/>
          <a:p>
            <a:pPr lvl="0"/>
            <a:endParaRPr lang="en-US"/>
          </a:p>
        </p:txBody>
      </p:sp>
    </p:spTree>
    <p:extLst>
      <p:ext uri="{BB962C8B-B14F-4D97-AF65-F5344CB8AC3E}">
        <p14:creationId xmlns:p14="http://schemas.microsoft.com/office/powerpoint/2010/main" val="330363864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703268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99867376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815840" y="1257534"/>
            <a:ext cx="2560320"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1705982" y="1294047"/>
            <a:ext cx="2560320"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7978140" y="1296629"/>
            <a:ext cx="2560320"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998720" y="3544904"/>
            <a:ext cx="2194560"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161020" y="3544904"/>
            <a:ext cx="2194560"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888862" y="3544904"/>
            <a:ext cx="2194560" cy="615553"/>
          </a:xfrm>
        </p:spPr>
        <p:txBody>
          <a:bodyPr/>
          <a:lstStyle>
            <a:lvl1pPr algn="ctr">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49782022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a:xfrm>
            <a:off x="588263" y="457200"/>
            <a:ext cx="11018520" cy="492443"/>
          </a:xfrm>
        </p:spPr>
        <p:txBody>
          <a:bodyPr/>
          <a:lstStyle/>
          <a:p>
            <a:r>
              <a:rPr lang="en-US"/>
              <a:t>Click to edit Master title style</a:t>
            </a:r>
          </a:p>
        </p:txBody>
      </p:sp>
      <p:sp>
        <p:nvSpPr>
          <p:cNvPr id="8" name="Rectangle 7">
            <a:extLst>
              <a:ext uri="{FF2B5EF4-FFF2-40B4-BE49-F238E27FC236}">
                <a16:creationId xmlns:a16="http://schemas.microsoft.com/office/drawing/2014/main" id="{942B8C39-8B1B-469C-950E-7C5FFE1EA4D9}"/>
              </a:ext>
              <a:ext uri="{C183D7F6-B498-43B3-948B-1728B52AA6E4}">
                <adec:decorative xmlns:adec="http://schemas.microsoft.com/office/drawing/2017/decorative" val="1"/>
              </a:ext>
            </a:extLst>
          </p:cNvPr>
          <p:cNvSpPr/>
          <p:nvPr userDrawn="1"/>
        </p:nvSpPr>
        <p:spPr bwMode="auto">
          <a:xfrm>
            <a:off x="3289311" y="2033679"/>
            <a:ext cx="8320077" cy="4251960"/>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9" name="Text Placeholder 9">
            <a:extLst>
              <a:ext uri="{FF2B5EF4-FFF2-40B4-BE49-F238E27FC236}">
                <a16:creationId xmlns:a16="http://schemas.microsoft.com/office/drawing/2014/main" id="{72F70E2D-25D0-4249-867C-931BEFB01138}"/>
              </a:ext>
            </a:extLst>
          </p:cNvPr>
          <p:cNvSpPr>
            <a:spLocks noGrp="1"/>
          </p:cNvSpPr>
          <p:nvPr>
            <p:ph type="body" sz="quarter" idx="10"/>
          </p:nvPr>
        </p:nvSpPr>
        <p:spPr>
          <a:xfrm>
            <a:off x="585217" y="3429000"/>
            <a:ext cx="2013203" cy="369332"/>
          </a:xfrm>
        </p:spPr>
        <p:txBody>
          <a:bodyPr lIns="182880" rIns="182880"/>
          <a:lstStyle>
            <a:lvl1pPr marL="0" indent="0" algn="ctr">
              <a:spcBef>
                <a:spcPts val="0"/>
              </a:spcBef>
              <a:spcAft>
                <a:spcPts val="1800"/>
              </a:spcAft>
              <a:buNone/>
              <a:defRPr lang="en-US" sz="2400" b="1" kern="1200" spc="0" baseline="0" dirty="0" smtClean="0">
                <a:solidFill>
                  <a:schemeClr val="accent1">
                    <a:lumMod val="60000"/>
                    <a:lumOff val="40000"/>
                  </a:schemeClr>
                </a:solidFill>
                <a:latin typeface="+mn-lt"/>
                <a:ea typeface="+mn-ea"/>
                <a:cs typeface="Segoe UI" panose="020B0502040204020203" pitchFamily="34" charset="0"/>
              </a:defRPr>
            </a:lvl1pPr>
            <a:lvl2pPr marL="0" indent="0" algn="ctr">
              <a:buNone/>
              <a:defRPr sz="1800">
                <a:solidFill>
                  <a:schemeClr val="tx1">
                    <a:lumMod val="75000"/>
                  </a:schemeClr>
                </a:solidFill>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lgn="ctr">
              <a:spcBef>
                <a:spcPts val="0"/>
              </a:spcBef>
              <a:spcAft>
                <a:spcPts val="1800"/>
              </a:spcAft>
              <a:buFont typeface="Arial" panose="020B0604020202020204" pitchFamily="34" charset="0"/>
              <a:buNone/>
              <a:defRPr sz="1100"/>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a:t>
            </a:r>
          </a:p>
        </p:txBody>
      </p:sp>
      <p:sp>
        <p:nvSpPr>
          <p:cNvPr id="13" name="Text Placeholder 9">
            <a:extLst>
              <a:ext uri="{FF2B5EF4-FFF2-40B4-BE49-F238E27FC236}">
                <a16:creationId xmlns:a16="http://schemas.microsoft.com/office/drawing/2014/main" id="{C0DB3D93-3595-43C5-A252-B4D6D4F85C46}"/>
              </a:ext>
            </a:extLst>
          </p:cNvPr>
          <p:cNvSpPr>
            <a:spLocks noGrp="1"/>
          </p:cNvSpPr>
          <p:nvPr>
            <p:ph type="body" sz="quarter" idx="11"/>
          </p:nvPr>
        </p:nvSpPr>
        <p:spPr>
          <a:xfrm>
            <a:off x="585217" y="4006860"/>
            <a:ext cx="2013203" cy="369332"/>
          </a:xfrm>
        </p:spPr>
        <p:txBody>
          <a:bodyPr lIns="182880" rIns="182880"/>
          <a:lstStyle>
            <a:lvl1pPr marL="0" indent="0" algn="ctr">
              <a:spcBef>
                <a:spcPts val="0"/>
              </a:spcBef>
              <a:spcAft>
                <a:spcPts val="1800"/>
              </a:spcAft>
              <a:buNone/>
              <a:defRPr sz="2400" b="1">
                <a:solidFill>
                  <a:schemeClr val="accent1">
                    <a:lumMod val="60000"/>
                    <a:lumOff val="40000"/>
                  </a:schemeClr>
                </a:solidFill>
                <a:latin typeface="+mn-lt"/>
              </a:defRPr>
            </a:lvl1pPr>
            <a:lvl2pPr marL="0" indent="0" algn="ctr">
              <a:buNone/>
              <a:defRPr lang="en-US" sz="1800" kern="1200" spc="0" baseline="0" dirty="0" smtClean="0">
                <a:solidFill>
                  <a:schemeClr val="tx1">
                    <a:lumMod val="75000"/>
                  </a:schemeClr>
                </a:solidFill>
                <a:latin typeface="+mn-lt"/>
                <a:ea typeface="+mn-ea"/>
                <a:cs typeface="+mn-cs"/>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lvl="0"/>
            <a:r>
              <a:rPr lang="en-US"/>
              <a:t>Click to</a:t>
            </a:r>
          </a:p>
        </p:txBody>
      </p:sp>
      <p:sp>
        <p:nvSpPr>
          <p:cNvPr id="14" name="Text Placeholder 9">
            <a:extLst>
              <a:ext uri="{FF2B5EF4-FFF2-40B4-BE49-F238E27FC236}">
                <a16:creationId xmlns:a16="http://schemas.microsoft.com/office/drawing/2014/main" id="{BB0B7AC2-E639-48B8-BB25-9B9B33B47423}"/>
              </a:ext>
            </a:extLst>
          </p:cNvPr>
          <p:cNvSpPr>
            <a:spLocks noGrp="1"/>
          </p:cNvSpPr>
          <p:nvPr>
            <p:ph type="body" sz="quarter" idx="12"/>
          </p:nvPr>
        </p:nvSpPr>
        <p:spPr>
          <a:xfrm>
            <a:off x="585217" y="4584720"/>
            <a:ext cx="2013203"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lang="en-US" sz="1800" kern="1200" spc="0" baseline="0" dirty="0" smtClean="0">
                <a:solidFill>
                  <a:schemeClr val="tx1">
                    <a:lumMod val="75000"/>
                  </a:schemeClr>
                </a:solidFill>
                <a:latin typeface="+mn-lt"/>
                <a:ea typeface="+mn-ea"/>
                <a:cs typeface="+mn-cs"/>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a:t>
            </a:r>
          </a:p>
        </p:txBody>
      </p:sp>
      <p:sp>
        <p:nvSpPr>
          <p:cNvPr id="10" name="Text Placeholder 9">
            <a:extLst>
              <a:ext uri="{FF2B5EF4-FFF2-40B4-BE49-F238E27FC236}">
                <a16:creationId xmlns:a16="http://schemas.microsoft.com/office/drawing/2014/main" id="{3E2D2012-8E92-4CCD-B308-7BC14C65E193}"/>
              </a:ext>
            </a:extLst>
          </p:cNvPr>
          <p:cNvSpPr>
            <a:spLocks noGrp="1"/>
          </p:cNvSpPr>
          <p:nvPr>
            <p:ph type="body" sz="quarter" idx="13"/>
          </p:nvPr>
        </p:nvSpPr>
        <p:spPr>
          <a:xfrm>
            <a:off x="585217" y="5162581"/>
            <a:ext cx="2013203"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lang="en-US" sz="1800" kern="1200" spc="0" baseline="0" dirty="0">
                <a:solidFill>
                  <a:schemeClr val="tx1">
                    <a:lumMod val="75000"/>
                  </a:schemeClr>
                </a:solidFill>
                <a:latin typeface="+mn-lt"/>
                <a:ea typeface="+mn-ea"/>
                <a:cs typeface="+mn-cs"/>
              </a:defRPr>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r>
              <a:rPr lang="en-US"/>
              <a:t>Click to</a:t>
            </a:r>
          </a:p>
        </p:txBody>
      </p:sp>
      <p:sp>
        <p:nvSpPr>
          <p:cNvPr id="6" name="Content Placeholder 5">
            <a:extLst>
              <a:ext uri="{FF2B5EF4-FFF2-40B4-BE49-F238E27FC236}">
                <a16:creationId xmlns:a16="http://schemas.microsoft.com/office/drawing/2014/main" id="{D1304024-3B39-4E3E-8C2F-A606A19F1EEB}"/>
              </a:ext>
            </a:extLst>
          </p:cNvPr>
          <p:cNvSpPr>
            <a:spLocks noGrp="1"/>
          </p:cNvSpPr>
          <p:nvPr>
            <p:ph sz="quarter" idx="14"/>
          </p:nvPr>
        </p:nvSpPr>
        <p:spPr>
          <a:xfrm>
            <a:off x="585788" y="1587500"/>
            <a:ext cx="2012950" cy="430887"/>
          </a:xfrm>
        </p:spPr>
        <p:txBody>
          <a:bodyPr/>
          <a:lstStyle/>
          <a:p>
            <a:pPr lvl="0"/>
            <a:endParaRPr lang="en-US"/>
          </a:p>
        </p:txBody>
      </p:sp>
      <p:sp>
        <p:nvSpPr>
          <p:cNvPr id="11" name="TextBox 10">
            <a:extLst>
              <a:ext uri="{FF2B5EF4-FFF2-40B4-BE49-F238E27FC236}">
                <a16:creationId xmlns:a16="http://schemas.microsoft.com/office/drawing/2014/main" id="{8A203018-9126-44F0-ABCC-E5CD22B3EB35}"/>
              </a:ext>
              <a:ext uri="{C183D7F6-B498-43B3-948B-1728B52AA6E4}">
                <adec:decorative xmlns:adec="http://schemas.microsoft.com/office/drawing/2017/decorative" val="1"/>
              </a:ext>
            </a:extLst>
          </p:cNvPr>
          <p:cNvSpPr txBox="1"/>
          <p:nvPr userDrawn="1"/>
        </p:nvSpPr>
        <p:spPr>
          <a:xfrm>
            <a:off x="10602500" y="-1381949"/>
            <a:ext cx="2718924" cy="615553"/>
          </a:xfrm>
          <a:prstGeom prst="rect">
            <a:avLst/>
          </a:prstGeom>
          <a:solidFill>
            <a:srgbClr val="FFFF00"/>
          </a:solidFill>
        </p:spPr>
        <p:txBody>
          <a:bodyPr wrap="square" lIns="0" tIns="0" rIns="0" bIns="0" rtlCol="0">
            <a:spAutoFit/>
          </a:bodyPr>
          <a:lstStyle/>
          <a:p>
            <a:pPr algn="l"/>
            <a:r>
              <a:rPr lang="en-US" sz="2000">
                <a:noFill/>
              </a:rPr>
              <a:t>highlight customizable services</a:t>
            </a:r>
          </a:p>
        </p:txBody>
      </p:sp>
    </p:spTree>
    <p:extLst>
      <p:ext uri="{BB962C8B-B14F-4D97-AF65-F5344CB8AC3E}">
        <p14:creationId xmlns:p14="http://schemas.microsoft.com/office/powerpoint/2010/main" val="425312303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5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25E043-FD42-4F06-8766-1ED85372731C}"/>
              </a:ext>
            </a:extLst>
          </p:cNvPr>
          <p:cNvSpPr>
            <a:spLocks noGrp="1"/>
          </p:cNvSpPr>
          <p:nvPr>
            <p:ph type="title"/>
          </p:nvPr>
        </p:nvSpPr>
        <p:spPr/>
        <p:txBody>
          <a:bodyPr/>
          <a:lstStyle/>
          <a:p>
            <a:r>
              <a:rPr lang="en-US"/>
              <a:t>Click to edit Master title style</a:t>
            </a:r>
          </a:p>
        </p:txBody>
      </p:sp>
      <p:sp>
        <p:nvSpPr>
          <p:cNvPr id="9" name="Text Placeholder 9">
            <a:extLst>
              <a:ext uri="{FF2B5EF4-FFF2-40B4-BE49-F238E27FC236}">
                <a16:creationId xmlns:a16="http://schemas.microsoft.com/office/drawing/2014/main" id="{72F70E2D-25D0-4249-867C-931BEFB01138}"/>
              </a:ext>
            </a:extLst>
          </p:cNvPr>
          <p:cNvSpPr>
            <a:spLocks noGrp="1"/>
          </p:cNvSpPr>
          <p:nvPr>
            <p:ph type="body" sz="quarter" idx="10"/>
          </p:nvPr>
        </p:nvSpPr>
        <p:spPr>
          <a:xfrm>
            <a:off x="585217" y="2951018"/>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lgn="ctr">
              <a:spcBef>
                <a:spcPts val="0"/>
              </a:spcBef>
              <a:spcAft>
                <a:spcPts val="1800"/>
              </a:spcAft>
              <a:buFont typeface="Arial" panose="020B0604020202020204" pitchFamily="34" charset="0"/>
              <a:buNone/>
              <a:defRPr sz="1100"/>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3" name="Text Placeholder 9">
            <a:extLst>
              <a:ext uri="{FF2B5EF4-FFF2-40B4-BE49-F238E27FC236}">
                <a16:creationId xmlns:a16="http://schemas.microsoft.com/office/drawing/2014/main" id="{C0DB3D93-3595-43C5-A252-B4D6D4F85C46}"/>
              </a:ext>
            </a:extLst>
          </p:cNvPr>
          <p:cNvSpPr>
            <a:spLocks noGrp="1"/>
          </p:cNvSpPr>
          <p:nvPr>
            <p:ph type="body" sz="quarter" idx="11"/>
          </p:nvPr>
        </p:nvSpPr>
        <p:spPr>
          <a:xfrm>
            <a:off x="585217" y="3657074"/>
            <a:ext cx="2743200" cy="369332"/>
          </a:xfrm>
        </p:spPr>
        <p:txBody>
          <a:bodyPr lIns="182880" rIns="182880"/>
          <a:lstStyle>
            <a:lvl1pPr marL="0" indent="0" algn="ctr">
              <a:spcBef>
                <a:spcPts val="0"/>
              </a:spcBef>
              <a:spcAft>
                <a:spcPts val="1800"/>
              </a:spcAft>
              <a:buNone/>
              <a:defRPr sz="2400" b="1">
                <a:solidFill>
                  <a:schemeClr val="accent1">
                    <a:lumMod val="60000"/>
                    <a:lumOff val="40000"/>
                  </a:schemeClr>
                </a:solidFill>
                <a:latin typeface="+mn-lt"/>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lvl="0"/>
            <a:endParaRPr lang="en-US"/>
          </a:p>
        </p:txBody>
      </p:sp>
      <p:sp>
        <p:nvSpPr>
          <p:cNvPr id="14" name="Text Placeholder 9">
            <a:extLst>
              <a:ext uri="{FF2B5EF4-FFF2-40B4-BE49-F238E27FC236}">
                <a16:creationId xmlns:a16="http://schemas.microsoft.com/office/drawing/2014/main" id="{BB0B7AC2-E639-48B8-BB25-9B9B33B47423}"/>
              </a:ext>
            </a:extLst>
          </p:cNvPr>
          <p:cNvSpPr>
            <a:spLocks noGrp="1"/>
          </p:cNvSpPr>
          <p:nvPr>
            <p:ph type="body" sz="quarter" idx="12"/>
          </p:nvPr>
        </p:nvSpPr>
        <p:spPr>
          <a:xfrm>
            <a:off x="585217" y="4363130"/>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0" name="Text Placeholder 9">
            <a:extLst>
              <a:ext uri="{FF2B5EF4-FFF2-40B4-BE49-F238E27FC236}">
                <a16:creationId xmlns:a16="http://schemas.microsoft.com/office/drawing/2014/main" id="{3E2D2012-8E92-4CCD-B308-7BC14C65E193}"/>
              </a:ext>
            </a:extLst>
          </p:cNvPr>
          <p:cNvSpPr>
            <a:spLocks noGrp="1"/>
          </p:cNvSpPr>
          <p:nvPr>
            <p:ph type="body" sz="quarter" idx="13"/>
          </p:nvPr>
        </p:nvSpPr>
        <p:spPr>
          <a:xfrm>
            <a:off x="585217" y="4973958"/>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2" name="Text Placeholder 9">
            <a:extLst>
              <a:ext uri="{FF2B5EF4-FFF2-40B4-BE49-F238E27FC236}">
                <a16:creationId xmlns:a16="http://schemas.microsoft.com/office/drawing/2014/main" id="{DF0DA46B-66D0-47B8-AF92-73D8794FC0F1}"/>
              </a:ext>
            </a:extLst>
          </p:cNvPr>
          <p:cNvSpPr>
            <a:spLocks noGrp="1"/>
          </p:cNvSpPr>
          <p:nvPr>
            <p:ph type="body" sz="quarter" idx="14"/>
          </p:nvPr>
        </p:nvSpPr>
        <p:spPr>
          <a:xfrm>
            <a:off x="8227916" y="2766352"/>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lgn="ctr">
              <a:spcBef>
                <a:spcPts val="0"/>
              </a:spcBef>
              <a:spcAft>
                <a:spcPts val="1800"/>
              </a:spcAft>
              <a:buFont typeface="Arial" panose="020B0604020202020204" pitchFamily="34" charset="0"/>
              <a:buNone/>
              <a:defRPr sz="1100"/>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5" name="Text Placeholder 9">
            <a:extLst>
              <a:ext uri="{FF2B5EF4-FFF2-40B4-BE49-F238E27FC236}">
                <a16:creationId xmlns:a16="http://schemas.microsoft.com/office/drawing/2014/main" id="{4B671FF9-E62C-410B-AE30-AE89A74919CA}"/>
              </a:ext>
            </a:extLst>
          </p:cNvPr>
          <p:cNvSpPr>
            <a:spLocks noGrp="1"/>
          </p:cNvSpPr>
          <p:nvPr>
            <p:ph type="body" sz="quarter" idx="15"/>
          </p:nvPr>
        </p:nvSpPr>
        <p:spPr>
          <a:xfrm>
            <a:off x="8227916" y="3472408"/>
            <a:ext cx="2743200" cy="369332"/>
          </a:xfrm>
        </p:spPr>
        <p:txBody>
          <a:bodyPr lIns="182880" rIns="182880"/>
          <a:lstStyle>
            <a:lvl1pPr marL="0" indent="0" algn="ctr">
              <a:spcBef>
                <a:spcPts val="0"/>
              </a:spcBef>
              <a:spcAft>
                <a:spcPts val="1800"/>
              </a:spcAft>
              <a:buNone/>
              <a:defRPr sz="2400" b="1">
                <a:solidFill>
                  <a:schemeClr val="accent1">
                    <a:lumMod val="60000"/>
                    <a:lumOff val="40000"/>
                  </a:schemeClr>
                </a:solidFill>
                <a:latin typeface="+mn-lt"/>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lvl="0"/>
            <a:endParaRPr lang="en-US"/>
          </a:p>
        </p:txBody>
      </p:sp>
      <p:sp>
        <p:nvSpPr>
          <p:cNvPr id="16" name="Text Placeholder 9">
            <a:extLst>
              <a:ext uri="{FF2B5EF4-FFF2-40B4-BE49-F238E27FC236}">
                <a16:creationId xmlns:a16="http://schemas.microsoft.com/office/drawing/2014/main" id="{43EEE7C6-4AD0-4303-A6FD-AA8346BC081F}"/>
              </a:ext>
            </a:extLst>
          </p:cNvPr>
          <p:cNvSpPr>
            <a:spLocks noGrp="1"/>
          </p:cNvSpPr>
          <p:nvPr>
            <p:ph type="body" sz="quarter" idx="16"/>
          </p:nvPr>
        </p:nvSpPr>
        <p:spPr>
          <a:xfrm>
            <a:off x="8227916" y="4178464"/>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
        <p:nvSpPr>
          <p:cNvPr id="17" name="Text Placeholder 9">
            <a:extLst>
              <a:ext uri="{FF2B5EF4-FFF2-40B4-BE49-F238E27FC236}">
                <a16:creationId xmlns:a16="http://schemas.microsoft.com/office/drawing/2014/main" id="{44FDEFE2-1DCE-4016-A83A-073BF533ED33}"/>
              </a:ext>
            </a:extLst>
          </p:cNvPr>
          <p:cNvSpPr>
            <a:spLocks noGrp="1"/>
          </p:cNvSpPr>
          <p:nvPr>
            <p:ph type="body" sz="quarter" idx="17"/>
          </p:nvPr>
        </p:nvSpPr>
        <p:spPr>
          <a:xfrm>
            <a:off x="8227916" y="4789292"/>
            <a:ext cx="2743200" cy="369332"/>
          </a:xfrm>
        </p:spPr>
        <p:txBody>
          <a:bodyPr lIns="182880" rIns="182880"/>
          <a:lstStyle>
            <a:lvl1pPr marL="0" indent="0" algn="ctr">
              <a:spcBef>
                <a:spcPts val="0"/>
              </a:spcBef>
              <a:spcAft>
                <a:spcPts val="1800"/>
              </a:spcAft>
              <a:buNone/>
              <a:defRPr lang="en-US" sz="24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buNone/>
              <a:defRPr sz="1800"/>
            </a:lvl2pPr>
            <a:lvl3pPr marL="0" indent="0" algn="ctr">
              <a:buNone/>
              <a:defRPr sz="1400"/>
            </a:lvl3pPr>
            <a:lvl4pPr marL="0" indent="0" algn="ctr">
              <a:buNone/>
              <a:defRPr sz="1200"/>
            </a:lvl4pPr>
            <a:lvl5pPr marL="0" indent="0" algn="ctr">
              <a:spcBef>
                <a:spcPts val="600"/>
              </a:spcBef>
              <a:spcAft>
                <a:spcPts val="0"/>
              </a:spcAft>
              <a:buNone/>
              <a:defRPr sz="1200"/>
            </a:lvl5pPr>
            <a:lvl6pPr marL="0" indent="0">
              <a:spcAft>
                <a:spcPts val="1200"/>
              </a:spcAft>
              <a:buNone/>
              <a:defRPr lang="en-US" sz="1100" kern="1200" dirty="0">
                <a:solidFill>
                  <a:schemeClr val="tx1"/>
                </a:solidFill>
                <a:latin typeface="+mn-lt"/>
                <a:ea typeface="+mn-ea"/>
                <a:cs typeface="+mn-cs"/>
              </a:defRPr>
            </a:lvl6pPr>
          </a:lstStyle>
          <a:p>
            <a:pPr marL="0" marR="0" lvl="0" indent="0" algn="ctr" defTabSz="932742" rtl="0" eaLnBrk="1" fontAlgn="auto" latinLnBrk="0" hangingPunct="1">
              <a:lnSpc>
                <a:spcPct val="100000"/>
              </a:lnSpc>
              <a:spcBef>
                <a:spcPts val="0"/>
              </a:spcBef>
              <a:spcAft>
                <a:spcPts val="180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425236720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967695"/>
            <a:ext cx="11025188" cy="307777"/>
          </a:xfrm>
        </p:spPr>
        <p:txBody>
          <a:bodyPr/>
          <a:lstStyle>
            <a:lvl1pPr marL="0" indent="0" algn="ctr">
              <a:buNone/>
              <a:defRPr sz="2000">
                <a:solidFill>
                  <a:schemeClr val="accent1">
                    <a:lumMod val="60000"/>
                    <a:lumOff val="40000"/>
                  </a:schemeClr>
                </a:solidFill>
                <a:latin typeface="+mn-lt"/>
              </a:defRPr>
            </a:lvl1pPr>
          </a:lstStyle>
          <a:p>
            <a:pPr lvl="0"/>
            <a:r>
              <a:rPr lang="en-US"/>
              <a:t>Edit Master text styles</a:t>
            </a:r>
          </a:p>
        </p:txBody>
      </p:sp>
      <p:sp>
        <p:nvSpPr>
          <p:cNvPr id="4" name="Title 3">
            <a:extLst>
              <a:ext uri="{FF2B5EF4-FFF2-40B4-BE49-F238E27FC236}">
                <a16:creationId xmlns:a16="http://schemas.microsoft.com/office/drawing/2014/main" id="{4997F61F-2ABF-415A-A24F-299F0959992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62985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39954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80299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280618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8" y="556382"/>
            <a:ext cx="11303917" cy="635832"/>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 uri="{C183D7F6-B498-43B3-948B-1728B52AA6E4}">
                <adec:decorative xmlns:adec="http://schemas.microsoft.com/office/drawing/2017/decorative" val="1"/>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700">
                <a:solidFill>
                  <a:schemeClr val="accent6">
                    <a:lumMod val="75000"/>
                  </a:schemeClr>
                </a:solidFill>
                <a:cs typeface="Segoe UI" pitchFamily="34" charset="0"/>
              </a:rPr>
              <a:t>©Microsoft Corporation</a:t>
            </a:r>
            <a:br>
              <a:rPr lang="en-US" sz="700">
                <a:solidFill>
                  <a:schemeClr val="accent6">
                    <a:lumMod val="75000"/>
                  </a:schemeClr>
                </a:solidFill>
                <a:cs typeface="Segoe UI" pitchFamily="34" charset="0"/>
              </a:rPr>
            </a:br>
            <a:r>
              <a:rPr lang="en-US" sz="700">
                <a:solidFill>
                  <a:schemeClr val="accent6">
                    <a:lumMod val="75000"/>
                  </a:schemeClr>
                </a:solidFill>
                <a:cs typeface="Segoe UI" pitchFamily="34" charset="0"/>
              </a:rPr>
              <a:t>Azure </a:t>
            </a:r>
          </a:p>
        </p:txBody>
      </p:sp>
      <p:sp>
        <p:nvSpPr>
          <p:cNvPr id="5" name="Content Placeholder 4">
            <a:extLst>
              <a:ext uri="{FF2B5EF4-FFF2-40B4-BE49-F238E27FC236}">
                <a16:creationId xmlns:a16="http://schemas.microsoft.com/office/drawing/2014/main" id="{8017C977-B6B9-44B2-967B-5A8FF0DC158B}"/>
              </a:ext>
            </a:extLst>
          </p:cNvPr>
          <p:cNvSpPr>
            <a:spLocks noGrp="1"/>
          </p:cNvSpPr>
          <p:nvPr>
            <p:ph sz="quarter" idx="10"/>
          </p:nvPr>
        </p:nvSpPr>
        <p:spPr>
          <a:xfrm>
            <a:off x="4963887" y="2023353"/>
            <a:ext cx="457200" cy="457200"/>
          </a:xfrm>
        </p:spPr>
        <p:txBody>
          <a:bodyPr/>
          <a:lstStyle>
            <a:lvl1pPr>
              <a:defRPr sz="1000"/>
            </a:lvl1pPr>
          </a:lstStyle>
          <a:p>
            <a:pPr lvl="0"/>
            <a:endParaRPr lang="en-IN"/>
          </a:p>
        </p:txBody>
      </p:sp>
      <p:sp>
        <p:nvSpPr>
          <p:cNvPr id="7" name="Content Placeholder 6">
            <a:extLst>
              <a:ext uri="{FF2B5EF4-FFF2-40B4-BE49-F238E27FC236}">
                <a16:creationId xmlns:a16="http://schemas.microsoft.com/office/drawing/2014/main" id="{D5DFBF48-E527-45EF-9EF5-E2326E4027C8}"/>
              </a:ext>
            </a:extLst>
          </p:cNvPr>
          <p:cNvSpPr>
            <a:spLocks noGrp="1"/>
          </p:cNvSpPr>
          <p:nvPr>
            <p:ph sz="quarter" idx="11"/>
          </p:nvPr>
        </p:nvSpPr>
        <p:spPr>
          <a:xfrm>
            <a:off x="1349829" y="2023353"/>
            <a:ext cx="457200" cy="457200"/>
          </a:xfrm>
        </p:spPr>
        <p:txBody>
          <a:bodyPr/>
          <a:lstStyle>
            <a:lvl1pPr>
              <a:defRPr sz="1000"/>
            </a:lvl1pPr>
          </a:lstStyle>
          <a:p>
            <a:pPr lvl="0"/>
            <a:endParaRPr lang="en-IN"/>
          </a:p>
        </p:txBody>
      </p:sp>
      <p:sp>
        <p:nvSpPr>
          <p:cNvPr id="9" name="Content Placeholder 8">
            <a:extLst>
              <a:ext uri="{FF2B5EF4-FFF2-40B4-BE49-F238E27FC236}">
                <a16:creationId xmlns:a16="http://schemas.microsoft.com/office/drawing/2014/main" id="{4B6A9C4E-4393-46B6-8242-4097A32F0F6D}"/>
              </a:ext>
            </a:extLst>
          </p:cNvPr>
          <p:cNvSpPr>
            <a:spLocks noGrp="1"/>
          </p:cNvSpPr>
          <p:nvPr>
            <p:ph sz="quarter" idx="12"/>
          </p:nvPr>
        </p:nvSpPr>
        <p:spPr>
          <a:xfrm>
            <a:off x="3156855" y="2915731"/>
            <a:ext cx="457200" cy="457200"/>
          </a:xfrm>
        </p:spPr>
        <p:txBody>
          <a:bodyPr/>
          <a:lstStyle>
            <a:lvl1pPr>
              <a:defRPr sz="1000"/>
            </a:lvl1pPr>
          </a:lstStyle>
          <a:p>
            <a:pPr lvl="0"/>
            <a:endParaRPr lang="en-IN"/>
          </a:p>
        </p:txBody>
      </p:sp>
      <p:sp>
        <p:nvSpPr>
          <p:cNvPr id="11" name="Content Placeholder 10">
            <a:extLst>
              <a:ext uri="{FF2B5EF4-FFF2-40B4-BE49-F238E27FC236}">
                <a16:creationId xmlns:a16="http://schemas.microsoft.com/office/drawing/2014/main" id="{E8E33978-E001-463C-BB6C-8FC5D8430E5F}"/>
              </a:ext>
            </a:extLst>
          </p:cNvPr>
          <p:cNvSpPr>
            <a:spLocks noGrp="1"/>
          </p:cNvSpPr>
          <p:nvPr>
            <p:ph sz="quarter" idx="13"/>
          </p:nvPr>
        </p:nvSpPr>
        <p:spPr>
          <a:xfrm>
            <a:off x="1349826" y="2915731"/>
            <a:ext cx="457200" cy="457200"/>
          </a:xfrm>
        </p:spPr>
        <p:txBody>
          <a:bodyPr/>
          <a:lstStyle>
            <a:lvl1pPr>
              <a:defRPr sz="1000"/>
            </a:lvl1pPr>
          </a:lstStyle>
          <a:p>
            <a:pPr lvl="0"/>
            <a:endParaRPr lang="en-IN"/>
          </a:p>
        </p:txBody>
      </p:sp>
      <p:sp>
        <p:nvSpPr>
          <p:cNvPr id="13" name="Content Placeholder 12">
            <a:extLst>
              <a:ext uri="{FF2B5EF4-FFF2-40B4-BE49-F238E27FC236}">
                <a16:creationId xmlns:a16="http://schemas.microsoft.com/office/drawing/2014/main" id="{D418B31C-6F3F-4C39-B5D1-4315BD9E2995}"/>
              </a:ext>
            </a:extLst>
          </p:cNvPr>
          <p:cNvSpPr>
            <a:spLocks noGrp="1"/>
          </p:cNvSpPr>
          <p:nvPr>
            <p:ph sz="quarter" idx="14"/>
          </p:nvPr>
        </p:nvSpPr>
        <p:spPr>
          <a:xfrm>
            <a:off x="3156858" y="2023353"/>
            <a:ext cx="457200" cy="457200"/>
          </a:xfrm>
        </p:spPr>
        <p:txBody>
          <a:bodyPr/>
          <a:lstStyle>
            <a:lvl1pPr>
              <a:defRPr sz="1000"/>
            </a:lvl1pPr>
          </a:lstStyle>
          <a:p>
            <a:pPr lvl="0"/>
            <a:endParaRPr lang="en-IN"/>
          </a:p>
        </p:txBody>
      </p:sp>
      <p:sp>
        <p:nvSpPr>
          <p:cNvPr id="15" name="Content Placeholder 14">
            <a:extLst>
              <a:ext uri="{FF2B5EF4-FFF2-40B4-BE49-F238E27FC236}">
                <a16:creationId xmlns:a16="http://schemas.microsoft.com/office/drawing/2014/main" id="{5070F909-D82A-4DFB-B7EA-BF6D135E58FE}"/>
              </a:ext>
            </a:extLst>
          </p:cNvPr>
          <p:cNvSpPr>
            <a:spLocks noGrp="1"/>
          </p:cNvSpPr>
          <p:nvPr>
            <p:ph sz="quarter" idx="15"/>
          </p:nvPr>
        </p:nvSpPr>
        <p:spPr>
          <a:xfrm>
            <a:off x="4963884" y="2915731"/>
            <a:ext cx="457200" cy="457200"/>
          </a:xfrm>
        </p:spPr>
        <p:txBody>
          <a:bodyPr/>
          <a:lstStyle>
            <a:lvl1pPr>
              <a:defRPr sz="1000"/>
            </a:lvl1pPr>
          </a:lstStyle>
          <a:p>
            <a:pPr lvl="0"/>
            <a:endParaRPr lang="en-IN"/>
          </a:p>
        </p:txBody>
      </p:sp>
      <p:sp>
        <p:nvSpPr>
          <p:cNvPr id="17" name="Content Placeholder 16">
            <a:extLst>
              <a:ext uri="{FF2B5EF4-FFF2-40B4-BE49-F238E27FC236}">
                <a16:creationId xmlns:a16="http://schemas.microsoft.com/office/drawing/2014/main" id="{2098A395-2EF1-4933-BFAB-7DB503145648}"/>
              </a:ext>
            </a:extLst>
          </p:cNvPr>
          <p:cNvSpPr>
            <a:spLocks noGrp="1"/>
          </p:cNvSpPr>
          <p:nvPr>
            <p:ph sz="quarter" idx="16"/>
          </p:nvPr>
        </p:nvSpPr>
        <p:spPr>
          <a:xfrm>
            <a:off x="4963884" y="3815224"/>
            <a:ext cx="457200" cy="457200"/>
          </a:xfrm>
        </p:spPr>
        <p:txBody>
          <a:bodyPr/>
          <a:lstStyle>
            <a:lvl1pPr>
              <a:defRPr sz="1000"/>
            </a:lvl1pPr>
          </a:lstStyle>
          <a:p>
            <a:pPr lvl="0"/>
            <a:endParaRPr lang="en-IN"/>
          </a:p>
        </p:txBody>
      </p:sp>
      <p:sp>
        <p:nvSpPr>
          <p:cNvPr id="19" name="Content Placeholder 18">
            <a:extLst>
              <a:ext uri="{FF2B5EF4-FFF2-40B4-BE49-F238E27FC236}">
                <a16:creationId xmlns:a16="http://schemas.microsoft.com/office/drawing/2014/main" id="{72486AAA-FF01-4722-879C-C050CE00A6B0}"/>
              </a:ext>
            </a:extLst>
          </p:cNvPr>
          <p:cNvSpPr>
            <a:spLocks noGrp="1"/>
          </p:cNvSpPr>
          <p:nvPr>
            <p:ph sz="quarter" idx="17"/>
          </p:nvPr>
        </p:nvSpPr>
        <p:spPr>
          <a:xfrm>
            <a:off x="6770916" y="2023353"/>
            <a:ext cx="457200" cy="457200"/>
          </a:xfrm>
        </p:spPr>
        <p:txBody>
          <a:bodyPr/>
          <a:lstStyle>
            <a:lvl1pPr>
              <a:defRPr sz="1000"/>
            </a:lvl1pPr>
          </a:lstStyle>
          <a:p>
            <a:pPr lvl="0"/>
            <a:endParaRPr lang="en-IN"/>
          </a:p>
        </p:txBody>
      </p:sp>
      <p:sp>
        <p:nvSpPr>
          <p:cNvPr id="21" name="Content Placeholder 20">
            <a:extLst>
              <a:ext uri="{FF2B5EF4-FFF2-40B4-BE49-F238E27FC236}">
                <a16:creationId xmlns:a16="http://schemas.microsoft.com/office/drawing/2014/main" id="{551A6395-F25F-4483-9BFD-7BFE3CE405C1}"/>
              </a:ext>
            </a:extLst>
          </p:cNvPr>
          <p:cNvSpPr>
            <a:spLocks noGrp="1"/>
          </p:cNvSpPr>
          <p:nvPr>
            <p:ph sz="quarter" idx="18"/>
          </p:nvPr>
        </p:nvSpPr>
        <p:spPr>
          <a:xfrm>
            <a:off x="6770913" y="2915731"/>
            <a:ext cx="457200" cy="457200"/>
          </a:xfrm>
        </p:spPr>
        <p:txBody>
          <a:bodyPr/>
          <a:lstStyle>
            <a:lvl1pPr>
              <a:defRPr sz="1000"/>
            </a:lvl1pPr>
          </a:lstStyle>
          <a:p>
            <a:pPr lvl="0"/>
            <a:endParaRPr lang="en-IN"/>
          </a:p>
        </p:txBody>
      </p:sp>
      <p:sp>
        <p:nvSpPr>
          <p:cNvPr id="23" name="Content Placeholder 22">
            <a:extLst>
              <a:ext uri="{FF2B5EF4-FFF2-40B4-BE49-F238E27FC236}">
                <a16:creationId xmlns:a16="http://schemas.microsoft.com/office/drawing/2014/main" id="{6F4E4DB6-7E48-4A4D-AE38-BE2D822ACE0A}"/>
              </a:ext>
            </a:extLst>
          </p:cNvPr>
          <p:cNvSpPr>
            <a:spLocks noGrp="1"/>
          </p:cNvSpPr>
          <p:nvPr>
            <p:ph sz="quarter" idx="19"/>
          </p:nvPr>
        </p:nvSpPr>
        <p:spPr>
          <a:xfrm>
            <a:off x="6770913" y="3815224"/>
            <a:ext cx="457200" cy="457200"/>
          </a:xfrm>
        </p:spPr>
        <p:txBody>
          <a:bodyPr/>
          <a:lstStyle>
            <a:lvl1pPr>
              <a:defRPr sz="1000"/>
            </a:lvl1pPr>
          </a:lstStyle>
          <a:p>
            <a:pPr lvl="0"/>
            <a:endParaRPr lang="en-IN"/>
          </a:p>
        </p:txBody>
      </p:sp>
      <p:sp>
        <p:nvSpPr>
          <p:cNvPr id="25" name="Content Placeholder 24">
            <a:extLst>
              <a:ext uri="{FF2B5EF4-FFF2-40B4-BE49-F238E27FC236}">
                <a16:creationId xmlns:a16="http://schemas.microsoft.com/office/drawing/2014/main" id="{5D517D57-6E45-45A3-9C3A-ED91749BE3DF}"/>
              </a:ext>
            </a:extLst>
          </p:cNvPr>
          <p:cNvSpPr>
            <a:spLocks noGrp="1"/>
          </p:cNvSpPr>
          <p:nvPr>
            <p:ph sz="quarter" idx="20"/>
          </p:nvPr>
        </p:nvSpPr>
        <p:spPr>
          <a:xfrm>
            <a:off x="8577945" y="2023353"/>
            <a:ext cx="457200" cy="457200"/>
          </a:xfrm>
        </p:spPr>
        <p:txBody>
          <a:bodyPr/>
          <a:lstStyle>
            <a:lvl1pPr>
              <a:defRPr sz="1000"/>
            </a:lvl1pPr>
          </a:lstStyle>
          <a:p>
            <a:pPr lvl="0"/>
            <a:endParaRPr lang="en-IN"/>
          </a:p>
        </p:txBody>
      </p:sp>
      <p:sp>
        <p:nvSpPr>
          <p:cNvPr id="27" name="Content Placeholder 26">
            <a:extLst>
              <a:ext uri="{FF2B5EF4-FFF2-40B4-BE49-F238E27FC236}">
                <a16:creationId xmlns:a16="http://schemas.microsoft.com/office/drawing/2014/main" id="{2887C6C8-8443-42F4-9780-DE95C64BBCFD}"/>
              </a:ext>
            </a:extLst>
          </p:cNvPr>
          <p:cNvSpPr>
            <a:spLocks noGrp="1"/>
          </p:cNvSpPr>
          <p:nvPr>
            <p:ph sz="quarter" idx="21"/>
          </p:nvPr>
        </p:nvSpPr>
        <p:spPr>
          <a:xfrm>
            <a:off x="8577942" y="2915731"/>
            <a:ext cx="457200" cy="457200"/>
          </a:xfrm>
        </p:spPr>
        <p:txBody>
          <a:bodyPr/>
          <a:lstStyle>
            <a:lvl1pPr>
              <a:defRPr sz="1000"/>
            </a:lvl1pPr>
          </a:lstStyle>
          <a:p>
            <a:pPr lvl="0"/>
            <a:endParaRPr lang="en-IN"/>
          </a:p>
        </p:txBody>
      </p:sp>
      <p:sp>
        <p:nvSpPr>
          <p:cNvPr id="29" name="Content Placeholder 28">
            <a:extLst>
              <a:ext uri="{FF2B5EF4-FFF2-40B4-BE49-F238E27FC236}">
                <a16:creationId xmlns:a16="http://schemas.microsoft.com/office/drawing/2014/main" id="{7FB04012-819A-4E90-8321-9E4D7D3E49FF}"/>
              </a:ext>
            </a:extLst>
          </p:cNvPr>
          <p:cNvSpPr>
            <a:spLocks noGrp="1"/>
          </p:cNvSpPr>
          <p:nvPr>
            <p:ph sz="quarter" idx="22"/>
          </p:nvPr>
        </p:nvSpPr>
        <p:spPr>
          <a:xfrm>
            <a:off x="8577942" y="3815224"/>
            <a:ext cx="457200" cy="457200"/>
          </a:xfrm>
        </p:spPr>
        <p:txBody>
          <a:bodyPr/>
          <a:lstStyle>
            <a:lvl1pPr>
              <a:defRPr sz="1000"/>
            </a:lvl1pPr>
          </a:lstStyle>
          <a:p>
            <a:pPr lvl="0"/>
            <a:endParaRPr lang="en-IN"/>
          </a:p>
        </p:txBody>
      </p:sp>
      <p:sp>
        <p:nvSpPr>
          <p:cNvPr id="31" name="Content Placeholder 30">
            <a:extLst>
              <a:ext uri="{FF2B5EF4-FFF2-40B4-BE49-F238E27FC236}">
                <a16:creationId xmlns:a16="http://schemas.microsoft.com/office/drawing/2014/main" id="{A314BDE7-6691-46B1-B64F-0F7DB3E3DCEF}"/>
              </a:ext>
            </a:extLst>
          </p:cNvPr>
          <p:cNvSpPr>
            <a:spLocks noGrp="1"/>
          </p:cNvSpPr>
          <p:nvPr>
            <p:ph sz="quarter" idx="23"/>
          </p:nvPr>
        </p:nvSpPr>
        <p:spPr>
          <a:xfrm>
            <a:off x="10384974" y="2023353"/>
            <a:ext cx="457200" cy="457200"/>
          </a:xfrm>
        </p:spPr>
        <p:txBody>
          <a:bodyPr/>
          <a:lstStyle>
            <a:lvl1pPr>
              <a:defRPr sz="1000"/>
            </a:lvl1pPr>
          </a:lstStyle>
          <a:p>
            <a:pPr lvl="0"/>
            <a:endParaRPr lang="en-IN"/>
          </a:p>
        </p:txBody>
      </p:sp>
      <p:sp>
        <p:nvSpPr>
          <p:cNvPr id="33" name="Content Placeholder 32">
            <a:extLst>
              <a:ext uri="{FF2B5EF4-FFF2-40B4-BE49-F238E27FC236}">
                <a16:creationId xmlns:a16="http://schemas.microsoft.com/office/drawing/2014/main" id="{7C3029A7-3A26-4E04-9C4D-71B72632795F}"/>
              </a:ext>
            </a:extLst>
          </p:cNvPr>
          <p:cNvSpPr>
            <a:spLocks noGrp="1"/>
          </p:cNvSpPr>
          <p:nvPr>
            <p:ph sz="quarter" idx="24"/>
          </p:nvPr>
        </p:nvSpPr>
        <p:spPr>
          <a:xfrm>
            <a:off x="10384971" y="2915731"/>
            <a:ext cx="457200" cy="457200"/>
          </a:xfrm>
        </p:spPr>
        <p:txBody>
          <a:bodyPr/>
          <a:lstStyle>
            <a:lvl1pPr>
              <a:defRPr sz="1000"/>
            </a:lvl1pPr>
          </a:lstStyle>
          <a:p>
            <a:pPr lvl="0"/>
            <a:endParaRPr lang="en-IN"/>
          </a:p>
        </p:txBody>
      </p:sp>
      <p:sp>
        <p:nvSpPr>
          <p:cNvPr id="35" name="Content Placeholder 34">
            <a:extLst>
              <a:ext uri="{FF2B5EF4-FFF2-40B4-BE49-F238E27FC236}">
                <a16:creationId xmlns:a16="http://schemas.microsoft.com/office/drawing/2014/main" id="{30FB80AA-F669-4911-A734-55F1D63A0846}"/>
              </a:ext>
            </a:extLst>
          </p:cNvPr>
          <p:cNvSpPr>
            <a:spLocks noGrp="1"/>
          </p:cNvSpPr>
          <p:nvPr>
            <p:ph sz="quarter" idx="25"/>
          </p:nvPr>
        </p:nvSpPr>
        <p:spPr>
          <a:xfrm>
            <a:off x="10384971" y="3815224"/>
            <a:ext cx="457200" cy="457200"/>
          </a:xfrm>
        </p:spPr>
        <p:txBody>
          <a:bodyPr/>
          <a:lstStyle>
            <a:lvl1pPr>
              <a:defRPr sz="1000"/>
            </a:lvl1pPr>
          </a:lstStyle>
          <a:p>
            <a:pPr lvl="0"/>
            <a:endParaRPr lang="en-IN"/>
          </a:p>
        </p:txBody>
      </p:sp>
      <p:sp>
        <p:nvSpPr>
          <p:cNvPr id="37" name="Content Placeholder 36">
            <a:extLst>
              <a:ext uri="{FF2B5EF4-FFF2-40B4-BE49-F238E27FC236}">
                <a16:creationId xmlns:a16="http://schemas.microsoft.com/office/drawing/2014/main" id="{F72924EC-27CE-4B87-8C2C-21D70E7A772B}"/>
              </a:ext>
            </a:extLst>
          </p:cNvPr>
          <p:cNvSpPr>
            <a:spLocks noGrp="1"/>
          </p:cNvSpPr>
          <p:nvPr>
            <p:ph sz="quarter" idx="26"/>
          </p:nvPr>
        </p:nvSpPr>
        <p:spPr>
          <a:xfrm>
            <a:off x="3156855" y="3815224"/>
            <a:ext cx="457200" cy="457200"/>
          </a:xfrm>
        </p:spPr>
        <p:txBody>
          <a:bodyPr/>
          <a:lstStyle>
            <a:lvl1pPr>
              <a:defRPr sz="1000"/>
            </a:lvl1pPr>
          </a:lstStyle>
          <a:p>
            <a:pPr lvl="0"/>
            <a:endParaRPr lang="en-IN"/>
          </a:p>
        </p:txBody>
      </p:sp>
      <p:sp>
        <p:nvSpPr>
          <p:cNvPr id="39" name="Content Placeholder 38">
            <a:extLst>
              <a:ext uri="{FF2B5EF4-FFF2-40B4-BE49-F238E27FC236}">
                <a16:creationId xmlns:a16="http://schemas.microsoft.com/office/drawing/2014/main" id="{072925A8-2235-44E3-96D7-811549E713C2}"/>
              </a:ext>
            </a:extLst>
          </p:cNvPr>
          <p:cNvSpPr>
            <a:spLocks noGrp="1"/>
          </p:cNvSpPr>
          <p:nvPr>
            <p:ph sz="quarter" idx="27"/>
          </p:nvPr>
        </p:nvSpPr>
        <p:spPr>
          <a:xfrm>
            <a:off x="1349826" y="3815224"/>
            <a:ext cx="457200" cy="457200"/>
          </a:xfrm>
        </p:spPr>
        <p:txBody>
          <a:bodyPr/>
          <a:lstStyle>
            <a:lvl1pPr>
              <a:defRPr sz="1000"/>
            </a:lvl1pPr>
          </a:lstStyle>
          <a:p>
            <a:pPr lvl="0"/>
            <a:endParaRPr lang="en-IN"/>
          </a:p>
        </p:txBody>
      </p:sp>
      <p:sp>
        <p:nvSpPr>
          <p:cNvPr id="41" name="Content Placeholder 40">
            <a:extLst>
              <a:ext uri="{FF2B5EF4-FFF2-40B4-BE49-F238E27FC236}">
                <a16:creationId xmlns:a16="http://schemas.microsoft.com/office/drawing/2014/main" id="{C046DD42-79B3-46BE-BC25-F1A5479417A6}"/>
              </a:ext>
            </a:extLst>
          </p:cNvPr>
          <p:cNvSpPr>
            <a:spLocks noGrp="1"/>
          </p:cNvSpPr>
          <p:nvPr>
            <p:ph sz="quarter" idx="28"/>
          </p:nvPr>
        </p:nvSpPr>
        <p:spPr>
          <a:xfrm>
            <a:off x="1423478" y="4714717"/>
            <a:ext cx="457200" cy="457200"/>
          </a:xfrm>
        </p:spPr>
        <p:txBody>
          <a:bodyPr/>
          <a:lstStyle>
            <a:lvl1pPr>
              <a:defRPr sz="1000"/>
            </a:lvl1pPr>
          </a:lstStyle>
          <a:p>
            <a:pPr lvl="0"/>
            <a:endParaRPr lang="en-IN"/>
          </a:p>
        </p:txBody>
      </p:sp>
      <p:sp>
        <p:nvSpPr>
          <p:cNvPr id="43" name="Content Placeholder 42">
            <a:extLst>
              <a:ext uri="{FF2B5EF4-FFF2-40B4-BE49-F238E27FC236}">
                <a16:creationId xmlns:a16="http://schemas.microsoft.com/office/drawing/2014/main" id="{8B9F962F-7BC0-448A-B5F0-D87B8435FC41}"/>
              </a:ext>
            </a:extLst>
          </p:cNvPr>
          <p:cNvSpPr>
            <a:spLocks noGrp="1"/>
          </p:cNvSpPr>
          <p:nvPr>
            <p:ph sz="quarter" idx="29"/>
          </p:nvPr>
        </p:nvSpPr>
        <p:spPr>
          <a:xfrm>
            <a:off x="5639878" y="4714717"/>
            <a:ext cx="457200" cy="457200"/>
          </a:xfrm>
        </p:spPr>
        <p:txBody>
          <a:bodyPr/>
          <a:lstStyle>
            <a:lvl1pPr>
              <a:defRPr sz="1000"/>
            </a:lvl1pPr>
          </a:lstStyle>
          <a:p>
            <a:pPr lvl="0"/>
            <a:endParaRPr lang="en-IN"/>
          </a:p>
        </p:txBody>
      </p:sp>
      <p:sp>
        <p:nvSpPr>
          <p:cNvPr id="45" name="Content Placeholder 44">
            <a:extLst>
              <a:ext uri="{FF2B5EF4-FFF2-40B4-BE49-F238E27FC236}">
                <a16:creationId xmlns:a16="http://schemas.microsoft.com/office/drawing/2014/main" id="{66FDBCCB-CFAE-4408-AC6B-BC94B1EDF32E}"/>
              </a:ext>
            </a:extLst>
          </p:cNvPr>
          <p:cNvSpPr>
            <a:spLocks noGrp="1"/>
          </p:cNvSpPr>
          <p:nvPr>
            <p:ph sz="quarter" idx="30"/>
          </p:nvPr>
        </p:nvSpPr>
        <p:spPr>
          <a:xfrm>
            <a:off x="3531678" y="4714717"/>
            <a:ext cx="457200" cy="457200"/>
          </a:xfrm>
        </p:spPr>
        <p:txBody>
          <a:bodyPr/>
          <a:lstStyle>
            <a:lvl1pPr>
              <a:defRPr sz="1000"/>
            </a:lvl1pPr>
          </a:lstStyle>
          <a:p>
            <a:pPr lvl="0"/>
            <a:endParaRPr lang="en-IN"/>
          </a:p>
        </p:txBody>
      </p:sp>
      <p:sp>
        <p:nvSpPr>
          <p:cNvPr id="47" name="Content Placeholder 46">
            <a:extLst>
              <a:ext uri="{FF2B5EF4-FFF2-40B4-BE49-F238E27FC236}">
                <a16:creationId xmlns:a16="http://schemas.microsoft.com/office/drawing/2014/main" id="{0401021F-CC67-427F-B3B6-479E06D26F8B}"/>
              </a:ext>
            </a:extLst>
          </p:cNvPr>
          <p:cNvSpPr>
            <a:spLocks noGrp="1"/>
          </p:cNvSpPr>
          <p:nvPr>
            <p:ph sz="quarter" idx="31"/>
          </p:nvPr>
        </p:nvSpPr>
        <p:spPr>
          <a:xfrm>
            <a:off x="9856278" y="4714717"/>
            <a:ext cx="457200" cy="457200"/>
          </a:xfrm>
        </p:spPr>
        <p:txBody>
          <a:bodyPr/>
          <a:lstStyle>
            <a:lvl1pPr>
              <a:defRPr sz="1000"/>
            </a:lvl1pPr>
          </a:lstStyle>
          <a:p>
            <a:pPr lvl="0"/>
            <a:endParaRPr lang="en-IN"/>
          </a:p>
        </p:txBody>
      </p:sp>
      <p:sp>
        <p:nvSpPr>
          <p:cNvPr id="49" name="Content Placeholder 48">
            <a:extLst>
              <a:ext uri="{FF2B5EF4-FFF2-40B4-BE49-F238E27FC236}">
                <a16:creationId xmlns:a16="http://schemas.microsoft.com/office/drawing/2014/main" id="{D1E75E52-E101-48DF-8550-BE25DF4D24A4}"/>
              </a:ext>
            </a:extLst>
          </p:cNvPr>
          <p:cNvSpPr>
            <a:spLocks noGrp="1"/>
          </p:cNvSpPr>
          <p:nvPr>
            <p:ph sz="quarter" idx="32"/>
          </p:nvPr>
        </p:nvSpPr>
        <p:spPr>
          <a:xfrm>
            <a:off x="7748078" y="4714717"/>
            <a:ext cx="457200" cy="457200"/>
          </a:xfrm>
        </p:spPr>
        <p:txBody>
          <a:bodyPr/>
          <a:lstStyle>
            <a:lvl1pPr>
              <a:defRPr sz="1000"/>
            </a:lvl1pPr>
          </a:lstStyle>
          <a:p>
            <a:pPr lvl="0"/>
            <a:endParaRPr lang="en-IN"/>
          </a:p>
        </p:txBody>
      </p:sp>
    </p:spTree>
    <p:extLst>
      <p:ext uri="{BB962C8B-B14F-4D97-AF65-F5344CB8AC3E}">
        <p14:creationId xmlns:p14="http://schemas.microsoft.com/office/powerpoint/2010/main" val="4479207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6A8A3552-8A78-4297-930A-B590D2F2070A}"/>
              </a:ext>
            </a:extLst>
          </p:cNvPr>
          <p:cNvSpPr>
            <a:spLocks noGrp="1"/>
          </p:cNvSpPr>
          <p:nvPr>
            <p:ph type="sldNum" sz="quarter" idx="10"/>
          </p:nvPr>
        </p:nvSpPr>
        <p:spPr/>
        <p:txBody>
          <a:bodyPr/>
          <a:lstStyle/>
          <a:p>
            <a:fld id="{1B7849BA-436A-4D63-AE19-3A8FDDD87C6E}" type="slidenum">
              <a:rPr lang="en-US" smtClean="0"/>
              <a:pPr/>
              <a:t>‹#›</a:t>
            </a:fld>
            <a:endParaRPr lang="en-US" sz="1000"/>
          </a:p>
        </p:txBody>
      </p:sp>
    </p:spTree>
    <p:extLst>
      <p:ext uri="{BB962C8B-B14F-4D97-AF65-F5344CB8AC3E}">
        <p14:creationId xmlns:p14="http://schemas.microsoft.com/office/powerpoint/2010/main" val="14278942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12" indent="0">
              <a:buNone/>
              <a:defRPr/>
            </a:lvl2pPr>
            <a:lvl3pPr marL="457025" indent="0">
              <a:buNone/>
              <a:defRPr/>
            </a:lvl3pPr>
            <a:lvl4pPr marL="685537" indent="0">
              <a:buNone/>
              <a:defRPr/>
            </a:lvl4pPr>
            <a:lvl5pPr marL="91404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49474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8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1435100"/>
            <a:ext cx="5040313"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71168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9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4592390"/>
            <a:ext cx="3463366"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6">
            <a:extLst>
              <a:ext uri="{FF2B5EF4-FFF2-40B4-BE49-F238E27FC236}">
                <a16:creationId xmlns:a16="http://schemas.microsoft.com/office/drawing/2014/main" id="{2C885D8B-7EE2-0F64-29CF-75120E892AB5}"/>
              </a:ext>
            </a:extLst>
          </p:cNvPr>
          <p:cNvSpPr>
            <a:spLocks noGrp="1"/>
          </p:cNvSpPr>
          <p:nvPr>
            <p:ph type="body" sz="quarter" idx="13"/>
          </p:nvPr>
        </p:nvSpPr>
        <p:spPr>
          <a:xfrm>
            <a:off x="4365111" y="4592390"/>
            <a:ext cx="3463366"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6">
            <a:extLst>
              <a:ext uri="{FF2B5EF4-FFF2-40B4-BE49-F238E27FC236}">
                <a16:creationId xmlns:a16="http://schemas.microsoft.com/office/drawing/2014/main" id="{6D139543-AE97-6EBE-298F-E413DA34319D}"/>
              </a:ext>
            </a:extLst>
          </p:cNvPr>
          <p:cNvSpPr>
            <a:spLocks noGrp="1"/>
          </p:cNvSpPr>
          <p:nvPr>
            <p:ph type="body" sz="quarter" idx="14"/>
          </p:nvPr>
        </p:nvSpPr>
        <p:spPr>
          <a:xfrm>
            <a:off x="8146022" y="4592390"/>
            <a:ext cx="3463366"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1336746"/>
      </p:ext>
    </p:extLst>
  </p:cSld>
  <p:clrMapOvr>
    <a:masterClrMapping/>
  </p:clrMapOvr>
  <p:transition>
    <p:fade/>
  </p:transition>
  <p:extLst>
    <p:ext uri="{DCECCB84-F9BA-43D5-87BE-67443E8EF086}">
      <p15:sldGuideLst xmlns:p15="http://schemas.microsoft.com/office/powerpoint/2012/main">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2" pos="7680">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0_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2" y="4101573"/>
            <a:ext cx="5507737"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6">
            <a:extLst>
              <a:ext uri="{FF2B5EF4-FFF2-40B4-BE49-F238E27FC236}">
                <a16:creationId xmlns:a16="http://schemas.microsoft.com/office/drawing/2014/main" id="{2C885D8B-7EE2-0F64-29CF-75120E892AB5}"/>
              </a:ext>
            </a:extLst>
          </p:cNvPr>
          <p:cNvSpPr>
            <a:spLocks noGrp="1"/>
          </p:cNvSpPr>
          <p:nvPr>
            <p:ph type="body" sz="quarter" idx="13"/>
          </p:nvPr>
        </p:nvSpPr>
        <p:spPr>
          <a:xfrm>
            <a:off x="6292103" y="4101573"/>
            <a:ext cx="5507737" cy="2117503"/>
          </a:xfrm>
        </p:spPr>
        <p:txBody>
          <a:bodyPr>
            <a:noAutofit/>
          </a:bodyPr>
          <a:lstStyle>
            <a:lvl1pPr>
              <a:spcBef>
                <a:spcPts val="600"/>
              </a:spcBef>
              <a:spcAft>
                <a:spcPts val="600"/>
              </a:spcAft>
              <a:defRPr sz="2000">
                <a:solidFill>
                  <a:schemeClr val="accent2">
                    <a:lumMod val="60000"/>
                    <a:lumOff val="40000"/>
                  </a:schemeClr>
                </a:solidFill>
                <a:latin typeface="+mj-lt"/>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1354345"/>
      </p:ext>
    </p:extLst>
  </p:cSld>
  <p:clrMapOvr>
    <a:masterClrMapping/>
  </p:clrMapOvr>
  <p:transition>
    <p:fade/>
  </p:transition>
  <p:extLst>
    <p:ext uri="{DCECCB84-F9BA-43D5-87BE-67443E8EF086}">
      <p15:sldGuideLst xmlns:p15="http://schemas.microsoft.com/office/powerpoint/2012/main">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2" pos="7680">
          <p15:clr>
            <a:srgbClr val="A4A3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588263" y="1011198"/>
            <a:ext cx="11056094" cy="369332"/>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5219241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44" name="Text Placeholder 8">
            <a:extLst>
              <a:ext uri="{FF2B5EF4-FFF2-40B4-BE49-F238E27FC236}">
                <a16:creationId xmlns:a16="http://schemas.microsoft.com/office/drawing/2014/main" id="{466E487B-6F1B-B612-9103-BFB71E7599A0}"/>
              </a:ext>
            </a:extLst>
          </p:cNvPr>
          <p:cNvSpPr>
            <a:spLocks noGrp="1"/>
          </p:cNvSpPr>
          <p:nvPr>
            <p:ph type="body" sz="quarter" idx="21"/>
          </p:nvPr>
        </p:nvSpPr>
        <p:spPr>
          <a:xfrm>
            <a:off x="6968635" y="4671140"/>
            <a:ext cx="1646102"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sp>
        <p:nvSpPr>
          <p:cNvPr id="5" name="Text Placeholder 8">
            <a:extLst>
              <a:ext uri="{FF2B5EF4-FFF2-40B4-BE49-F238E27FC236}">
                <a16:creationId xmlns:a16="http://schemas.microsoft.com/office/drawing/2014/main" id="{9BDA5E16-747A-FBA7-DAE2-A7B1F704F4BA}"/>
              </a:ext>
            </a:extLst>
          </p:cNvPr>
          <p:cNvSpPr>
            <a:spLocks noGrp="1"/>
          </p:cNvSpPr>
          <p:nvPr>
            <p:ph type="body" sz="quarter" idx="17"/>
          </p:nvPr>
        </p:nvSpPr>
        <p:spPr>
          <a:xfrm>
            <a:off x="5544323" y="3920657"/>
            <a:ext cx="5082455" cy="393570"/>
          </a:xfrm>
        </p:spPr>
        <p:txBody>
          <a:bodyPr anchor="ctr"/>
          <a:lstStyle>
            <a:lvl1pPr algn="ctr">
              <a:defRPr kumimoji="0" lang="en-US" sz="14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pPr lvl="0"/>
            <a:r>
              <a:rPr lang="en-US"/>
              <a:t>Click to edit</a:t>
            </a:r>
          </a:p>
        </p:txBody>
      </p:sp>
      <p:sp>
        <p:nvSpPr>
          <p:cNvPr id="4" name="Title 3">
            <a:extLst>
              <a:ext uri="{FF2B5EF4-FFF2-40B4-BE49-F238E27FC236}">
                <a16:creationId xmlns:a16="http://schemas.microsoft.com/office/drawing/2014/main" id="{DA722DA1-E48A-0989-FE5F-F9DCC94C78CF}"/>
              </a:ext>
            </a:extLst>
          </p:cNvPr>
          <p:cNvSpPr>
            <a:spLocks noGrp="1"/>
          </p:cNvSpPr>
          <p:nvPr>
            <p:ph type="title"/>
          </p:nvPr>
        </p:nvSpPr>
        <p:spPr/>
        <p:txBody>
          <a:bodyPr/>
          <a:lstStyle/>
          <a:p>
            <a:r>
              <a:rPr lang="en-US"/>
              <a:t>Click to edit Master title style</a:t>
            </a:r>
          </a:p>
        </p:txBody>
      </p:sp>
      <p:sp>
        <p:nvSpPr>
          <p:cNvPr id="9" name="Text Placeholder 8">
            <a:extLst>
              <a:ext uri="{FF2B5EF4-FFF2-40B4-BE49-F238E27FC236}">
                <a16:creationId xmlns:a16="http://schemas.microsoft.com/office/drawing/2014/main" id="{A89A26F8-FE15-52DF-2686-B644BDE060CF}"/>
              </a:ext>
            </a:extLst>
          </p:cNvPr>
          <p:cNvSpPr>
            <a:spLocks noGrp="1"/>
          </p:cNvSpPr>
          <p:nvPr>
            <p:ph type="body" sz="quarter" idx="10" hasCustomPrompt="1"/>
          </p:nvPr>
        </p:nvSpPr>
        <p:spPr>
          <a:xfrm>
            <a:off x="2838450"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pPr lvl="0"/>
            <a:r>
              <a:rPr lang="en-US"/>
              <a:t>Collaborate</a:t>
            </a:r>
          </a:p>
        </p:txBody>
      </p:sp>
      <p:sp>
        <p:nvSpPr>
          <p:cNvPr id="10" name="Text Placeholder 8">
            <a:extLst>
              <a:ext uri="{FF2B5EF4-FFF2-40B4-BE49-F238E27FC236}">
                <a16:creationId xmlns:a16="http://schemas.microsoft.com/office/drawing/2014/main" id="{1FC05BF3-0669-BCE9-143B-E079C83E1711}"/>
              </a:ext>
            </a:extLst>
          </p:cNvPr>
          <p:cNvSpPr>
            <a:spLocks noGrp="1"/>
          </p:cNvSpPr>
          <p:nvPr>
            <p:ph type="body" sz="quarter" idx="11" hasCustomPrompt="1"/>
          </p:nvPr>
        </p:nvSpPr>
        <p:spPr>
          <a:xfrm>
            <a:off x="4626864"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r>
              <a:rPr lang="en-US"/>
              <a:t>Build app</a:t>
            </a:r>
          </a:p>
        </p:txBody>
      </p:sp>
      <p:sp>
        <p:nvSpPr>
          <p:cNvPr id="11" name="Text Placeholder 8">
            <a:extLst>
              <a:ext uri="{FF2B5EF4-FFF2-40B4-BE49-F238E27FC236}">
                <a16:creationId xmlns:a16="http://schemas.microsoft.com/office/drawing/2014/main" id="{09C68FB7-A769-D34B-1B3D-5CF758BD236F}"/>
              </a:ext>
            </a:extLst>
          </p:cNvPr>
          <p:cNvSpPr>
            <a:spLocks noGrp="1"/>
          </p:cNvSpPr>
          <p:nvPr>
            <p:ph type="body" sz="quarter" idx="12" hasCustomPrompt="1"/>
          </p:nvPr>
        </p:nvSpPr>
        <p:spPr>
          <a:xfrm>
            <a:off x="6409944"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r>
              <a:rPr lang="en-US"/>
              <a:t>Test app</a:t>
            </a:r>
          </a:p>
        </p:txBody>
      </p:sp>
      <p:sp>
        <p:nvSpPr>
          <p:cNvPr id="12" name="Text Placeholder 8">
            <a:extLst>
              <a:ext uri="{FF2B5EF4-FFF2-40B4-BE49-F238E27FC236}">
                <a16:creationId xmlns:a16="http://schemas.microsoft.com/office/drawing/2014/main" id="{32C469E4-36EC-0A19-BC96-3CD636D5D9C6}"/>
              </a:ext>
            </a:extLst>
          </p:cNvPr>
          <p:cNvSpPr>
            <a:spLocks noGrp="1"/>
          </p:cNvSpPr>
          <p:nvPr>
            <p:ph type="body" sz="quarter" idx="13" hasCustomPrompt="1"/>
          </p:nvPr>
        </p:nvSpPr>
        <p:spPr>
          <a:xfrm>
            <a:off x="8193024"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r>
              <a:rPr lang="en-US"/>
              <a:t>Release app</a:t>
            </a:r>
          </a:p>
        </p:txBody>
      </p:sp>
      <p:sp>
        <p:nvSpPr>
          <p:cNvPr id="13" name="Text Placeholder 8">
            <a:extLst>
              <a:ext uri="{FF2B5EF4-FFF2-40B4-BE49-F238E27FC236}">
                <a16:creationId xmlns:a16="http://schemas.microsoft.com/office/drawing/2014/main" id="{FB47FFCC-D8B9-CBEA-E3BB-3002F379B952}"/>
              </a:ext>
            </a:extLst>
          </p:cNvPr>
          <p:cNvSpPr>
            <a:spLocks noGrp="1"/>
          </p:cNvSpPr>
          <p:nvPr>
            <p:ph type="body" sz="quarter" idx="14" hasCustomPrompt="1"/>
          </p:nvPr>
        </p:nvSpPr>
        <p:spPr>
          <a:xfrm>
            <a:off x="10058400" y="1832444"/>
            <a:ext cx="1316038" cy="312673"/>
          </a:xfrm>
        </p:spPr>
        <p:txBody>
          <a:bodyPr/>
          <a:lstStyle>
            <a:lvl1pPr algn="ctr">
              <a:defRPr kumimoji="0" lang="en-US" sz="1600" b="0" i="0" u="none" strike="noStrike" kern="1200" cap="none" spc="0" normalizeH="0" baseline="0" dirty="0" smtClean="0">
                <a:ln>
                  <a:noFill/>
                </a:ln>
                <a:solidFill>
                  <a:prstClr val="white"/>
                </a:solidFill>
                <a:effectLst/>
                <a:uLnTx/>
                <a:uFillTx/>
                <a:latin typeface="Segoe UI Semibold"/>
                <a:ea typeface="+mn-ea"/>
                <a:cs typeface="Courier New" panose="02070309020205020404" pitchFamily="49" charset="0"/>
              </a:defRPr>
            </a:lvl1pPr>
          </a:lstStyle>
          <a:p>
            <a:r>
              <a:rPr lang="en-US"/>
              <a:t>Monitor app</a:t>
            </a:r>
          </a:p>
        </p:txBody>
      </p:sp>
      <p:sp>
        <p:nvSpPr>
          <p:cNvPr id="14" name="Rectangle 13">
            <a:extLst>
              <a:ext uri="{FF2B5EF4-FFF2-40B4-BE49-F238E27FC236}">
                <a16:creationId xmlns:a16="http://schemas.microsoft.com/office/drawing/2014/main" id="{41D51588-6A00-F23D-74D8-361A5BFF7E8E}"/>
              </a:ext>
              <a:ext uri="{C183D7F6-B498-43B3-948B-1728B52AA6E4}">
                <adec:decorative xmlns:adec="http://schemas.microsoft.com/office/drawing/2017/decorative" val="1"/>
              </a:ext>
            </a:extLst>
          </p:cNvPr>
          <p:cNvSpPr/>
          <p:nvPr userDrawn="1"/>
        </p:nvSpPr>
        <p:spPr bwMode="auto">
          <a:xfrm>
            <a:off x="0" y="5882365"/>
            <a:ext cx="12192000" cy="975635"/>
          </a:xfrm>
          <a:prstGeom prst="rect">
            <a:avLst/>
          </a:prstGeom>
          <a:solidFill>
            <a:schemeClr val="accent2">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5" name="Group 14" descr="Model reproducibility unchecked box&#10;">
            <a:extLst>
              <a:ext uri="{FF2B5EF4-FFF2-40B4-BE49-F238E27FC236}">
                <a16:creationId xmlns:a16="http://schemas.microsoft.com/office/drawing/2014/main" id="{91329E2B-1F2B-6C9B-2779-3D1EC8C2C1B7}"/>
              </a:ext>
            </a:extLst>
          </p:cNvPr>
          <p:cNvGrpSpPr/>
          <p:nvPr userDrawn="1"/>
        </p:nvGrpSpPr>
        <p:grpSpPr>
          <a:xfrm>
            <a:off x="644653" y="6247072"/>
            <a:ext cx="2411271" cy="246221"/>
            <a:chOff x="644653" y="6247072"/>
            <a:chExt cx="2411271" cy="246221"/>
          </a:xfrm>
        </p:grpSpPr>
        <p:sp>
          <p:nvSpPr>
            <p:cNvPr id="16" name="TextBox 15" descr="Model reproducibility unchecked box&#10;">
              <a:extLst>
                <a:ext uri="{FF2B5EF4-FFF2-40B4-BE49-F238E27FC236}">
                  <a16:creationId xmlns:a16="http://schemas.microsoft.com/office/drawing/2014/main" id="{B7D0D226-CCC3-D2D4-B13B-5038A4C4A9BD}"/>
                </a:ext>
              </a:extLst>
            </p:cNvPr>
            <p:cNvSpPr txBox="1"/>
            <p:nvPr/>
          </p:nvSpPr>
          <p:spPr>
            <a:xfrm>
              <a:off x="998524" y="6247072"/>
              <a:ext cx="2057400"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Model reproducibility</a:t>
              </a:r>
            </a:p>
          </p:txBody>
        </p:sp>
        <p:sp>
          <p:nvSpPr>
            <p:cNvPr id="17" name="Graphic 3" descr="Close">
              <a:extLst>
                <a:ext uri="{FF2B5EF4-FFF2-40B4-BE49-F238E27FC236}">
                  <a16:creationId xmlns:a16="http://schemas.microsoft.com/office/drawing/2014/main" id="{78D0ECDD-F2FB-7D7C-37F3-E14D0DD7D0BB}"/>
                </a:ext>
              </a:extLst>
            </p:cNvPr>
            <p:cNvSpPr/>
            <p:nvPr/>
          </p:nvSpPr>
          <p:spPr>
            <a:xfrm>
              <a:off x="644653" y="6276844"/>
              <a:ext cx="184128" cy="184128"/>
            </a:xfrm>
            <a:prstGeom prst="rect">
              <a:avLst/>
            </a:prstGeom>
            <a:noFill/>
            <a:ln w="3810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8" name="Group 17" descr="Model validation unchecked box">
            <a:extLst>
              <a:ext uri="{FF2B5EF4-FFF2-40B4-BE49-F238E27FC236}">
                <a16:creationId xmlns:a16="http://schemas.microsoft.com/office/drawing/2014/main" id="{BF1A0FE0-FF1C-40C5-E701-0586284B6ADB}"/>
              </a:ext>
            </a:extLst>
          </p:cNvPr>
          <p:cNvGrpSpPr/>
          <p:nvPr userDrawn="1"/>
        </p:nvGrpSpPr>
        <p:grpSpPr>
          <a:xfrm>
            <a:off x="3805782" y="6247072"/>
            <a:ext cx="1978373" cy="246221"/>
            <a:chOff x="3805782" y="6247072"/>
            <a:chExt cx="1978373" cy="246221"/>
          </a:xfrm>
        </p:grpSpPr>
        <p:sp>
          <p:nvSpPr>
            <p:cNvPr id="19" name="TextBox 18" descr="Model validation unchecked box">
              <a:extLst>
                <a:ext uri="{FF2B5EF4-FFF2-40B4-BE49-F238E27FC236}">
                  <a16:creationId xmlns:a16="http://schemas.microsoft.com/office/drawing/2014/main" id="{D3015B0A-B2D8-2C4C-F3E3-07948CA3B161}"/>
                </a:ext>
              </a:extLst>
            </p:cNvPr>
            <p:cNvSpPr txBox="1"/>
            <p:nvPr/>
          </p:nvSpPr>
          <p:spPr>
            <a:xfrm>
              <a:off x="4153972" y="6247072"/>
              <a:ext cx="1630183"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Model validation</a:t>
              </a:r>
            </a:p>
          </p:txBody>
        </p:sp>
        <p:sp>
          <p:nvSpPr>
            <p:cNvPr id="20" name="Graphic 3" descr="Close">
              <a:extLst>
                <a:ext uri="{FF2B5EF4-FFF2-40B4-BE49-F238E27FC236}">
                  <a16:creationId xmlns:a16="http://schemas.microsoft.com/office/drawing/2014/main" id="{F844985E-6A2D-176D-5E9D-5263239008E0}"/>
                </a:ext>
              </a:extLst>
            </p:cNvPr>
            <p:cNvSpPr/>
            <p:nvPr/>
          </p:nvSpPr>
          <p:spPr>
            <a:xfrm>
              <a:off x="3805782" y="6276844"/>
              <a:ext cx="184128" cy="184128"/>
            </a:xfrm>
            <a:prstGeom prst="rect">
              <a:avLst/>
            </a:prstGeom>
            <a:noFill/>
            <a:ln w="3810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1" name="Group 20" descr="Model deployment unchecked box">
            <a:extLst>
              <a:ext uri="{FF2B5EF4-FFF2-40B4-BE49-F238E27FC236}">
                <a16:creationId xmlns:a16="http://schemas.microsoft.com/office/drawing/2014/main" id="{92AD9643-73AE-7AF6-9408-BAA7E2F6528A}"/>
              </a:ext>
            </a:extLst>
          </p:cNvPr>
          <p:cNvGrpSpPr/>
          <p:nvPr userDrawn="1"/>
        </p:nvGrpSpPr>
        <p:grpSpPr>
          <a:xfrm>
            <a:off x="6535426" y="6247072"/>
            <a:ext cx="2252012" cy="246221"/>
            <a:chOff x="6535426" y="6247072"/>
            <a:chExt cx="2252012" cy="246221"/>
          </a:xfrm>
        </p:grpSpPr>
        <p:sp>
          <p:nvSpPr>
            <p:cNvPr id="22" name="TextBox 21" descr="Model deployment unchecked box">
              <a:extLst>
                <a:ext uri="{FF2B5EF4-FFF2-40B4-BE49-F238E27FC236}">
                  <a16:creationId xmlns:a16="http://schemas.microsoft.com/office/drawing/2014/main" id="{65B8788F-6BE1-14A2-13E5-402103C1ED5C}"/>
                </a:ext>
              </a:extLst>
            </p:cNvPr>
            <p:cNvSpPr txBox="1"/>
            <p:nvPr/>
          </p:nvSpPr>
          <p:spPr>
            <a:xfrm>
              <a:off x="6883616" y="6247072"/>
              <a:ext cx="1903822"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Model deployment</a:t>
              </a:r>
            </a:p>
          </p:txBody>
        </p:sp>
        <p:sp>
          <p:nvSpPr>
            <p:cNvPr id="23" name="Graphic 3" descr="Close">
              <a:extLst>
                <a:ext uri="{FF2B5EF4-FFF2-40B4-BE49-F238E27FC236}">
                  <a16:creationId xmlns:a16="http://schemas.microsoft.com/office/drawing/2014/main" id="{04EC9AB1-CB55-AA5D-F375-EF8A8742FB26}"/>
                </a:ext>
              </a:extLst>
            </p:cNvPr>
            <p:cNvSpPr/>
            <p:nvPr/>
          </p:nvSpPr>
          <p:spPr>
            <a:xfrm>
              <a:off x="6535426" y="6276844"/>
              <a:ext cx="184128" cy="184128"/>
            </a:xfrm>
            <a:prstGeom prst="rect">
              <a:avLst/>
            </a:prstGeom>
            <a:noFill/>
            <a:ln w="3810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4" name="Group 23" descr="Model retraining unchecked box&#10;">
            <a:extLst>
              <a:ext uri="{FF2B5EF4-FFF2-40B4-BE49-F238E27FC236}">
                <a16:creationId xmlns:a16="http://schemas.microsoft.com/office/drawing/2014/main" id="{F53B20AE-4966-F7B0-A89E-F06FAE51BBAA}"/>
              </a:ext>
            </a:extLst>
          </p:cNvPr>
          <p:cNvGrpSpPr/>
          <p:nvPr userDrawn="1"/>
        </p:nvGrpSpPr>
        <p:grpSpPr>
          <a:xfrm>
            <a:off x="9534890" y="6247072"/>
            <a:ext cx="1920568" cy="246221"/>
            <a:chOff x="9534890" y="6247072"/>
            <a:chExt cx="1920568" cy="246221"/>
          </a:xfrm>
        </p:grpSpPr>
        <p:sp>
          <p:nvSpPr>
            <p:cNvPr id="25" name="TextBox 24" descr="Model retraining unchecked box">
              <a:extLst>
                <a:ext uri="{FF2B5EF4-FFF2-40B4-BE49-F238E27FC236}">
                  <a16:creationId xmlns:a16="http://schemas.microsoft.com/office/drawing/2014/main" id="{5810FCDE-BE4F-442E-B04F-818A66FA9FC1}"/>
                </a:ext>
              </a:extLst>
            </p:cNvPr>
            <p:cNvSpPr txBox="1"/>
            <p:nvPr/>
          </p:nvSpPr>
          <p:spPr>
            <a:xfrm>
              <a:off x="9886898" y="6247072"/>
              <a:ext cx="1568560" cy="246221"/>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a:ea typeface="+mn-ea"/>
                  <a:cs typeface="+mn-cs"/>
                </a:rPr>
                <a:t>Model retraining</a:t>
              </a:r>
            </a:p>
          </p:txBody>
        </p:sp>
        <p:sp>
          <p:nvSpPr>
            <p:cNvPr id="26" name="Graphic 3" descr="Close">
              <a:extLst>
                <a:ext uri="{FF2B5EF4-FFF2-40B4-BE49-F238E27FC236}">
                  <a16:creationId xmlns:a16="http://schemas.microsoft.com/office/drawing/2014/main" id="{3BF5AAA6-F45A-F9C8-B25B-3B9D0152AB9C}"/>
                </a:ext>
              </a:extLst>
            </p:cNvPr>
            <p:cNvSpPr/>
            <p:nvPr/>
          </p:nvSpPr>
          <p:spPr>
            <a:xfrm>
              <a:off x="9534890" y="6276844"/>
              <a:ext cx="184128" cy="184128"/>
            </a:xfrm>
            <a:prstGeom prst="rect">
              <a:avLst/>
            </a:prstGeom>
            <a:noFill/>
            <a:ln w="3810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7" name="App developer using Azure DevOps" descr="App developer&#10;using Azure DevOps &#10;icon&#10;">
            <a:extLst>
              <a:ext uri="{FF2B5EF4-FFF2-40B4-BE49-F238E27FC236}">
                <a16:creationId xmlns:a16="http://schemas.microsoft.com/office/drawing/2014/main" id="{D9F19416-DA31-E94C-402A-9E5B50465D01}"/>
              </a:ext>
            </a:extLst>
          </p:cNvPr>
          <p:cNvGrpSpPr/>
          <p:nvPr userDrawn="1"/>
        </p:nvGrpSpPr>
        <p:grpSpPr>
          <a:xfrm>
            <a:off x="361734" y="2145117"/>
            <a:ext cx="1877437" cy="1329264"/>
            <a:chOff x="361727" y="2145117"/>
            <a:chExt cx="1877437" cy="1329264"/>
          </a:xfrm>
        </p:grpSpPr>
        <p:sp>
          <p:nvSpPr>
            <p:cNvPr id="28" name="TextBox 27" descr="App developer&#10;using Azure DevOps &#10;icon">
              <a:extLst>
                <a:ext uri="{FF2B5EF4-FFF2-40B4-BE49-F238E27FC236}">
                  <a16:creationId xmlns:a16="http://schemas.microsoft.com/office/drawing/2014/main" id="{D42E16B1-D86B-B9BC-E969-E1DB36AD66EE}"/>
                </a:ext>
              </a:extLst>
            </p:cNvPr>
            <p:cNvSpPr txBox="1"/>
            <p:nvPr/>
          </p:nvSpPr>
          <p:spPr>
            <a:xfrm>
              <a:off x="361727" y="2951161"/>
              <a:ext cx="1877437"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2">
                      <a:lumMod val="60000"/>
                      <a:lumOff val="40000"/>
                    </a:schemeClr>
                  </a:solidFill>
                  <a:effectLst/>
                  <a:uLnTx/>
                  <a:uFillTx/>
                  <a:latin typeface="Segoe UI Semibold"/>
                  <a:ea typeface="+mn-ea"/>
                  <a:cs typeface="+mn-cs"/>
                </a:rPr>
                <a:t>App develop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2">
                      <a:lumMod val="60000"/>
                      <a:lumOff val="40000"/>
                    </a:schemeClr>
                  </a:solidFill>
                  <a:effectLst/>
                  <a:uLnTx/>
                  <a:uFillTx/>
                  <a:latin typeface="Segoe UI Semibold"/>
                  <a:ea typeface="+mn-ea"/>
                  <a:cs typeface="+mn-cs"/>
                </a:rPr>
                <a:t>using Azure DevOps </a:t>
              </a:r>
            </a:p>
          </p:txBody>
        </p:sp>
        <p:grpSp>
          <p:nvGrpSpPr>
            <p:cNvPr id="29" name="Group 28">
              <a:extLst>
                <a:ext uri="{FF2B5EF4-FFF2-40B4-BE49-F238E27FC236}">
                  <a16:creationId xmlns:a16="http://schemas.microsoft.com/office/drawing/2014/main" id="{3BA64AEA-D9C2-7413-9B6B-4C2F72331DB4}"/>
                </a:ext>
              </a:extLst>
            </p:cNvPr>
            <p:cNvGrpSpPr/>
            <p:nvPr/>
          </p:nvGrpSpPr>
          <p:grpSpPr>
            <a:xfrm>
              <a:off x="793687" y="2145117"/>
              <a:ext cx="1013516" cy="819140"/>
              <a:chOff x="1926612" y="1473125"/>
              <a:chExt cx="701441" cy="566916"/>
            </a:xfrm>
          </p:grpSpPr>
          <p:pic>
            <p:nvPicPr>
              <p:cNvPr id="30" name="Graphic 29" descr="Cloud">
                <a:extLst>
                  <a:ext uri="{FF2B5EF4-FFF2-40B4-BE49-F238E27FC236}">
                    <a16:creationId xmlns:a16="http://schemas.microsoft.com/office/drawing/2014/main" id="{A025B6FE-49DC-57FB-9D1C-9BC7C79E77D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2061137" y="1473125"/>
                <a:ext cx="566916" cy="566916"/>
              </a:xfrm>
              <a:prstGeom prst="rect">
                <a:avLst/>
              </a:prstGeom>
            </p:spPr>
          </p:pic>
          <p:pic>
            <p:nvPicPr>
              <p:cNvPr id="31" name="Graphic 30">
                <a:extLst>
                  <a:ext uri="{FF2B5EF4-FFF2-40B4-BE49-F238E27FC236}">
                    <a16:creationId xmlns:a16="http://schemas.microsoft.com/office/drawing/2014/main" id="{1663F212-6510-44F0-4AE7-6287DE8D01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26612" y="1574533"/>
                <a:ext cx="394711" cy="394711"/>
              </a:xfrm>
              <a:prstGeom prst="rect">
                <a:avLst/>
              </a:prstGeom>
            </p:spPr>
          </p:pic>
          <p:pic>
            <p:nvPicPr>
              <p:cNvPr id="32" name="Graphic 31" descr="Badge New">
                <a:extLst>
                  <a:ext uri="{FF2B5EF4-FFF2-40B4-BE49-F238E27FC236}">
                    <a16:creationId xmlns:a16="http://schemas.microsoft.com/office/drawing/2014/main" id="{657450FA-FA2F-A4CB-D894-2A44196BE7D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04838" y="1708005"/>
                <a:ext cx="268530" cy="268530"/>
              </a:xfrm>
              <a:prstGeom prst="rect">
                <a:avLst/>
              </a:prstGeom>
            </p:spPr>
          </p:pic>
        </p:grpSp>
      </p:grpSp>
      <p:grpSp>
        <p:nvGrpSpPr>
          <p:cNvPr id="33" name="Data scientist using Azure Machine Learning" descr="Data scientist using &#10;Azure Machine Learning&#10;icon&#10;">
            <a:extLst>
              <a:ext uri="{FF2B5EF4-FFF2-40B4-BE49-F238E27FC236}">
                <a16:creationId xmlns:a16="http://schemas.microsoft.com/office/drawing/2014/main" id="{409B0F23-9548-6A0D-8D62-A17C187FD068}"/>
              </a:ext>
            </a:extLst>
          </p:cNvPr>
          <p:cNvGrpSpPr/>
          <p:nvPr userDrawn="1"/>
        </p:nvGrpSpPr>
        <p:grpSpPr>
          <a:xfrm>
            <a:off x="223875" y="3905375"/>
            <a:ext cx="2153155" cy="1263163"/>
            <a:chOff x="223875" y="3905375"/>
            <a:chExt cx="2153155" cy="1263163"/>
          </a:xfrm>
        </p:grpSpPr>
        <p:sp>
          <p:nvSpPr>
            <p:cNvPr id="34" name="TextBox 33" descr="Data scientist using &#10;Azure Machine Learning&#10;icon">
              <a:extLst>
                <a:ext uri="{FF2B5EF4-FFF2-40B4-BE49-F238E27FC236}">
                  <a16:creationId xmlns:a16="http://schemas.microsoft.com/office/drawing/2014/main" id="{01720F41-2B17-0309-61EA-19EFB002A871}"/>
                </a:ext>
              </a:extLst>
            </p:cNvPr>
            <p:cNvSpPr txBox="1"/>
            <p:nvPr/>
          </p:nvSpPr>
          <p:spPr>
            <a:xfrm>
              <a:off x="223875" y="4645318"/>
              <a:ext cx="215315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mn-cs"/>
                </a:rPr>
                <a:t>Data scientist us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E6FF"/>
                  </a:solidFill>
                  <a:effectLst/>
                  <a:uLnTx/>
                  <a:uFillTx/>
                  <a:latin typeface="Segoe UI Semibold"/>
                  <a:ea typeface="+mn-ea"/>
                  <a:cs typeface="+mn-cs"/>
                </a:rPr>
                <a:t>Azure Machine Learning</a:t>
              </a:r>
            </a:p>
          </p:txBody>
        </p:sp>
        <p:grpSp>
          <p:nvGrpSpPr>
            <p:cNvPr id="35" name="Group 34">
              <a:extLst>
                <a:ext uri="{FF2B5EF4-FFF2-40B4-BE49-F238E27FC236}">
                  <a16:creationId xmlns:a16="http://schemas.microsoft.com/office/drawing/2014/main" id="{A938EF83-BDF1-3FF8-85E6-0097B47FF429}"/>
                </a:ext>
              </a:extLst>
            </p:cNvPr>
            <p:cNvGrpSpPr/>
            <p:nvPr/>
          </p:nvGrpSpPr>
          <p:grpSpPr>
            <a:xfrm>
              <a:off x="701412" y="3905375"/>
              <a:ext cx="1198081" cy="724554"/>
              <a:chOff x="-947997" y="1189350"/>
              <a:chExt cx="1060049" cy="641077"/>
            </a:xfrm>
          </p:grpSpPr>
          <p:grpSp>
            <p:nvGrpSpPr>
              <p:cNvPr id="36" name="Group 35">
                <a:extLst>
                  <a:ext uri="{FF2B5EF4-FFF2-40B4-BE49-F238E27FC236}">
                    <a16:creationId xmlns:a16="http://schemas.microsoft.com/office/drawing/2014/main" id="{D430B5CD-0746-DFBE-ECD3-A499FC744847}"/>
                  </a:ext>
                </a:extLst>
              </p:cNvPr>
              <p:cNvGrpSpPr/>
              <p:nvPr/>
            </p:nvGrpSpPr>
            <p:grpSpPr>
              <a:xfrm>
                <a:off x="-947997" y="1189350"/>
                <a:ext cx="583132" cy="641077"/>
                <a:chOff x="-271771" y="1926054"/>
                <a:chExt cx="341256" cy="375166"/>
              </a:xfrm>
            </p:grpSpPr>
            <p:sp>
              <p:nvSpPr>
                <p:cNvPr id="38" name="Freeform: Shape 37">
                  <a:extLst>
                    <a:ext uri="{FF2B5EF4-FFF2-40B4-BE49-F238E27FC236}">
                      <a16:creationId xmlns:a16="http://schemas.microsoft.com/office/drawing/2014/main" id="{7705C75B-9D15-00F2-2D52-A1216B5C5F59}"/>
                    </a:ext>
                    <a:ext uri="{C183D7F6-B498-43B3-948B-1728B52AA6E4}">
                      <adec:decorative xmlns:adec="http://schemas.microsoft.com/office/drawing/2017/decorative" val="1"/>
                    </a:ext>
                  </a:extLst>
                </p:cNvPr>
                <p:cNvSpPr/>
                <p:nvPr/>
              </p:nvSpPr>
              <p:spPr>
                <a:xfrm>
                  <a:off x="-271771" y="2094522"/>
                  <a:ext cx="341256" cy="206698"/>
                </a:xfrm>
                <a:custGeom>
                  <a:avLst/>
                  <a:gdLst>
                    <a:gd name="connsiteX0" fmla="*/ 310832 w 341256"/>
                    <a:gd name="connsiteY0" fmla="*/ 206699 h 206698"/>
                    <a:gd name="connsiteX1" fmla="*/ 341161 w 341256"/>
                    <a:gd name="connsiteY1" fmla="*/ 176369 h 206698"/>
                    <a:gd name="connsiteX2" fmla="*/ 341161 w 341256"/>
                    <a:gd name="connsiteY2" fmla="*/ 172801 h 206698"/>
                    <a:gd name="connsiteX3" fmla="*/ 171418 w 341256"/>
                    <a:gd name="connsiteY3" fmla="*/ 0 h 206698"/>
                    <a:gd name="connsiteX4" fmla="*/ 147 w 341256"/>
                    <a:gd name="connsiteY4" fmla="*/ 172037 h 206698"/>
                    <a:gd name="connsiteX5" fmla="*/ 27418 w 341256"/>
                    <a:gd name="connsiteY5" fmla="*/ 205424 h 206698"/>
                    <a:gd name="connsiteX6" fmla="*/ 310322 w 341256"/>
                    <a:gd name="connsiteY6" fmla="*/ 205424 h 20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256" h="206698">
                      <a:moveTo>
                        <a:pt x="310832" y="206699"/>
                      </a:moveTo>
                      <a:cubicBezTo>
                        <a:pt x="327582" y="206699"/>
                        <a:pt x="341161" y="193119"/>
                        <a:pt x="341161" y="176369"/>
                      </a:cubicBezTo>
                      <a:cubicBezTo>
                        <a:pt x="341289" y="175184"/>
                        <a:pt x="341289" y="173986"/>
                        <a:pt x="341161" y="172801"/>
                      </a:cubicBezTo>
                      <a:cubicBezTo>
                        <a:pt x="329182" y="77480"/>
                        <a:pt x="274895" y="0"/>
                        <a:pt x="171418" y="0"/>
                      </a:cubicBezTo>
                      <a:cubicBezTo>
                        <a:pt x="67942" y="0"/>
                        <a:pt x="11361" y="65756"/>
                        <a:pt x="147" y="172037"/>
                      </a:cubicBezTo>
                      <a:cubicBezTo>
                        <a:pt x="-1485" y="188769"/>
                        <a:pt x="10696" y="203684"/>
                        <a:pt x="27418" y="205424"/>
                      </a:cubicBezTo>
                      <a:lnTo>
                        <a:pt x="310322" y="205424"/>
                      </a:lnTo>
                      <a:close/>
                    </a:path>
                  </a:pathLst>
                </a:custGeom>
                <a:gradFill flip="none" rotWithShape="1">
                  <a:gsLst>
                    <a:gs pos="0">
                      <a:srgbClr val="0078D4"/>
                    </a:gs>
                    <a:gs pos="100000">
                      <a:srgbClr val="529BEB"/>
                    </a:gs>
                  </a:gsLst>
                  <a:lin ang="16200000" scaled="1"/>
                  <a:tileRect/>
                </a:gra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2">
                        <a:lumMod val="60000"/>
                        <a:lumOff val="40000"/>
                      </a:schemeClr>
                    </a:solidFill>
                    <a:effectLst/>
                    <a:uLnTx/>
                    <a:uFillTx/>
                    <a:latin typeface="Segoe UI"/>
                    <a:ea typeface="+mn-ea"/>
                    <a:cs typeface="+mn-cs"/>
                  </a:endParaRPr>
                </a:p>
              </p:txBody>
            </p:sp>
            <p:sp>
              <p:nvSpPr>
                <p:cNvPr id="39" name="Freeform: Shape 38">
                  <a:extLst>
                    <a:ext uri="{FF2B5EF4-FFF2-40B4-BE49-F238E27FC236}">
                      <a16:creationId xmlns:a16="http://schemas.microsoft.com/office/drawing/2014/main" id="{B1D7CD03-41E2-9262-51DA-ED74986D60C4}"/>
                    </a:ext>
                    <a:ext uri="{C183D7F6-B498-43B3-948B-1728B52AA6E4}">
                      <adec:decorative xmlns:adec="http://schemas.microsoft.com/office/drawing/2017/decorative" val="1"/>
                    </a:ext>
                  </a:extLst>
                </p:cNvPr>
                <p:cNvSpPr/>
                <p:nvPr/>
              </p:nvSpPr>
              <p:spPr>
                <a:xfrm>
                  <a:off x="-150052" y="2101914"/>
                  <a:ext cx="101947" cy="133806"/>
                </a:xfrm>
                <a:custGeom>
                  <a:avLst/>
                  <a:gdLst>
                    <a:gd name="connsiteX0" fmla="*/ 50974 w 101947"/>
                    <a:gd name="connsiteY0" fmla="*/ 15292 h 133806"/>
                    <a:gd name="connsiteX1" fmla="*/ 0 w 101947"/>
                    <a:gd name="connsiteY1" fmla="*/ 0 h 133806"/>
                    <a:gd name="connsiteX2" fmla="*/ 50974 w 101947"/>
                    <a:gd name="connsiteY2" fmla="*/ 133806 h 133806"/>
                    <a:gd name="connsiteX3" fmla="*/ 101948 w 101947"/>
                    <a:gd name="connsiteY3" fmla="*/ 1019 h 133806"/>
                    <a:gd name="connsiteX4" fmla="*/ 50974 w 101947"/>
                    <a:gd name="connsiteY4" fmla="*/ 15292 h 133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47" h="133806">
                      <a:moveTo>
                        <a:pt x="50974" y="15292"/>
                      </a:moveTo>
                      <a:cubicBezTo>
                        <a:pt x="32871" y="15166"/>
                        <a:pt x="15183" y="9859"/>
                        <a:pt x="0" y="0"/>
                      </a:cubicBezTo>
                      <a:lnTo>
                        <a:pt x="50974" y="133806"/>
                      </a:lnTo>
                      <a:lnTo>
                        <a:pt x="101948" y="1019"/>
                      </a:lnTo>
                      <a:cubicBezTo>
                        <a:pt x="86606" y="10406"/>
                        <a:pt x="68959" y="15347"/>
                        <a:pt x="50974" y="15292"/>
                      </a:cubicBezTo>
                      <a:close/>
                    </a:path>
                  </a:pathLst>
                </a:custGeom>
                <a:solidFill>
                  <a:srgbClr val="FFFFFF">
                    <a:alpha val="80000"/>
                  </a:srgbClr>
                </a:soli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2">
                        <a:lumMod val="60000"/>
                        <a:lumOff val="40000"/>
                      </a:schemeClr>
                    </a:solidFill>
                    <a:effectLst/>
                    <a:uLnTx/>
                    <a:uFillTx/>
                    <a:latin typeface="Segoe UI"/>
                    <a:ea typeface="+mn-ea"/>
                    <a:cs typeface="+mn-cs"/>
                  </a:endParaRPr>
                </a:p>
              </p:txBody>
            </p:sp>
            <p:sp>
              <p:nvSpPr>
                <p:cNvPr id="40" name="Freeform: Shape 39">
                  <a:extLst>
                    <a:ext uri="{FF2B5EF4-FFF2-40B4-BE49-F238E27FC236}">
                      <a16:creationId xmlns:a16="http://schemas.microsoft.com/office/drawing/2014/main" id="{46E8091E-0977-7FA9-F236-80F577C9AB7B}"/>
                    </a:ext>
                    <a:ext uri="{C183D7F6-B498-43B3-948B-1728B52AA6E4}">
                      <adec:decorative xmlns:adec="http://schemas.microsoft.com/office/drawing/2017/decorative" val="1"/>
                    </a:ext>
                  </a:extLst>
                </p:cNvPr>
                <p:cNvSpPr/>
                <p:nvPr/>
              </p:nvSpPr>
              <p:spPr>
                <a:xfrm>
                  <a:off x="-195419" y="1926054"/>
                  <a:ext cx="191151" cy="191151"/>
                </a:xfrm>
                <a:custGeom>
                  <a:avLst/>
                  <a:gdLst>
                    <a:gd name="connsiteX0" fmla="*/ 191152 w 191151"/>
                    <a:gd name="connsiteY0" fmla="*/ 95576 h 191151"/>
                    <a:gd name="connsiteX1" fmla="*/ 95576 w 191151"/>
                    <a:gd name="connsiteY1" fmla="*/ 191152 h 191151"/>
                    <a:gd name="connsiteX2" fmla="*/ 0 w 191151"/>
                    <a:gd name="connsiteY2" fmla="*/ 95576 h 191151"/>
                    <a:gd name="connsiteX3" fmla="*/ 95576 w 191151"/>
                    <a:gd name="connsiteY3" fmla="*/ 0 h 191151"/>
                    <a:gd name="connsiteX4" fmla="*/ 191152 w 191151"/>
                    <a:gd name="connsiteY4" fmla="*/ 95576 h 191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151" h="191151">
                      <a:moveTo>
                        <a:pt x="191152" y="95576"/>
                      </a:moveTo>
                      <a:cubicBezTo>
                        <a:pt x="191152" y="148361"/>
                        <a:pt x="148361" y="191152"/>
                        <a:pt x="95576" y="191152"/>
                      </a:cubicBezTo>
                      <a:cubicBezTo>
                        <a:pt x="42791" y="191152"/>
                        <a:pt x="0" y="148361"/>
                        <a:pt x="0" y="95576"/>
                      </a:cubicBezTo>
                      <a:cubicBezTo>
                        <a:pt x="0" y="42791"/>
                        <a:pt x="42791" y="0"/>
                        <a:pt x="95576" y="0"/>
                      </a:cubicBezTo>
                      <a:cubicBezTo>
                        <a:pt x="148361" y="0"/>
                        <a:pt x="191152" y="42791"/>
                        <a:pt x="191152" y="95576"/>
                      </a:cubicBezTo>
                      <a:close/>
                    </a:path>
                  </a:pathLst>
                </a:custGeom>
                <a:gradFill>
                  <a:gsLst>
                    <a:gs pos="0">
                      <a:srgbClr val="0078D4"/>
                    </a:gs>
                    <a:gs pos="100000">
                      <a:srgbClr val="0078D4"/>
                    </a:gs>
                  </a:gsLst>
                  <a:lin ang="5400000" scaled="1"/>
                </a:gradFill>
                <a:ln w="25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2">
                        <a:lumMod val="60000"/>
                        <a:lumOff val="40000"/>
                      </a:schemeClr>
                    </a:solidFill>
                    <a:effectLst/>
                    <a:uLnTx/>
                    <a:uFillTx/>
                    <a:latin typeface="Segoe UI"/>
                    <a:ea typeface="+mn-ea"/>
                    <a:cs typeface="+mn-cs"/>
                  </a:endParaRPr>
                </a:p>
              </p:txBody>
            </p:sp>
          </p:grpSp>
          <p:pic>
            <p:nvPicPr>
              <p:cNvPr id="37" name="Picture 36">
                <a:extLst>
                  <a:ext uri="{FF2B5EF4-FFF2-40B4-BE49-F238E27FC236}">
                    <a16:creationId xmlns:a16="http://schemas.microsoft.com/office/drawing/2014/main" id="{030F0F66-AB6F-AC93-D741-B74216D81A6A}"/>
                  </a:ext>
                  <a:ext uri="{C183D7F6-B498-43B3-948B-1728B52AA6E4}">
                    <adec:decorative xmlns:adec="http://schemas.microsoft.com/office/drawing/2017/decorative" val="1"/>
                  </a:ext>
                </a:extLst>
              </p:cNvPr>
              <p:cNvPicPr>
                <a:picLocks noChangeAspect="1"/>
              </p:cNvPicPr>
              <p:nvPr/>
            </p:nvPicPr>
            <p:blipFill rotWithShape="1">
              <a:blip r:embed="rId8">
                <a:extLst>
                  <a:ext uri="{28A0092B-C50C-407E-A947-70E740481C1C}">
                    <a14:useLocalDpi xmlns:a14="http://schemas.microsoft.com/office/drawing/2010/main"/>
                  </a:ext>
                </a:extLst>
              </a:blip>
              <a:srcRect r="-4596"/>
              <a:stretch/>
            </p:blipFill>
            <p:spPr>
              <a:xfrm>
                <a:off x="-619062" y="1333147"/>
                <a:ext cx="731114" cy="496486"/>
              </a:xfrm>
              <a:prstGeom prst="rect">
                <a:avLst/>
              </a:prstGeom>
            </p:spPr>
          </p:pic>
        </p:grpSp>
      </p:grpSp>
      <p:sp>
        <p:nvSpPr>
          <p:cNvPr id="2" name="Text Placeholder 8">
            <a:extLst>
              <a:ext uri="{FF2B5EF4-FFF2-40B4-BE49-F238E27FC236}">
                <a16:creationId xmlns:a16="http://schemas.microsoft.com/office/drawing/2014/main" id="{9CC5FA05-98B2-9D29-5A4C-CF53A9459B06}"/>
              </a:ext>
            </a:extLst>
          </p:cNvPr>
          <p:cNvSpPr>
            <a:spLocks noGrp="1"/>
          </p:cNvSpPr>
          <p:nvPr>
            <p:ph type="body" sz="quarter" idx="15"/>
          </p:nvPr>
        </p:nvSpPr>
        <p:spPr>
          <a:xfrm>
            <a:off x="4626864" y="3022552"/>
            <a:ext cx="1316038"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sp>
        <p:nvSpPr>
          <p:cNvPr id="3" name="Text Placeholder 8">
            <a:extLst>
              <a:ext uri="{FF2B5EF4-FFF2-40B4-BE49-F238E27FC236}">
                <a16:creationId xmlns:a16="http://schemas.microsoft.com/office/drawing/2014/main" id="{E8840D3F-3BB6-5549-775B-CE88DED45FEC}"/>
              </a:ext>
            </a:extLst>
          </p:cNvPr>
          <p:cNvSpPr>
            <a:spLocks noGrp="1"/>
          </p:cNvSpPr>
          <p:nvPr>
            <p:ph type="body" sz="quarter" idx="16"/>
          </p:nvPr>
        </p:nvSpPr>
        <p:spPr>
          <a:xfrm>
            <a:off x="6245352" y="3022552"/>
            <a:ext cx="1646102"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sp>
        <p:nvSpPr>
          <p:cNvPr id="6" name="Text Placeholder 8">
            <a:extLst>
              <a:ext uri="{FF2B5EF4-FFF2-40B4-BE49-F238E27FC236}">
                <a16:creationId xmlns:a16="http://schemas.microsoft.com/office/drawing/2014/main" id="{F2E8B489-DF74-596C-82CA-D2B74DCAC28D}"/>
              </a:ext>
            </a:extLst>
          </p:cNvPr>
          <p:cNvSpPr>
            <a:spLocks noGrp="1"/>
          </p:cNvSpPr>
          <p:nvPr>
            <p:ph type="body" sz="quarter" idx="18"/>
          </p:nvPr>
        </p:nvSpPr>
        <p:spPr>
          <a:xfrm>
            <a:off x="8083296" y="3022552"/>
            <a:ext cx="1646102"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sp>
        <p:nvSpPr>
          <p:cNvPr id="8" name="Text Placeholder 8">
            <a:extLst>
              <a:ext uri="{FF2B5EF4-FFF2-40B4-BE49-F238E27FC236}">
                <a16:creationId xmlns:a16="http://schemas.microsoft.com/office/drawing/2014/main" id="{C7C2C78B-27EA-A9B7-0CB8-9154A44A0EE1}"/>
              </a:ext>
            </a:extLst>
          </p:cNvPr>
          <p:cNvSpPr>
            <a:spLocks noGrp="1"/>
          </p:cNvSpPr>
          <p:nvPr>
            <p:ph type="body" sz="quarter" idx="19"/>
          </p:nvPr>
        </p:nvSpPr>
        <p:spPr>
          <a:xfrm>
            <a:off x="9904640" y="3022552"/>
            <a:ext cx="1646102" cy="246221"/>
          </a:xfrm>
        </p:spPr>
        <p:txBody>
          <a:bodyPr/>
          <a:lstStyle>
            <a:lvl1pPr algn="ctr">
              <a:defRPr kumimoji="0" lang="en-US" sz="16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Courier New" panose="02070309020205020404" pitchFamily="49" charset="0"/>
              </a:defRPr>
            </a:lvl1pPr>
          </a:lstStyle>
          <a:p>
            <a:pPr lvl="0"/>
            <a:r>
              <a:rPr lang="en-US"/>
              <a:t>Click to edit</a:t>
            </a:r>
          </a:p>
        </p:txBody>
      </p:sp>
      <p:grpSp>
        <p:nvGrpSpPr>
          <p:cNvPr id="42" name="Group 41" descr="Collaborate showing GitHub icon">
            <a:extLst>
              <a:ext uri="{FF2B5EF4-FFF2-40B4-BE49-F238E27FC236}">
                <a16:creationId xmlns:a16="http://schemas.microsoft.com/office/drawing/2014/main" id="{8BFF7479-9C89-DFB8-2B74-32D0B74BC939}"/>
              </a:ext>
            </a:extLst>
          </p:cNvPr>
          <p:cNvGrpSpPr/>
          <p:nvPr userDrawn="1"/>
        </p:nvGrpSpPr>
        <p:grpSpPr>
          <a:xfrm>
            <a:off x="3175111" y="2271607"/>
            <a:ext cx="642716" cy="643947"/>
            <a:chOff x="3034411" y="2271607"/>
            <a:chExt cx="642716" cy="643947"/>
          </a:xfrm>
        </p:grpSpPr>
        <p:sp useBgFill="1">
          <p:nvSpPr>
            <p:cNvPr id="43" name="Freeform 5">
              <a:extLst>
                <a:ext uri="{FF2B5EF4-FFF2-40B4-BE49-F238E27FC236}">
                  <a16:creationId xmlns:a16="http://schemas.microsoft.com/office/drawing/2014/main" id="{3012F7C2-444C-86C5-1D00-314F1615D425}"/>
                </a:ext>
              </a:extLst>
            </p:cNvPr>
            <p:cNvSpPr>
              <a:spLocks/>
            </p:cNvSpPr>
            <p:nvPr userDrawn="1"/>
          </p:nvSpPr>
          <p:spPr bwMode="auto">
            <a:xfrm>
              <a:off x="3034411" y="2271607"/>
              <a:ext cx="642716" cy="643947"/>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a:ln>
                  <a:noFill/>
                </a:ln>
                <a:noFill/>
                <a:effectLst/>
                <a:uLnTx/>
                <a:uFillTx/>
                <a:latin typeface="Segoe UI Semilight"/>
                <a:ea typeface="+mn-ea"/>
                <a:cs typeface="+mn-cs"/>
              </a:endParaRPr>
            </a:p>
          </p:txBody>
        </p:sp>
        <p:grpSp>
          <p:nvGrpSpPr>
            <p:cNvPr id="45" name="Group 44">
              <a:extLst>
                <a:ext uri="{FF2B5EF4-FFF2-40B4-BE49-F238E27FC236}">
                  <a16:creationId xmlns:a16="http://schemas.microsoft.com/office/drawing/2014/main" id="{B85E2B14-0F55-DF23-4BCC-E9EB75BECC61}"/>
                </a:ext>
              </a:extLst>
            </p:cNvPr>
            <p:cNvGrpSpPr>
              <a:grpSpLocks noChangeAspect="1"/>
            </p:cNvGrpSpPr>
            <p:nvPr/>
          </p:nvGrpSpPr>
          <p:grpSpPr bwMode="auto">
            <a:xfrm>
              <a:off x="3034411" y="2273421"/>
              <a:ext cx="642716" cy="628550"/>
              <a:chOff x="6634" y="3297"/>
              <a:chExt cx="2092" cy="2046"/>
            </a:xfrm>
            <a:solidFill>
              <a:schemeClr val="tx1"/>
            </a:solidFill>
          </p:grpSpPr>
          <p:sp>
            <p:nvSpPr>
              <p:cNvPr id="46" name="Freeform 5">
                <a:extLst>
                  <a:ext uri="{FF2B5EF4-FFF2-40B4-BE49-F238E27FC236}">
                    <a16:creationId xmlns:a16="http://schemas.microsoft.com/office/drawing/2014/main" id="{6160BDFC-8B56-6058-FA04-32864897098F}"/>
                  </a:ext>
                </a:extLst>
              </p:cNvPr>
              <p:cNvSpPr>
                <a:spLocks/>
              </p:cNvSpPr>
              <p:nvPr userDrawn="1"/>
            </p:nvSpPr>
            <p:spPr bwMode="auto">
              <a:xfrm>
                <a:off x="6634" y="3297"/>
                <a:ext cx="2092" cy="2046"/>
              </a:xfrm>
              <a:custGeom>
                <a:avLst/>
                <a:gdLst>
                  <a:gd name="T0" fmla="*/ 594 w 1187"/>
                  <a:gd name="T1" fmla="*/ 0 h 1161"/>
                  <a:gd name="T2" fmla="*/ 594 w 1187"/>
                  <a:gd name="T3" fmla="*/ 0 h 1161"/>
                  <a:gd name="T4" fmla="*/ 0 w 1187"/>
                  <a:gd name="T5" fmla="*/ 592 h 1161"/>
                  <a:gd name="T6" fmla="*/ 406 w 1187"/>
                  <a:gd name="T7" fmla="*/ 1155 h 1161"/>
                  <a:gd name="T8" fmla="*/ 446 w 1187"/>
                  <a:gd name="T9" fmla="*/ 1126 h 1161"/>
                  <a:gd name="T10" fmla="*/ 445 w 1187"/>
                  <a:gd name="T11" fmla="*/ 1016 h 1161"/>
                  <a:gd name="T12" fmla="*/ 246 w 1187"/>
                  <a:gd name="T13" fmla="*/ 946 h 1161"/>
                  <a:gd name="T14" fmla="*/ 179 w 1187"/>
                  <a:gd name="T15" fmla="*/ 859 h 1161"/>
                  <a:gd name="T16" fmla="*/ 184 w 1187"/>
                  <a:gd name="T17" fmla="*/ 823 h 1161"/>
                  <a:gd name="T18" fmla="*/ 274 w 1187"/>
                  <a:gd name="T19" fmla="*/ 884 h 1161"/>
                  <a:gd name="T20" fmla="*/ 448 w 1187"/>
                  <a:gd name="T21" fmla="*/ 934 h 1161"/>
                  <a:gd name="T22" fmla="*/ 485 w 1187"/>
                  <a:gd name="T23" fmla="*/ 854 h 1161"/>
                  <a:gd name="T24" fmla="*/ 215 w 1187"/>
                  <a:gd name="T25" fmla="*/ 561 h 1161"/>
                  <a:gd name="T26" fmla="*/ 276 w 1187"/>
                  <a:gd name="T27" fmla="*/ 402 h 1161"/>
                  <a:gd name="T28" fmla="*/ 282 w 1187"/>
                  <a:gd name="T29" fmla="*/ 245 h 1161"/>
                  <a:gd name="T30" fmla="*/ 445 w 1187"/>
                  <a:gd name="T31" fmla="*/ 305 h 1161"/>
                  <a:gd name="T32" fmla="*/ 594 w 1187"/>
                  <a:gd name="T33" fmla="*/ 285 h 1161"/>
                  <a:gd name="T34" fmla="*/ 742 w 1187"/>
                  <a:gd name="T35" fmla="*/ 305 h 1161"/>
                  <a:gd name="T36" fmla="*/ 906 w 1187"/>
                  <a:gd name="T37" fmla="*/ 245 h 1161"/>
                  <a:gd name="T38" fmla="*/ 911 w 1187"/>
                  <a:gd name="T39" fmla="*/ 402 h 1161"/>
                  <a:gd name="T40" fmla="*/ 972 w 1187"/>
                  <a:gd name="T41" fmla="*/ 561 h 1161"/>
                  <a:gd name="T42" fmla="*/ 701 w 1187"/>
                  <a:gd name="T43" fmla="*/ 853 h 1161"/>
                  <a:gd name="T44" fmla="*/ 741 w 1187"/>
                  <a:gd name="T45" fmla="*/ 963 h 1161"/>
                  <a:gd name="T46" fmla="*/ 740 w 1187"/>
                  <a:gd name="T47" fmla="*/ 1126 h 1161"/>
                  <a:gd name="T48" fmla="*/ 782 w 1187"/>
                  <a:gd name="T49" fmla="*/ 1155 h 1161"/>
                  <a:gd name="T50" fmla="*/ 1187 w 1187"/>
                  <a:gd name="T51" fmla="*/ 592 h 1161"/>
                  <a:gd name="T52" fmla="*/ 594 w 1187"/>
                  <a:gd name="T53" fmla="*/ 0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7" h="1161">
                    <a:moveTo>
                      <a:pt x="594" y="0"/>
                    </a:moveTo>
                    <a:cubicBezTo>
                      <a:pt x="594" y="0"/>
                      <a:pt x="594" y="0"/>
                      <a:pt x="594" y="0"/>
                    </a:cubicBezTo>
                    <a:cubicBezTo>
                      <a:pt x="265" y="0"/>
                      <a:pt x="0" y="264"/>
                      <a:pt x="0" y="592"/>
                    </a:cubicBezTo>
                    <a:cubicBezTo>
                      <a:pt x="0" y="854"/>
                      <a:pt x="170" y="1077"/>
                      <a:pt x="406" y="1155"/>
                    </a:cubicBezTo>
                    <a:cubicBezTo>
                      <a:pt x="435" y="1161"/>
                      <a:pt x="446" y="1142"/>
                      <a:pt x="446" y="1126"/>
                    </a:cubicBezTo>
                    <a:cubicBezTo>
                      <a:pt x="446" y="1112"/>
                      <a:pt x="445" y="1066"/>
                      <a:pt x="445" y="1016"/>
                    </a:cubicBezTo>
                    <a:cubicBezTo>
                      <a:pt x="280" y="1052"/>
                      <a:pt x="246" y="946"/>
                      <a:pt x="246" y="946"/>
                    </a:cubicBezTo>
                    <a:cubicBezTo>
                      <a:pt x="218" y="877"/>
                      <a:pt x="179" y="859"/>
                      <a:pt x="179" y="859"/>
                    </a:cubicBezTo>
                    <a:cubicBezTo>
                      <a:pt x="125" y="822"/>
                      <a:pt x="184" y="823"/>
                      <a:pt x="184" y="823"/>
                    </a:cubicBezTo>
                    <a:cubicBezTo>
                      <a:pt x="243" y="827"/>
                      <a:pt x="274" y="884"/>
                      <a:pt x="274" y="884"/>
                    </a:cubicBezTo>
                    <a:cubicBezTo>
                      <a:pt x="327" y="975"/>
                      <a:pt x="414" y="948"/>
                      <a:pt x="448" y="934"/>
                    </a:cubicBezTo>
                    <a:cubicBezTo>
                      <a:pt x="453" y="895"/>
                      <a:pt x="468" y="869"/>
                      <a:pt x="485" y="854"/>
                    </a:cubicBezTo>
                    <a:cubicBezTo>
                      <a:pt x="353" y="839"/>
                      <a:pt x="215" y="789"/>
                      <a:pt x="215" y="561"/>
                    </a:cubicBezTo>
                    <a:cubicBezTo>
                      <a:pt x="215" y="496"/>
                      <a:pt x="237" y="443"/>
                      <a:pt x="276" y="402"/>
                    </a:cubicBezTo>
                    <a:cubicBezTo>
                      <a:pt x="269" y="387"/>
                      <a:pt x="249" y="327"/>
                      <a:pt x="282" y="245"/>
                    </a:cubicBezTo>
                    <a:cubicBezTo>
                      <a:pt x="282" y="245"/>
                      <a:pt x="331" y="229"/>
                      <a:pt x="445" y="305"/>
                    </a:cubicBezTo>
                    <a:cubicBezTo>
                      <a:pt x="492" y="293"/>
                      <a:pt x="543" y="286"/>
                      <a:pt x="594" y="285"/>
                    </a:cubicBezTo>
                    <a:cubicBezTo>
                      <a:pt x="644" y="286"/>
                      <a:pt x="695" y="293"/>
                      <a:pt x="742" y="305"/>
                    </a:cubicBezTo>
                    <a:cubicBezTo>
                      <a:pt x="855" y="229"/>
                      <a:pt x="906" y="245"/>
                      <a:pt x="906" y="245"/>
                    </a:cubicBezTo>
                    <a:cubicBezTo>
                      <a:pt x="937" y="327"/>
                      <a:pt x="917" y="387"/>
                      <a:pt x="911" y="402"/>
                    </a:cubicBezTo>
                    <a:cubicBezTo>
                      <a:pt x="949" y="443"/>
                      <a:pt x="972" y="496"/>
                      <a:pt x="972" y="561"/>
                    </a:cubicBezTo>
                    <a:cubicBezTo>
                      <a:pt x="972" y="789"/>
                      <a:pt x="833" y="839"/>
                      <a:pt x="701" y="853"/>
                    </a:cubicBezTo>
                    <a:cubicBezTo>
                      <a:pt x="723" y="872"/>
                      <a:pt x="741" y="908"/>
                      <a:pt x="741" y="963"/>
                    </a:cubicBezTo>
                    <a:cubicBezTo>
                      <a:pt x="741" y="1043"/>
                      <a:pt x="740" y="1107"/>
                      <a:pt x="740" y="1126"/>
                    </a:cubicBezTo>
                    <a:cubicBezTo>
                      <a:pt x="740" y="1142"/>
                      <a:pt x="751" y="1161"/>
                      <a:pt x="782" y="1155"/>
                    </a:cubicBezTo>
                    <a:cubicBezTo>
                      <a:pt x="1017" y="1076"/>
                      <a:pt x="1187" y="854"/>
                      <a:pt x="1187" y="592"/>
                    </a:cubicBezTo>
                    <a:cubicBezTo>
                      <a:pt x="1187" y="264"/>
                      <a:pt x="921" y="0"/>
                      <a:pt x="59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47" name="Freeform 6">
                <a:extLst>
                  <a:ext uri="{FF2B5EF4-FFF2-40B4-BE49-F238E27FC236}">
                    <a16:creationId xmlns:a16="http://schemas.microsoft.com/office/drawing/2014/main" id="{4D239F47-2129-EB2B-FC14-B2E06402A7A8}"/>
                  </a:ext>
                </a:extLst>
              </p:cNvPr>
              <p:cNvSpPr>
                <a:spLocks/>
              </p:cNvSpPr>
              <p:nvPr userDrawn="1"/>
            </p:nvSpPr>
            <p:spPr bwMode="auto">
              <a:xfrm>
                <a:off x="7001" y="4776"/>
                <a:ext cx="31" cy="26"/>
              </a:xfrm>
              <a:custGeom>
                <a:avLst/>
                <a:gdLst>
                  <a:gd name="T0" fmla="*/ 16 w 18"/>
                  <a:gd name="T1" fmla="*/ 11 h 15"/>
                  <a:gd name="T2" fmla="*/ 16 w 18"/>
                  <a:gd name="T3" fmla="*/ 11 h 15"/>
                  <a:gd name="T4" fmla="*/ 7 w 18"/>
                  <a:gd name="T5" fmla="*/ 13 h 15"/>
                  <a:gd name="T6" fmla="*/ 1 w 18"/>
                  <a:gd name="T7" fmla="*/ 4 h 15"/>
                  <a:gd name="T8" fmla="*/ 11 w 18"/>
                  <a:gd name="T9" fmla="*/ 3 h 15"/>
                  <a:gd name="T10" fmla="*/ 16 w 18"/>
                  <a:gd name="T11" fmla="*/ 11 h 15"/>
                </a:gdLst>
                <a:ahLst/>
                <a:cxnLst>
                  <a:cxn ang="0">
                    <a:pos x="T0" y="T1"/>
                  </a:cxn>
                  <a:cxn ang="0">
                    <a:pos x="T2" y="T3"/>
                  </a:cxn>
                  <a:cxn ang="0">
                    <a:pos x="T4" y="T5"/>
                  </a:cxn>
                  <a:cxn ang="0">
                    <a:pos x="T6" y="T7"/>
                  </a:cxn>
                  <a:cxn ang="0">
                    <a:pos x="T8" y="T9"/>
                  </a:cxn>
                  <a:cxn ang="0">
                    <a:pos x="T10" y="T11"/>
                  </a:cxn>
                </a:cxnLst>
                <a:rect l="0" t="0" r="r" b="b"/>
                <a:pathLst>
                  <a:path w="18" h="15">
                    <a:moveTo>
                      <a:pt x="16" y="11"/>
                    </a:moveTo>
                    <a:cubicBezTo>
                      <a:pt x="16" y="11"/>
                      <a:pt x="16" y="11"/>
                      <a:pt x="16" y="11"/>
                    </a:cubicBezTo>
                    <a:cubicBezTo>
                      <a:pt x="15" y="14"/>
                      <a:pt x="10" y="15"/>
                      <a:pt x="7" y="13"/>
                    </a:cubicBezTo>
                    <a:cubicBezTo>
                      <a:pt x="2" y="11"/>
                      <a:pt x="0" y="7"/>
                      <a:pt x="1" y="4"/>
                    </a:cubicBezTo>
                    <a:cubicBezTo>
                      <a:pt x="2" y="1"/>
                      <a:pt x="7" y="0"/>
                      <a:pt x="11" y="3"/>
                    </a:cubicBezTo>
                    <a:cubicBezTo>
                      <a:pt x="15" y="4"/>
                      <a:pt x="18" y="9"/>
                      <a:pt x="16"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48" name="Freeform 7">
                <a:extLst>
                  <a:ext uri="{FF2B5EF4-FFF2-40B4-BE49-F238E27FC236}">
                    <a16:creationId xmlns:a16="http://schemas.microsoft.com/office/drawing/2014/main" id="{B4712E63-A6CE-391F-75AE-F55E341B028A}"/>
                  </a:ext>
                </a:extLst>
              </p:cNvPr>
              <p:cNvSpPr>
                <a:spLocks/>
              </p:cNvSpPr>
              <p:nvPr userDrawn="1"/>
            </p:nvSpPr>
            <p:spPr bwMode="auto">
              <a:xfrm>
                <a:off x="7043" y="4811"/>
                <a:ext cx="33" cy="37"/>
              </a:xfrm>
              <a:custGeom>
                <a:avLst/>
                <a:gdLst>
                  <a:gd name="T0" fmla="*/ 17 w 19"/>
                  <a:gd name="T1" fmla="*/ 18 h 21"/>
                  <a:gd name="T2" fmla="*/ 17 w 19"/>
                  <a:gd name="T3" fmla="*/ 18 h 21"/>
                  <a:gd name="T4" fmla="*/ 5 w 19"/>
                  <a:gd name="T5" fmla="*/ 16 h 21"/>
                  <a:gd name="T6" fmla="*/ 3 w 19"/>
                  <a:gd name="T7" fmla="*/ 3 h 21"/>
                  <a:gd name="T8" fmla="*/ 15 w 19"/>
                  <a:gd name="T9" fmla="*/ 6 h 21"/>
                  <a:gd name="T10" fmla="*/ 17 w 19"/>
                  <a:gd name="T11" fmla="*/ 18 h 21"/>
                </a:gdLst>
                <a:ahLst/>
                <a:cxnLst>
                  <a:cxn ang="0">
                    <a:pos x="T0" y="T1"/>
                  </a:cxn>
                  <a:cxn ang="0">
                    <a:pos x="T2" y="T3"/>
                  </a:cxn>
                  <a:cxn ang="0">
                    <a:pos x="T4" y="T5"/>
                  </a:cxn>
                  <a:cxn ang="0">
                    <a:pos x="T6" y="T7"/>
                  </a:cxn>
                  <a:cxn ang="0">
                    <a:pos x="T8" y="T9"/>
                  </a:cxn>
                  <a:cxn ang="0">
                    <a:pos x="T10" y="T11"/>
                  </a:cxn>
                </a:cxnLst>
                <a:rect l="0" t="0" r="r" b="b"/>
                <a:pathLst>
                  <a:path w="19" h="21">
                    <a:moveTo>
                      <a:pt x="17" y="18"/>
                    </a:moveTo>
                    <a:cubicBezTo>
                      <a:pt x="17" y="18"/>
                      <a:pt x="17" y="18"/>
                      <a:pt x="17" y="18"/>
                    </a:cubicBezTo>
                    <a:cubicBezTo>
                      <a:pt x="14" y="21"/>
                      <a:pt x="8" y="19"/>
                      <a:pt x="5" y="16"/>
                    </a:cubicBezTo>
                    <a:cubicBezTo>
                      <a:pt x="0" y="11"/>
                      <a:pt x="0" y="5"/>
                      <a:pt x="3" y="3"/>
                    </a:cubicBezTo>
                    <a:cubicBezTo>
                      <a:pt x="5" y="0"/>
                      <a:pt x="11" y="2"/>
                      <a:pt x="15" y="6"/>
                    </a:cubicBezTo>
                    <a:cubicBezTo>
                      <a:pt x="19" y="10"/>
                      <a:pt x="19" y="16"/>
                      <a:pt x="1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49" name="Freeform 8">
                <a:extLst>
                  <a:ext uri="{FF2B5EF4-FFF2-40B4-BE49-F238E27FC236}">
                    <a16:creationId xmlns:a16="http://schemas.microsoft.com/office/drawing/2014/main" id="{A8F02AF4-005E-6590-0A40-E9C03949CCC8}"/>
                  </a:ext>
                </a:extLst>
              </p:cNvPr>
              <p:cNvSpPr>
                <a:spLocks/>
              </p:cNvSpPr>
              <p:nvPr userDrawn="1"/>
            </p:nvSpPr>
            <p:spPr bwMode="auto">
              <a:xfrm>
                <a:off x="7084" y="4865"/>
                <a:ext cx="37" cy="43"/>
              </a:xfrm>
              <a:custGeom>
                <a:avLst/>
                <a:gdLst>
                  <a:gd name="T0" fmla="*/ 17 w 21"/>
                  <a:gd name="T1" fmla="*/ 22 h 24"/>
                  <a:gd name="T2" fmla="*/ 17 w 21"/>
                  <a:gd name="T3" fmla="*/ 22 h 24"/>
                  <a:gd name="T4" fmla="*/ 4 w 21"/>
                  <a:gd name="T5" fmla="*/ 16 h 24"/>
                  <a:gd name="T6" fmla="*/ 4 w 21"/>
                  <a:gd name="T7" fmla="*/ 2 h 24"/>
                  <a:gd name="T8" fmla="*/ 17 w 21"/>
                  <a:gd name="T9" fmla="*/ 7 h 24"/>
                  <a:gd name="T10" fmla="*/ 17 w 21"/>
                  <a:gd name="T11" fmla="*/ 22 h 24"/>
                </a:gdLst>
                <a:ahLst/>
                <a:cxnLst>
                  <a:cxn ang="0">
                    <a:pos x="T0" y="T1"/>
                  </a:cxn>
                  <a:cxn ang="0">
                    <a:pos x="T2" y="T3"/>
                  </a:cxn>
                  <a:cxn ang="0">
                    <a:pos x="T4" y="T5"/>
                  </a:cxn>
                  <a:cxn ang="0">
                    <a:pos x="T6" y="T7"/>
                  </a:cxn>
                  <a:cxn ang="0">
                    <a:pos x="T8" y="T9"/>
                  </a:cxn>
                  <a:cxn ang="0">
                    <a:pos x="T10" y="T11"/>
                  </a:cxn>
                </a:cxnLst>
                <a:rect l="0" t="0" r="r" b="b"/>
                <a:pathLst>
                  <a:path w="21" h="24">
                    <a:moveTo>
                      <a:pt x="17" y="22"/>
                    </a:moveTo>
                    <a:cubicBezTo>
                      <a:pt x="17" y="22"/>
                      <a:pt x="17" y="22"/>
                      <a:pt x="17" y="22"/>
                    </a:cubicBezTo>
                    <a:cubicBezTo>
                      <a:pt x="13" y="24"/>
                      <a:pt x="8" y="22"/>
                      <a:pt x="4" y="16"/>
                    </a:cubicBezTo>
                    <a:cubicBezTo>
                      <a:pt x="0" y="11"/>
                      <a:pt x="0" y="5"/>
                      <a:pt x="4" y="2"/>
                    </a:cubicBezTo>
                    <a:cubicBezTo>
                      <a:pt x="8" y="0"/>
                      <a:pt x="13" y="2"/>
                      <a:pt x="17" y="7"/>
                    </a:cubicBezTo>
                    <a:cubicBezTo>
                      <a:pt x="21" y="13"/>
                      <a:pt x="21" y="19"/>
                      <a:pt x="1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50" name="Freeform 9">
                <a:extLst>
                  <a:ext uri="{FF2B5EF4-FFF2-40B4-BE49-F238E27FC236}">
                    <a16:creationId xmlns:a16="http://schemas.microsoft.com/office/drawing/2014/main" id="{BA3D5311-C90F-94E0-C607-8A17D9099825}"/>
                  </a:ext>
                </a:extLst>
              </p:cNvPr>
              <p:cNvSpPr>
                <a:spLocks/>
              </p:cNvSpPr>
              <p:nvPr userDrawn="1"/>
            </p:nvSpPr>
            <p:spPr bwMode="auto">
              <a:xfrm>
                <a:off x="7131" y="4924"/>
                <a:ext cx="46" cy="44"/>
              </a:xfrm>
              <a:custGeom>
                <a:avLst/>
                <a:gdLst>
                  <a:gd name="T0" fmla="*/ 22 w 26"/>
                  <a:gd name="T1" fmla="*/ 22 h 25"/>
                  <a:gd name="T2" fmla="*/ 22 w 26"/>
                  <a:gd name="T3" fmla="*/ 22 h 25"/>
                  <a:gd name="T4" fmla="*/ 7 w 26"/>
                  <a:gd name="T5" fmla="*/ 19 h 25"/>
                  <a:gd name="T6" fmla="*/ 3 w 26"/>
                  <a:gd name="T7" fmla="*/ 4 h 25"/>
                  <a:gd name="T8" fmla="*/ 19 w 26"/>
                  <a:gd name="T9" fmla="*/ 6 h 25"/>
                  <a:gd name="T10" fmla="*/ 22 w 26"/>
                  <a:gd name="T11" fmla="*/ 22 h 25"/>
                </a:gdLst>
                <a:ahLst/>
                <a:cxnLst>
                  <a:cxn ang="0">
                    <a:pos x="T0" y="T1"/>
                  </a:cxn>
                  <a:cxn ang="0">
                    <a:pos x="T2" y="T3"/>
                  </a:cxn>
                  <a:cxn ang="0">
                    <a:pos x="T4" y="T5"/>
                  </a:cxn>
                  <a:cxn ang="0">
                    <a:pos x="T6" y="T7"/>
                  </a:cxn>
                  <a:cxn ang="0">
                    <a:pos x="T8" y="T9"/>
                  </a:cxn>
                  <a:cxn ang="0">
                    <a:pos x="T10" y="T11"/>
                  </a:cxn>
                </a:cxnLst>
                <a:rect l="0" t="0" r="r" b="b"/>
                <a:pathLst>
                  <a:path w="26" h="25">
                    <a:moveTo>
                      <a:pt x="22" y="22"/>
                    </a:moveTo>
                    <a:cubicBezTo>
                      <a:pt x="22" y="22"/>
                      <a:pt x="22" y="22"/>
                      <a:pt x="22" y="22"/>
                    </a:cubicBezTo>
                    <a:cubicBezTo>
                      <a:pt x="19" y="25"/>
                      <a:pt x="12" y="24"/>
                      <a:pt x="7" y="19"/>
                    </a:cubicBezTo>
                    <a:cubicBezTo>
                      <a:pt x="2" y="14"/>
                      <a:pt x="0" y="8"/>
                      <a:pt x="3" y="4"/>
                    </a:cubicBezTo>
                    <a:cubicBezTo>
                      <a:pt x="7" y="0"/>
                      <a:pt x="14" y="1"/>
                      <a:pt x="19" y="6"/>
                    </a:cubicBezTo>
                    <a:cubicBezTo>
                      <a:pt x="24" y="11"/>
                      <a:pt x="26" y="18"/>
                      <a:pt x="2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51" name="Freeform 10">
                <a:extLst>
                  <a:ext uri="{FF2B5EF4-FFF2-40B4-BE49-F238E27FC236}">
                    <a16:creationId xmlns:a16="http://schemas.microsoft.com/office/drawing/2014/main" id="{A7C3AFD3-1969-CEB5-EA83-5C7447706B26}"/>
                  </a:ext>
                </a:extLst>
              </p:cNvPr>
              <p:cNvSpPr>
                <a:spLocks/>
              </p:cNvSpPr>
              <p:nvPr userDrawn="1"/>
            </p:nvSpPr>
            <p:spPr bwMode="auto">
              <a:xfrm>
                <a:off x="7202" y="4969"/>
                <a:ext cx="49" cy="39"/>
              </a:xfrm>
              <a:custGeom>
                <a:avLst/>
                <a:gdLst>
                  <a:gd name="T0" fmla="*/ 26 w 28"/>
                  <a:gd name="T1" fmla="*/ 15 h 22"/>
                  <a:gd name="T2" fmla="*/ 26 w 28"/>
                  <a:gd name="T3" fmla="*/ 15 h 22"/>
                  <a:gd name="T4" fmla="*/ 11 w 28"/>
                  <a:gd name="T5" fmla="*/ 19 h 22"/>
                  <a:gd name="T6" fmla="*/ 2 w 28"/>
                  <a:gd name="T7" fmla="*/ 8 h 22"/>
                  <a:gd name="T8" fmla="*/ 16 w 28"/>
                  <a:gd name="T9" fmla="*/ 2 h 22"/>
                  <a:gd name="T10" fmla="*/ 26 w 28"/>
                  <a:gd name="T11" fmla="*/ 15 h 22"/>
                </a:gdLst>
                <a:ahLst/>
                <a:cxnLst>
                  <a:cxn ang="0">
                    <a:pos x="T0" y="T1"/>
                  </a:cxn>
                  <a:cxn ang="0">
                    <a:pos x="T2" y="T3"/>
                  </a:cxn>
                  <a:cxn ang="0">
                    <a:pos x="T4" y="T5"/>
                  </a:cxn>
                  <a:cxn ang="0">
                    <a:pos x="T6" y="T7"/>
                  </a:cxn>
                  <a:cxn ang="0">
                    <a:pos x="T8" y="T9"/>
                  </a:cxn>
                  <a:cxn ang="0">
                    <a:pos x="T10" y="T11"/>
                  </a:cxn>
                </a:cxnLst>
                <a:rect l="0" t="0" r="r" b="b"/>
                <a:pathLst>
                  <a:path w="28" h="22">
                    <a:moveTo>
                      <a:pt x="26" y="15"/>
                    </a:moveTo>
                    <a:cubicBezTo>
                      <a:pt x="26" y="15"/>
                      <a:pt x="26" y="15"/>
                      <a:pt x="26" y="15"/>
                    </a:cubicBezTo>
                    <a:cubicBezTo>
                      <a:pt x="25" y="19"/>
                      <a:pt x="18" y="22"/>
                      <a:pt x="11" y="19"/>
                    </a:cubicBezTo>
                    <a:cubicBezTo>
                      <a:pt x="5" y="17"/>
                      <a:pt x="0" y="12"/>
                      <a:pt x="2" y="8"/>
                    </a:cubicBezTo>
                    <a:cubicBezTo>
                      <a:pt x="3" y="2"/>
                      <a:pt x="10" y="0"/>
                      <a:pt x="16" y="2"/>
                    </a:cubicBezTo>
                    <a:cubicBezTo>
                      <a:pt x="23" y="5"/>
                      <a:pt x="28" y="10"/>
                      <a:pt x="26"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52" name="Freeform 11">
                <a:extLst>
                  <a:ext uri="{FF2B5EF4-FFF2-40B4-BE49-F238E27FC236}">
                    <a16:creationId xmlns:a16="http://schemas.microsoft.com/office/drawing/2014/main" id="{30CCCDEE-3A7A-630A-9E45-861E5A5FD2A8}"/>
                  </a:ext>
                </a:extLst>
              </p:cNvPr>
              <p:cNvSpPr>
                <a:spLocks/>
              </p:cNvSpPr>
              <p:nvPr userDrawn="1"/>
            </p:nvSpPr>
            <p:spPr bwMode="auto">
              <a:xfrm>
                <a:off x="7290" y="4985"/>
                <a:ext cx="44" cy="32"/>
              </a:xfrm>
              <a:custGeom>
                <a:avLst/>
                <a:gdLst>
                  <a:gd name="T0" fmla="*/ 25 w 25"/>
                  <a:gd name="T1" fmla="*/ 9 h 18"/>
                  <a:gd name="T2" fmla="*/ 25 w 25"/>
                  <a:gd name="T3" fmla="*/ 9 h 18"/>
                  <a:gd name="T4" fmla="*/ 12 w 25"/>
                  <a:gd name="T5" fmla="*/ 18 h 18"/>
                  <a:gd name="T6" fmla="*/ 0 w 25"/>
                  <a:gd name="T7" fmla="*/ 10 h 18"/>
                  <a:gd name="T8" fmla="*/ 12 w 25"/>
                  <a:gd name="T9" fmla="*/ 1 h 18"/>
                  <a:gd name="T10" fmla="*/ 25 w 25"/>
                  <a:gd name="T11" fmla="*/ 9 h 18"/>
                </a:gdLst>
                <a:ahLst/>
                <a:cxnLst>
                  <a:cxn ang="0">
                    <a:pos x="T0" y="T1"/>
                  </a:cxn>
                  <a:cxn ang="0">
                    <a:pos x="T2" y="T3"/>
                  </a:cxn>
                  <a:cxn ang="0">
                    <a:pos x="T4" y="T5"/>
                  </a:cxn>
                  <a:cxn ang="0">
                    <a:pos x="T6" y="T7"/>
                  </a:cxn>
                  <a:cxn ang="0">
                    <a:pos x="T8" y="T9"/>
                  </a:cxn>
                  <a:cxn ang="0">
                    <a:pos x="T10" y="T11"/>
                  </a:cxn>
                </a:cxnLst>
                <a:rect l="0" t="0" r="r" b="b"/>
                <a:pathLst>
                  <a:path w="25" h="18">
                    <a:moveTo>
                      <a:pt x="25" y="9"/>
                    </a:moveTo>
                    <a:cubicBezTo>
                      <a:pt x="25" y="9"/>
                      <a:pt x="25" y="9"/>
                      <a:pt x="25" y="9"/>
                    </a:cubicBezTo>
                    <a:cubicBezTo>
                      <a:pt x="25" y="14"/>
                      <a:pt x="20" y="18"/>
                      <a:pt x="12" y="18"/>
                    </a:cubicBezTo>
                    <a:cubicBezTo>
                      <a:pt x="6" y="18"/>
                      <a:pt x="0" y="14"/>
                      <a:pt x="0" y="10"/>
                    </a:cubicBezTo>
                    <a:cubicBezTo>
                      <a:pt x="0" y="4"/>
                      <a:pt x="5" y="1"/>
                      <a:pt x="12" y="1"/>
                    </a:cubicBezTo>
                    <a:cubicBezTo>
                      <a:pt x="19" y="0"/>
                      <a:pt x="25" y="4"/>
                      <a:pt x="2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sp>
            <p:nvSpPr>
              <p:cNvPr id="53" name="Freeform 12">
                <a:extLst>
                  <a:ext uri="{FF2B5EF4-FFF2-40B4-BE49-F238E27FC236}">
                    <a16:creationId xmlns:a16="http://schemas.microsoft.com/office/drawing/2014/main" id="{C4823FB8-6224-33F9-80C7-8C31770F5888}"/>
                  </a:ext>
                </a:extLst>
              </p:cNvPr>
              <p:cNvSpPr>
                <a:spLocks/>
              </p:cNvSpPr>
              <p:nvPr userDrawn="1"/>
            </p:nvSpPr>
            <p:spPr bwMode="auto">
              <a:xfrm>
                <a:off x="7367" y="4973"/>
                <a:ext cx="48" cy="37"/>
              </a:xfrm>
              <a:custGeom>
                <a:avLst/>
                <a:gdLst>
                  <a:gd name="T0" fmla="*/ 26 w 27"/>
                  <a:gd name="T1" fmla="*/ 9 h 21"/>
                  <a:gd name="T2" fmla="*/ 26 w 27"/>
                  <a:gd name="T3" fmla="*/ 9 h 21"/>
                  <a:gd name="T4" fmla="*/ 15 w 27"/>
                  <a:gd name="T5" fmla="*/ 20 h 21"/>
                  <a:gd name="T6" fmla="*/ 1 w 27"/>
                  <a:gd name="T7" fmla="*/ 13 h 21"/>
                  <a:gd name="T8" fmla="*/ 12 w 27"/>
                  <a:gd name="T9" fmla="*/ 2 h 21"/>
                  <a:gd name="T10" fmla="*/ 26 w 27"/>
                  <a:gd name="T11" fmla="*/ 9 h 21"/>
                </a:gdLst>
                <a:ahLst/>
                <a:cxnLst>
                  <a:cxn ang="0">
                    <a:pos x="T0" y="T1"/>
                  </a:cxn>
                  <a:cxn ang="0">
                    <a:pos x="T2" y="T3"/>
                  </a:cxn>
                  <a:cxn ang="0">
                    <a:pos x="T4" y="T5"/>
                  </a:cxn>
                  <a:cxn ang="0">
                    <a:pos x="T6" y="T7"/>
                  </a:cxn>
                  <a:cxn ang="0">
                    <a:pos x="T8" y="T9"/>
                  </a:cxn>
                  <a:cxn ang="0">
                    <a:pos x="T10" y="T11"/>
                  </a:cxn>
                </a:cxnLst>
                <a:rect l="0" t="0" r="r" b="b"/>
                <a:pathLst>
                  <a:path w="27" h="21">
                    <a:moveTo>
                      <a:pt x="26" y="9"/>
                    </a:moveTo>
                    <a:cubicBezTo>
                      <a:pt x="26" y="9"/>
                      <a:pt x="26" y="9"/>
                      <a:pt x="26" y="9"/>
                    </a:cubicBezTo>
                    <a:cubicBezTo>
                      <a:pt x="27" y="13"/>
                      <a:pt x="22" y="18"/>
                      <a:pt x="15" y="20"/>
                    </a:cubicBezTo>
                    <a:cubicBezTo>
                      <a:pt x="8" y="21"/>
                      <a:pt x="2" y="18"/>
                      <a:pt x="1" y="13"/>
                    </a:cubicBezTo>
                    <a:cubicBezTo>
                      <a:pt x="0" y="8"/>
                      <a:pt x="5" y="3"/>
                      <a:pt x="12" y="2"/>
                    </a:cubicBezTo>
                    <a:cubicBezTo>
                      <a:pt x="19" y="0"/>
                      <a:pt x="25" y="3"/>
                      <a:pt x="2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50" b="0" i="0" u="none" strike="noStrike" kern="0" cap="none" spc="0" normalizeH="0" baseline="0" noProof="0">
                  <a:ln>
                    <a:noFill/>
                  </a:ln>
                  <a:solidFill>
                    <a:srgbClr val="FFFFFF"/>
                  </a:solidFill>
                  <a:effectLst/>
                  <a:uLnTx/>
                  <a:uFillTx/>
                  <a:latin typeface="Segoe UI"/>
                  <a:ea typeface="+mn-ea"/>
                  <a:cs typeface="+mn-cs"/>
                </a:endParaRPr>
              </a:p>
            </p:txBody>
          </p:sp>
        </p:grpSp>
      </p:grpSp>
      <p:pic>
        <p:nvPicPr>
          <p:cNvPr id="41" name="Graphic 40" descr="Build ap  icon">
            <a:extLst>
              <a:ext uri="{FF2B5EF4-FFF2-40B4-BE49-F238E27FC236}">
                <a16:creationId xmlns:a16="http://schemas.microsoft.com/office/drawing/2014/main" id="{7A32111F-80FC-5760-8B77-7326DF88B3F4}"/>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13038" y="2315809"/>
            <a:ext cx="536546" cy="536546"/>
          </a:xfrm>
          <a:prstGeom prst="rect">
            <a:avLst/>
          </a:prstGeom>
          <a:effectLst>
            <a:outerShdw blurRad="190500" dist="38100" dir="2700000" algn="ctr" rotWithShape="0">
              <a:prstClr val="black">
                <a:alpha val="25000"/>
              </a:prstClr>
            </a:outerShdw>
          </a:effectLst>
        </p:spPr>
      </p:pic>
      <p:pic>
        <p:nvPicPr>
          <p:cNvPr id="69" name="Picture 6" descr="Release app icon">
            <a:extLst>
              <a:ext uri="{FF2B5EF4-FFF2-40B4-BE49-F238E27FC236}">
                <a16:creationId xmlns:a16="http://schemas.microsoft.com/office/drawing/2014/main" id="{899AF727-E2FD-5929-CA86-C16E768DECF4}"/>
              </a:ext>
            </a:extLst>
          </p:cNvPr>
          <p:cNvPicPr>
            <a:picLocks noChangeAspect="1"/>
          </p:cNvPicPr>
          <p:nvPr userDrawn="1"/>
        </p:nvPicPr>
        <p:blipFill>
          <a:blip r:embed="rId11">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584523" y="2318578"/>
            <a:ext cx="532944" cy="536546"/>
          </a:xfrm>
          <a:prstGeom prst="rect">
            <a:avLst/>
          </a:prstGeom>
          <a:noFill/>
          <a:ln w="10795" cap="flat" cmpd="sng" algn="ctr">
            <a:noFill/>
            <a:prstDash val="solid"/>
          </a:ln>
          <a:effectLst>
            <a:outerShdw blurRad="190500" dist="38100" dir="2700000" algn="tl" rotWithShape="0">
              <a:prstClr val="black">
                <a:alpha val="25000"/>
              </a:prstClr>
            </a:outerShdw>
            <a:softEdge rad="7620"/>
          </a:effectLst>
        </p:spPr>
      </p:pic>
      <p:grpSp>
        <p:nvGrpSpPr>
          <p:cNvPr id="70" name="Group 69" descr="Monitor app icon">
            <a:extLst>
              <a:ext uri="{FF2B5EF4-FFF2-40B4-BE49-F238E27FC236}">
                <a16:creationId xmlns:a16="http://schemas.microsoft.com/office/drawing/2014/main" id="{7003F203-3432-5ECD-1C65-5A529AD32EC5}"/>
              </a:ext>
            </a:extLst>
          </p:cNvPr>
          <p:cNvGrpSpPr/>
          <p:nvPr userDrawn="1"/>
        </p:nvGrpSpPr>
        <p:grpSpPr>
          <a:xfrm>
            <a:off x="10350807" y="2264566"/>
            <a:ext cx="646260" cy="646260"/>
            <a:chOff x="9897614" y="3471418"/>
            <a:chExt cx="1414462" cy="1414463"/>
          </a:xfrm>
        </p:grpSpPr>
        <p:sp>
          <p:nvSpPr>
            <p:cNvPr id="71" name="Donut 67">
              <a:extLst>
                <a:ext uri="{FF2B5EF4-FFF2-40B4-BE49-F238E27FC236}">
                  <a16:creationId xmlns:a16="http://schemas.microsoft.com/office/drawing/2014/main" id="{7BC88E8F-EE06-B001-2A72-91B62CC86039}"/>
                </a:ext>
              </a:extLst>
            </p:cNvPr>
            <p:cNvSpPr/>
            <p:nvPr/>
          </p:nvSpPr>
          <p:spPr bwMode="auto">
            <a:xfrm>
              <a:off x="9951778" y="3525582"/>
              <a:ext cx="1306134" cy="1306134"/>
            </a:xfrm>
            <a:prstGeom prst="ellipse">
              <a:avLst/>
            </a:prstGeom>
            <a:solidFill>
              <a:schemeClr val="tx1"/>
            </a:solidFill>
            <a:ln w="10795" cap="flat" cmpd="sng" algn="ctr">
              <a:noFill/>
              <a:prstDash val="solid"/>
            </a:ln>
            <a:effectLst>
              <a:outerShdw blurRad="190500" dist="38100" dir="2700000" algn="tl" rotWithShape="0">
                <a:prstClr val="black">
                  <a:alpha val="25000"/>
                </a:prstClr>
              </a:outerShdw>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90000"/>
                </a:lnSpc>
                <a:spcBef>
                  <a:spcPts val="600"/>
                </a:spcBef>
                <a:spcAft>
                  <a:spcPts val="0"/>
                </a:spcAft>
                <a:buClrTx/>
                <a:buSzTx/>
                <a:buFontTx/>
                <a:buNone/>
                <a:tabLst/>
                <a:defRPr/>
              </a:pPr>
              <a:endParaRPr kumimoji="0" lang="en-IN" sz="2000" b="0" i="0" u="none" strike="noStrike" kern="0" cap="none" spc="0" normalizeH="0" baseline="0" noProof="0">
                <a:ln>
                  <a:noFill/>
                </a:ln>
                <a:noFill/>
                <a:effectLst/>
                <a:uLnTx/>
                <a:uFillTx/>
                <a:latin typeface="Segoe UI Semilight"/>
                <a:ea typeface="+mn-ea"/>
                <a:cs typeface="+mn-cs"/>
              </a:endParaRPr>
            </a:p>
          </p:txBody>
        </p:sp>
        <p:sp>
          <p:nvSpPr>
            <p:cNvPr id="72" name="Donut 67">
              <a:extLst>
                <a:ext uri="{FF2B5EF4-FFF2-40B4-BE49-F238E27FC236}">
                  <a16:creationId xmlns:a16="http://schemas.microsoft.com/office/drawing/2014/main" id="{0D9F8BC1-19BB-8D9B-ED42-E5B1ED95E56F}"/>
                </a:ext>
              </a:extLst>
            </p:cNvPr>
            <p:cNvSpPr/>
            <p:nvPr/>
          </p:nvSpPr>
          <p:spPr bwMode="auto">
            <a:xfrm>
              <a:off x="9897614" y="3471418"/>
              <a:ext cx="1414462" cy="1414462"/>
            </a:xfrm>
            <a:prstGeom prst="donut">
              <a:avLst>
                <a:gd name="adj" fmla="val 7423"/>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IN" sz="200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3" name="Freeform 69">
              <a:extLst>
                <a:ext uri="{FF2B5EF4-FFF2-40B4-BE49-F238E27FC236}">
                  <a16:creationId xmlns:a16="http://schemas.microsoft.com/office/drawing/2014/main" id="{AE7F3F32-BF42-7163-E52B-DEB548352D31}"/>
                </a:ext>
              </a:extLst>
            </p:cNvPr>
            <p:cNvSpPr/>
            <p:nvPr/>
          </p:nvSpPr>
          <p:spPr bwMode="auto">
            <a:xfrm>
              <a:off x="10260852" y="3529492"/>
              <a:ext cx="1051224" cy="1356389"/>
            </a:xfrm>
            <a:custGeom>
              <a:avLst/>
              <a:gdLst>
                <a:gd name="connsiteX0" fmla="*/ 623876 w 1051224"/>
                <a:gd name="connsiteY0" fmla="*/ 0 h 1356389"/>
                <a:gd name="connsiteX1" fmla="*/ 739413 w 1051224"/>
                <a:gd name="connsiteY1" fmla="*/ 62711 h 1356389"/>
                <a:gd name="connsiteX2" fmla="*/ 1051224 w 1051224"/>
                <a:gd name="connsiteY2" fmla="*/ 649158 h 1356389"/>
                <a:gd name="connsiteX3" fmla="*/ 343993 w 1051224"/>
                <a:gd name="connsiteY3" fmla="*/ 1356389 h 1356389"/>
                <a:gd name="connsiteX4" fmla="*/ 68707 w 1051224"/>
                <a:gd name="connsiteY4" fmla="*/ 1300812 h 1356389"/>
                <a:gd name="connsiteX5" fmla="*/ 0 w 1051224"/>
                <a:gd name="connsiteY5" fmla="*/ 1263518 h 1356389"/>
                <a:gd name="connsiteX6" fmla="*/ 46310 w 1051224"/>
                <a:gd name="connsiteY6" fmla="*/ 1169727 h 1356389"/>
                <a:gd name="connsiteX7" fmla="*/ 109576 w 1051224"/>
                <a:gd name="connsiteY7" fmla="*/ 1204067 h 1356389"/>
                <a:gd name="connsiteX8" fmla="*/ 343993 w 1051224"/>
                <a:gd name="connsiteY8" fmla="*/ 1251393 h 1356389"/>
                <a:gd name="connsiteX9" fmla="*/ 946228 w 1051224"/>
                <a:gd name="connsiteY9" fmla="*/ 649158 h 1356389"/>
                <a:gd name="connsiteX10" fmla="*/ 578410 w 1051224"/>
                <a:gd name="connsiteY10" fmla="*/ 94250 h 1356389"/>
                <a:gd name="connsiteX11" fmla="*/ 577481 w 1051224"/>
                <a:gd name="connsiteY11" fmla="*/ 93961 h 1356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1224" h="1356389">
                  <a:moveTo>
                    <a:pt x="623876" y="0"/>
                  </a:moveTo>
                  <a:lnTo>
                    <a:pt x="739413" y="62711"/>
                  </a:lnTo>
                  <a:cubicBezTo>
                    <a:pt x="927537" y="189806"/>
                    <a:pt x="1051224" y="405038"/>
                    <a:pt x="1051224" y="649158"/>
                  </a:cubicBezTo>
                  <a:cubicBezTo>
                    <a:pt x="1051224" y="1039751"/>
                    <a:pt x="734586" y="1356389"/>
                    <a:pt x="343993" y="1356389"/>
                  </a:cubicBezTo>
                  <a:cubicBezTo>
                    <a:pt x="246345" y="1356389"/>
                    <a:pt x="153319" y="1336599"/>
                    <a:pt x="68707" y="1300812"/>
                  </a:cubicBezTo>
                  <a:lnTo>
                    <a:pt x="0" y="1263518"/>
                  </a:lnTo>
                  <a:lnTo>
                    <a:pt x="46310" y="1169727"/>
                  </a:lnTo>
                  <a:lnTo>
                    <a:pt x="109576" y="1204067"/>
                  </a:lnTo>
                  <a:cubicBezTo>
                    <a:pt x="181627" y="1234541"/>
                    <a:pt x="260842" y="1251393"/>
                    <a:pt x="343993" y="1251393"/>
                  </a:cubicBezTo>
                  <a:cubicBezTo>
                    <a:pt x="676598" y="1251393"/>
                    <a:pt x="946228" y="981763"/>
                    <a:pt x="946228" y="649158"/>
                  </a:cubicBezTo>
                  <a:cubicBezTo>
                    <a:pt x="946228" y="399705"/>
                    <a:pt x="794561" y="185674"/>
                    <a:pt x="578410" y="94250"/>
                  </a:cubicBezTo>
                  <a:lnTo>
                    <a:pt x="577481" y="93961"/>
                  </a:lnTo>
                  <a:close/>
                </a:path>
              </a:pathLst>
            </a:custGeom>
            <a:solidFill>
              <a:srgbClr val="FFFFFF">
                <a:lumMod val="6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gn="ctr" defTabSz="932472" rtl="0" eaLnBrk="1" fontAlgn="base" latinLnBrk="0" hangingPunct="1">
                <a:lnSpc>
                  <a:spcPct val="90000"/>
                </a:lnSpc>
                <a:spcBef>
                  <a:spcPct val="0"/>
                </a:spcBef>
                <a:spcAft>
                  <a:spcPct val="0"/>
                </a:spcAft>
                <a:buClrTx/>
                <a:buSzTx/>
                <a:buFont typeface="Wingdings 3" panose="05040102010807070707" pitchFamily="18" charset="2"/>
                <a:buChar char="Æ"/>
                <a:tabLst/>
                <a:defRPr/>
              </a:pPr>
              <a:endParaRPr kumimoji="0" lang="en-IN" sz="2000" b="1" i="0" u="none" strike="noStrike" kern="0" cap="none" spc="0" normalizeH="0" baseline="0" noProof="0">
                <a:ln>
                  <a:noFill/>
                </a:ln>
                <a:solidFill>
                  <a:srgbClr val="FFFFFF"/>
                </a:solidFill>
                <a:effectLst/>
                <a:uLnTx/>
                <a:uFillTx/>
                <a:latin typeface="Segoe UI Light"/>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A3FE08D9-E9A1-900C-B9C2-6F0571C3953E}"/>
                </a:ext>
              </a:extLst>
            </p:cNvPr>
            <p:cNvSpPr>
              <a:spLocks/>
            </p:cNvSpPr>
            <p:nvPr/>
          </p:nvSpPr>
          <p:spPr bwMode="auto">
            <a:xfrm>
              <a:off x="10519812" y="4086900"/>
              <a:ext cx="624392" cy="170675"/>
            </a:xfrm>
            <a:custGeom>
              <a:avLst/>
              <a:gdLst>
                <a:gd name="connsiteX0" fmla="*/ 87395 w 624392"/>
                <a:gd name="connsiteY0" fmla="*/ 41 h 170675"/>
                <a:gd name="connsiteX1" fmla="*/ 146987 w 624392"/>
                <a:gd name="connsiteY1" fmla="*/ 25995 h 170675"/>
                <a:gd name="connsiteX2" fmla="*/ 590585 w 624392"/>
                <a:gd name="connsiteY2" fmla="*/ 34373 h 170675"/>
                <a:gd name="connsiteX3" fmla="*/ 624362 w 624392"/>
                <a:gd name="connsiteY3" fmla="*/ 92614 h 170675"/>
                <a:gd name="connsiteX4" fmla="*/ 561973 w 624392"/>
                <a:gd name="connsiteY4" fmla="*/ 151199 h 170675"/>
                <a:gd name="connsiteX5" fmla="*/ 142992 w 624392"/>
                <a:gd name="connsiteY5" fmla="*/ 146765 h 170675"/>
                <a:gd name="connsiteX6" fmla="*/ 22209 w 624392"/>
                <a:gd name="connsiteY6" fmla="*/ 143164 h 170675"/>
                <a:gd name="connsiteX7" fmla="*/ 26205 w 624392"/>
                <a:gd name="connsiteY7" fmla="*/ 22394 h 170675"/>
                <a:gd name="connsiteX8" fmla="*/ 87395 w 624392"/>
                <a:gd name="connsiteY8" fmla="*/ 41 h 17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392" h="170675">
                  <a:moveTo>
                    <a:pt x="87395" y="41"/>
                  </a:moveTo>
                  <a:cubicBezTo>
                    <a:pt x="109539" y="700"/>
                    <a:pt x="131415" y="9412"/>
                    <a:pt x="146987" y="25995"/>
                  </a:cubicBezTo>
                  <a:lnTo>
                    <a:pt x="590585" y="34373"/>
                  </a:lnTo>
                  <a:cubicBezTo>
                    <a:pt x="610032" y="46097"/>
                    <a:pt x="625161" y="68460"/>
                    <a:pt x="624362" y="92614"/>
                  </a:cubicBezTo>
                  <a:cubicBezTo>
                    <a:pt x="623296" y="124820"/>
                    <a:pt x="594181" y="152159"/>
                    <a:pt x="561973" y="151199"/>
                  </a:cubicBezTo>
                  <a:lnTo>
                    <a:pt x="142992" y="146765"/>
                  </a:lnTo>
                  <a:cubicBezTo>
                    <a:pt x="109718" y="178011"/>
                    <a:pt x="57246" y="180476"/>
                    <a:pt x="22209" y="143164"/>
                  </a:cubicBezTo>
                  <a:cubicBezTo>
                    <a:pt x="-8934" y="109999"/>
                    <a:pt x="-7070" y="53639"/>
                    <a:pt x="26205" y="22394"/>
                  </a:cubicBezTo>
                  <a:cubicBezTo>
                    <a:pt x="42841" y="6771"/>
                    <a:pt x="65251" y="-620"/>
                    <a:pt x="87395" y="4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3D8476DC-9AAB-EC26-7E0F-1B5C7ABA3831}"/>
                </a:ext>
              </a:extLst>
            </p:cNvPr>
            <p:cNvSpPr>
              <a:spLocks/>
            </p:cNvSpPr>
            <p:nvPr/>
          </p:nvSpPr>
          <p:spPr bwMode="auto">
            <a:xfrm>
              <a:off x="10286195" y="3695702"/>
              <a:ext cx="290637" cy="267449"/>
            </a:xfrm>
            <a:custGeom>
              <a:avLst/>
              <a:gdLst>
                <a:gd name="connsiteX0" fmla="*/ 290637 w 290637"/>
                <a:gd name="connsiteY0" fmla="*/ 0 h 267449"/>
                <a:gd name="connsiteX1" fmla="*/ 290637 w 290637"/>
                <a:gd name="connsiteY1" fmla="*/ 210967 h 267449"/>
                <a:gd name="connsiteX2" fmla="*/ 258366 w 290637"/>
                <a:gd name="connsiteY2" fmla="*/ 215609 h 267449"/>
                <a:gd name="connsiteX3" fmla="*/ 216275 w 290637"/>
                <a:gd name="connsiteY3" fmla="*/ 228809 h 267449"/>
                <a:gd name="connsiteX4" fmla="*/ 150830 w 290637"/>
                <a:gd name="connsiteY4" fmla="*/ 267449 h 267449"/>
                <a:gd name="connsiteX5" fmla="*/ 17811 w 290637"/>
                <a:gd name="connsiteY5" fmla="*/ 134430 h 267449"/>
                <a:gd name="connsiteX6" fmla="*/ 0 w 290637"/>
                <a:gd name="connsiteY6" fmla="*/ 114611 h 267449"/>
                <a:gd name="connsiteX7" fmla="*/ 213477 w 290637"/>
                <a:gd name="connsiteY7" fmla="*/ 9475 h 267449"/>
                <a:gd name="connsiteX8" fmla="*/ 290637 w 290637"/>
                <a:gd name="connsiteY8" fmla="*/ 0 h 267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637" h="267449">
                  <a:moveTo>
                    <a:pt x="290637" y="0"/>
                  </a:moveTo>
                  <a:lnTo>
                    <a:pt x="290637" y="210967"/>
                  </a:lnTo>
                  <a:lnTo>
                    <a:pt x="258366" y="215609"/>
                  </a:lnTo>
                  <a:cubicBezTo>
                    <a:pt x="243909" y="218915"/>
                    <a:pt x="229837" y="223357"/>
                    <a:pt x="216275" y="228809"/>
                  </a:cubicBezTo>
                  <a:lnTo>
                    <a:pt x="150830" y="267449"/>
                  </a:lnTo>
                  <a:lnTo>
                    <a:pt x="17811" y="134430"/>
                  </a:lnTo>
                  <a:lnTo>
                    <a:pt x="0" y="114611"/>
                  </a:lnTo>
                  <a:cubicBezTo>
                    <a:pt x="63125" y="63651"/>
                    <a:pt x="135403" y="26346"/>
                    <a:pt x="213477" y="9475"/>
                  </a:cubicBezTo>
                  <a:lnTo>
                    <a:pt x="290637" y="0"/>
                  </a:lnTo>
                  <a:close/>
                </a:path>
              </a:pathLst>
            </a:custGeom>
            <a:solidFill>
              <a:srgbClr val="BBDA7D"/>
            </a:solidFill>
            <a:ln>
              <a:noFill/>
            </a:ln>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8CE0679B-E8E3-F1F1-0C52-62A4F5E00581}"/>
                </a:ext>
              </a:extLst>
            </p:cNvPr>
            <p:cNvSpPr>
              <a:spLocks/>
            </p:cNvSpPr>
            <p:nvPr/>
          </p:nvSpPr>
          <p:spPr bwMode="auto">
            <a:xfrm>
              <a:off x="10642307" y="3696054"/>
              <a:ext cx="287959" cy="266888"/>
            </a:xfrm>
            <a:custGeom>
              <a:avLst/>
              <a:gdLst>
                <a:gd name="connsiteX0" fmla="*/ 0 w 287959"/>
                <a:gd name="connsiteY0" fmla="*/ 0 h 266888"/>
                <a:gd name="connsiteX1" fmla="*/ 74803 w 287959"/>
                <a:gd name="connsiteY1" fmla="*/ 9477 h 266888"/>
                <a:gd name="connsiteX2" fmla="*/ 223047 w 287959"/>
                <a:gd name="connsiteY2" fmla="*/ 69275 h 266888"/>
                <a:gd name="connsiteX3" fmla="*/ 287959 w 287959"/>
                <a:gd name="connsiteY3" fmla="*/ 114767 h 266888"/>
                <a:gd name="connsiteX4" fmla="*/ 135839 w 287959"/>
                <a:gd name="connsiteY4" fmla="*/ 266888 h 266888"/>
                <a:gd name="connsiteX5" fmla="*/ 70848 w 287959"/>
                <a:gd name="connsiteY5" fmla="*/ 227653 h 266888"/>
                <a:gd name="connsiteX6" fmla="*/ 27150 w 287959"/>
                <a:gd name="connsiteY6" fmla="*/ 212846 h 266888"/>
                <a:gd name="connsiteX7" fmla="*/ 0 w 287959"/>
                <a:gd name="connsiteY7" fmla="*/ 208513 h 266888"/>
                <a:gd name="connsiteX8" fmla="*/ 0 w 287959"/>
                <a:gd name="connsiteY8" fmla="*/ 0 h 26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7959" h="266888">
                  <a:moveTo>
                    <a:pt x="0" y="0"/>
                  </a:moveTo>
                  <a:lnTo>
                    <a:pt x="74803" y="9477"/>
                  </a:lnTo>
                  <a:cubicBezTo>
                    <a:pt x="127104" y="20976"/>
                    <a:pt x="176854" y="41582"/>
                    <a:pt x="223047" y="69275"/>
                  </a:cubicBezTo>
                  <a:lnTo>
                    <a:pt x="287959" y="114767"/>
                  </a:lnTo>
                  <a:lnTo>
                    <a:pt x="135839" y="266888"/>
                  </a:lnTo>
                  <a:lnTo>
                    <a:pt x="70848" y="227653"/>
                  </a:lnTo>
                  <a:cubicBezTo>
                    <a:pt x="56706" y="221621"/>
                    <a:pt x="42056" y="216602"/>
                    <a:pt x="27150" y="212846"/>
                  </a:cubicBezTo>
                  <a:lnTo>
                    <a:pt x="0" y="208513"/>
                  </a:lnTo>
                  <a:lnTo>
                    <a:pt x="0" y="0"/>
                  </a:lnTo>
                  <a:close/>
                </a:path>
              </a:pathLst>
            </a:custGeom>
            <a:solidFill>
              <a:srgbClr val="A5CA54"/>
            </a:solidFill>
            <a:ln>
              <a:noFill/>
            </a:ln>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45F3CA73-16F7-1AA7-5B92-80E63732E3A4}"/>
                </a:ext>
              </a:extLst>
            </p:cNvPr>
            <p:cNvSpPr>
              <a:spLocks/>
            </p:cNvSpPr>
            <p:nvPr/>
          </p:nvSpPr>
          <p:spPr bwMode="auto">
            <a:xfrm>
              <a:off x="10122399" y="3857990"/>
              <a:ext cx="269161" cy="277918"/>
            </a:xfrm>
            <a:custGeom>
              <a:avLst/>
              <a:gdLst>
                <a:gd name="connsiteX0" fmla="*/ 116870 w 269161"/>
                <a:gd name="connsiteY0" fmla="*/ 0 h 277918"/>
                <a:gd name="connsiteX1" fmla="*/ 269161 w 269161"/>
                <a:gd name="connsiteY1" fmla="*/ 152291 h 277918"/>
                <a:gd name="connsiteX2" fmla="*/ 230871 w 269161"/>
                <a:gd name="connsiteY2" fmla="*/ 215717 h 277918"/>
                <a:gd name="connsiteX3" fmla="*/ 216064 w 269161"/>
                <a:gd name="connsiteY3" fmla="*/ 259415 h 277918"/>
                <a:gd name="connsiteX4" fmla="*/ 213111 w 269161"/>
                <a:gd name="connsiteY4" fmla="*/ 277918 h 277918"/>
                <a:gd name="connsiteX5" fmla="*/ 0 w 269161"/>
                <a:gd name="connsiteY5" fmla="*/ 277918 h 277918"/>
                <a:gd name="connsiteX6" fmla="*/ 10414 w 269161"/>
                <a:gd name="connsiteY6" fmla="*/ 209482 h 277918"/>
                <a:gd name="connsiteX7" fmla="*/ 70719 w 269161"/>
                <a:gd name="connsiteY7" fmla="*/ 61744 h 277918"/>
                <a:gd name="connsiteX8" fmla="*/ 116870 w 269161"/>
                <a:gd name="connsiteY8" fmla="*/ 0 h 277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161" h="277918">
                  <a:moveTo>
                    <a:pt x="116870" y="0"/>
                  </a:moveTo>
                  <a:lnTo>
                    <a:pt x="269161" y="152291"/>
                  </a:lnTo>
                  <a:lnTo>
                    <a:pt x="230871" y="215717"/>
                  </a:lnTo>
                  <a:cubicBezTo>
                    <a:pt x="224839" y="229859"/>
                    <a:pt x="219819" y="244509"/>
                    <a:pt x="216064" y="259415"/>
                  </a:cubicBezTo>
                  <a:lnTo>
                    <a:pt x="213111" y="277918"/>
                  </a:lnTo>
                  <a:lnTo>
                    <a:pt x="0" y="277918"/>
                  </a:lnTo>
                  <a:lnTo>
                    <a:pt x="10414" y="209482"/>
                  </a:lnTo>
                  <a:cubicBezTo>
                    <a:pt x="22420" y="157688"/>
                    <a:pt x="42519" y="107430"/>
                    <a:pt x="70719" y="61744"/>
                  </a:cubicBezTo>
                  <a:lnTo>
                    <a:pt x="116870" y="0"/>
                  </a:lnTo>
                  <a:close/>
                </a:path>
              </a:pathLst>
            </a:custGeom>
            <a:solidFill>
              <a:srgbClr val="D2E7A9"/>
            </a:solidFill>
            <a:ln>
              <a:noFill/>
            </a:ln>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6D983811-4367-8971-E69A-7DF6DD9466AB}"/>
                </a:ext>
              </a:extLst>
            </p:cNvPr>
            <p:cNvSpPr>
              <a:spLocks/>
            </p:cNvSpPr>
            <p:nvPr/>
          </p:nvSpPr>
          <p:spPr bwMode="auto">
            <a:xfrm>
              <a:off x="10824046" y="3858113"/>
              <a:ext cx="259956" cy="228787"/>
            </a:xfrm>
            <a:custGeom>
              <a:avLst/>
              <a:gdLst>
                <a:gd name="connsiteX0" fmla="*/ 151525 w 259956"/>
                <a:gd name="connsiteY0" fmla="*/ 0 h 228787"/>
                <a:gd name="connsiteX1" fmla="*/ 187726 w 259956"/>
                <a:gd name="connsiteY1" fmla="*/ 47229 h 228787"/>
                <a:gd name="connsiteX2" fmla="*/ 249063 w 259956"/>
                <a:gd name="connsiteY2" fmla="*/ 177909 h 228787"/>
                <a:gd name="connsiteX3" fmla="*/ 259956 w 259956"/>
                <a:gd name="connsiteY3" fmla="*/ 228787 h 228787"/>
                <a:gd name="connsiteX4" fmla="*/ 41069 w 259956"/>
                <a:gd name="connsiteY4" fmla="*/ 228787 h 228787"/>
                <a:gd name="connsiteX5" fmla="*/ 24304 w 259956"/>
                <a:gd name="connsiteY5" fmla="*/ 188030 h 228787"/>
                <a:gd name="connsiteX6" fmla="*/ 0 w 259956"/>
                <a:gd name="connsiteY6" fmla="*/ 151525 h 228787"/>
                <a:gd name="connsiteX7" fmla="*/ 151525 w 259956"/>
                <a:gd name="connsiteY7" fmla="*/ 0 h 228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956" h="228787">
                  <a:moveTo>
                    <a:pt x="151525" y="0"/>
                  </a:moveTo>
                  <a:lnTo>
                    <a:pt x="187726" y="47229"/>
                  </a:lnTo>
                  <a:cubicBezTo>
                    <a:pt x="214470" y="87842"/>
                    <a:pt x="235418" y="132240"/>
                    <a:pt x="249063" y="177909"/>
                  </a:cubicBezTo>
                  <a:lnTo>
                    <a:pt x="259956" y="228787"/>
                  </a:lnTo>
                  <a:lnTo>
                    <a:pt x="41069" y="228787"/>
                  </a:lnTo>
                  <a:lnTo>
                    <a:pt x="24304" y="188030"/>
                  </a:lnTo>
                  <a:lnTo>
                    <a:pt x="0" y="151525"/>
                  </a:lnTo>
                  <a:lnTo>
                    <a:pt x="151525" y="0"/>
                  </a:lnTo>
                  <a:close/>
                </a:path>
              </a:pathLst>
            </a:custGeom>
            <a:solidFill>
              <a:srgbClr val="7FB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AD14F07-7A03-01BA-95BC-23268A5AD253}"/>
                </a:ext>
              </a:extLst>
            </p:cNvPr>
            <p:cNvSpPr>
              <a:spLocks/>
            </p:cNvSpPr>
            <p:nvPr/>
          </p:nvSpPr>
          <p:spPr bwMode="auto">
            <a:xfrm>
              <a:off x="10125713" y="4217639"/>
              <a:ext cx="277662" cy="286335"/>
            </a:xfrm>
            <a:custGeom>
              <a:avLst/>
              <a:gdLst>
                <a:gd name="connsiteX0" fmla="*/ 0 w 277662"/>
                <a:gd name="connsiteY0" fmla="*/ 0 h 286335"/>
                <a:gd name="connsiteX1" fmla="*/ 211901 w 277662"/>
                <a:gd name="connsiteY1" fmla="*/ 0 h 286335"/>
                <a:gd name="connsiteX2" fmla="*/ 215712 w 277662"/>
                <a:gd name="connsiteY2" fmla="*/ 24896 h 286335"/>
                <a:gd name="connsiteX3" fmla="*/ 277662 w 277662"/>
                <a:gd name="connsiteY3" fmla="*/ 145645 h 286335"/>
                <a:gd name="connsiteX4" fmla="*/ 120833 w 277662"/>
                <a:gd name="connsiteY4" fmla="*/ 286335 h 286335"/>
                <a:gd name="connsiteX5" fmla="*/ 10016 w 277662"/>
                <a:gd name="connsiteY5" fmla="*/ 76009 h 286335"/>
                <a:gd name="connsiteX6" fmla="*/ 0 w 277662"/>
                <a:gd name="connsiteY6" fmla="*/ 0 h 28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7662" h="286335">
                  <a:moveTo>
                    <a:pt x="0" y="0"/>
                  </a:moveTo>
                  <a:lnTo>
                    <a:pt x="211901" y="0"/>
                  </a:lnTo>
                  <a:lnTo>
                    <a:pt x="215712" y="24896"/>
                  </a:lnTo>
                  <a:cubicBezTo>
                    <a:pt x="226173" y="68526"/>
                    <a:pt x="247391" y="109343"/>
                    <a:pt x="277662" y="145645"/>
                  </a:cubicBezTo>
                  <a:cubicBezTo>
                    <a:pt x="277662" y="145645"/>
                    <a:pt x="277662" y="145645"/>
                    <a:pt x="120833" y="286335"/>
                  </a:cubicBezTo>
                  <a:cubicBezTo>
                    <a:pt x="66353" y="225824"/>
                    <a:pt x="27712" y="154013"/>
                    <a:pt x="10016" y="76009"/>
                  </a:cubicBezTo>
                  <a:lnTo>
                    <a:pt x="0" y="0"/>
                  </a:lnTo>
                  <a:close/>
                </a:path>
              </a:pathLst>
            </a:custGeom>
            <a:solidFill>
              <a:srgbClr val="E1EFCB"/>
            </a:solidFill>
            <a:ln>
              <a:noFill/>
            </a:ln>
          </p:spPr>
          <p:txBody>
            <a:bodyPr vert="horz" wrap="square" lIns="91440" tIns="45720" rIns="91440" bIns="45720" numCol="1" anchor="t" anchorCtr="0" compatLnSpc="1">
              <a:prstTxWarp prst="textNoShape">
                <a:avLst/>
              </a:prstTxWarp>
              <a:noAutofit/>
            </a:bodyPr>
            <a:lstStyle/>
            <a:p>
              <a:pPr marL="0" marR="0" lvl="0" indent="0" algn="l" defTabSz="931863"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a:ln>
                  <a:noFill/>
                </a:ln>
                <a:solidFill>
                  <a:srgbClr val="000000"/>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C59F4BB-896D-C40A-692C-34B78FF50775}"/>
                </a:ext>
              </a:extLst>
            </p:cNvPr>
            <p:cNvSpPr/>
            <p:nvPr/>
          </p:nvSpPr>
          <p:spPr bwMode="auto">
            <a:xfrm>
              <a:off x="10519812" y="4168631"/>
              <a:ext cx="624362" cy="88944"/>
            </a:xfrm>
            <a:custGeom>
              <a:avLst/>
              <a:gdLst>
                <a:gd name="connsiteX0" fmla="*/ 123 w 624362"/>
                <a:gd name="connsiteY0" fmla="*/ 0 h 88944"/>
                <a:gd name="connsiteX1" fmla="*/ 621367 w 624362"/>
                <a:gd name="connsiteY1" fmla="*/ 0 h 88944"/>
                <a:gd name="connsiteX2" fmla="*/ 624362 w 624362"/>
                <a:gd name="connsiteY2" fmla="*/ 10883 h 88944"/>
                <a:gd name="connsiteX3" fmla="*/ 561973 w 624362"/>
                <a:gd name="connsiteY3" fmla="*/ 69468 h 88944"/>
                <a:gd name="connsiteX4" fmla="*/ 142992 w 624362"/>
                <a:gd name="connsiteY4" fmla="*/ 65034 h 88944"/>
                <a:gd name="connsiteX5" fmla="*/ 22209 w 624362"/>
                <a:gd name="connsiteY5" fmla="*/ 61433 h 88944"/>
                <a:gd name="connsiteX6" fmla="*/ 50 w 624362"/>
                <a:gd name="connsiteY6" fmla="*/ 328 h 8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362" h="88944">
                  <a:moveTo>
                    <a:pt x="123" y="0"/>
                  </a:moveTo>
                  <a:lnTo>
                    <a:pt x="621367" y="0"/>
                  </a:lnTo>
                  <a:lnTo>
                    <a:pt x="624362" y="10883"/>
                  </a:lnTo>
                  <a:cubicBezTo>
                    <a:pt x="623296" y="43089"/>
                    <a:pt x="594181" y="70428"/>
                    <a:pt x="561973" y="69468"/>
                  </a:cubicBezTo>
                  <a:lnTo>
                    <a:pt x="142992" y="65034"/>
                  </a:lnTo>
                  <a:cubicBezTo>
                    <a:pt x="109718" y="96280"/>
                    <a:pt x="57246" y="98745"/>
                    <a:pt x="22209" y="61433"/>
                  </a:cubicBezTo>
                  <a:cubicBezTo>
                    <a:pt x="6638" y="44851"/>
                    <a:pt x="-682" y="22469"/>
                    <a:pt x="50" y="328"/>
                  </a:cubicBezTo>
                  <a:close/>
                </a:path>
              </a:pathLst>
            </a:cu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82" name="Picture 12" descr="Test app icon">
            <a:extLst>
              <a:ext uri="{FF2B5EF4-FFF2-40B4-BE49-F238E27FC236}">
                <a16:creationId xmlns:a16="http://schemas.microsoft.com/office/drawing/2014/main" id="{45A36D5E-5CA3-61B9-2D65-23686B704A29}"/>
              </a:ext>
            </a:extLst>
          </p:cNvPr>
          <p:cNvPicPr>
            <a:picLocks noChangeAspect="1"/>
          </p:cNvPicPr>
          <p:nvPr userDrawn="1"/>
        </p:nvPicPr>
        <p:blipFill>
          <a:blip r:embed="rId12">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800980" y="2322523"/>
            <a:ext cx="530346" cy="530346"/>
          </a:xfrm>
          <a:prstGeom prst="rect">
            <a:avLst/>
          </a:prstGeom>
          <a:noFill/>
          <a:ln w="10795" cap="flat" cmpd="sng" algn="ctr">
            <a:noFill/>
            <a:prstDash val="solid"/>
          </a:ln>
          <a:effectLst>
            <a:outerShdw blurRad="190500" dist="38100" dir="2700000" algn="tl" rotWithShape="0">
              <a:prstClr val="black">
                <a:alpha val="25000"/>
              </a:prstClr>
            </a:outerShdw>
            <a:softEdge rad="8890"/>
          </a:effectLst>
        </p:spPr>
      </p:pic>
    </p:spTree>
    <p:extLst>
      <p:ext uri="{BB962C8B-B14F-4D97-AF65-F5344CB8AC3E}">
        <p14:creationId xmlns:p14="http://schemas.microsoft.com/office/powerpoint/2010/main" val="4274133191"/>
      </p:ext>
    </p:extLst>
  </p:cSld>
  <p:clrMapOvr>
    <a:masterClrMapping/>
  </p:clrMapOvr>
  <p:transition>
    <p:fade/>
  </p:transition>
  <p:extLst>
    <p:ext uri="{DCECCB84-F9BA-43D5-87BE-67443E8EF086}">
      <p15:sldGuideLst xmlns:p15="http://schemas.microsoft.com/office/powerpoint/2012/main">
        <p15:guide id="15">
          <p15:clr>
            <a:srgbClr val="A4A3A4"/>
          </p15:clr>
        </p15:guide>
        <p15:guide id="16" pos="384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23" name="Picture 6">
            <a:extLst>
              <a:ext uri="{FF2B5EF4-FFF2-40B4-BE49-F238E27FC236}">
                <a16:creationId xmlns:a16="http://schemas.microsoft.com/office/drawing/2014/main" id="{94E6FF7F-B811-DFD0-5029-D757847A8F26}"/>
              </a:ext>
              <a:ext uri="{C183D7F6-B498-43B3-948B-1728B52AA6E4}">
                <adec:decorative xmlns:adec="http://schemas.microsoft.com/office/drawing/2017/decorative" val="1"/>
              </a:ext>
            </a:extLst>
          </p:cNvPr>
          <p:cNvPicPr>
            <a:picLocks noChangeAspect="1" noChangeArrowheads="1"/>
          </p:cNvPicPr>
          <p:nvPr userDrawn="1"/>
        </p:nvPicPr>
        <p:blipFill rotWithShape="1">
          <a:blip r:embed="rId2">
            <a:alphaModFix amt="55000"/>
            <a:extLst>
              <a:ext uri="{28A0092B-C50C-407E-A947-70E740481C1C}">
                <a14:useLocalDpi xmlns:a14="http://schemas.microsoft.com/office/drawing/2010/main"/>
              </a:ext>
            </a:extLst>
          </a:blip>
          <a:srcRect l="-3"/>
          <a:stretch/>
        </p:blipFill>
        <p:spPr bwMode="auto">
          <a:xfrm>
            <a:off x="3473" y="1"/>
            <a:ext cx="12225674" cy="6565662"/>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CA098632-C347-8538-05F9-65D7B40FD976}"/>
              </a:ext>
              <a:ext uri="{C183D7F6-B498-43B3-948B-1728B52AA6E4}">
                <adec:decorative xmlns:adec="http://schemas.microsoft.com/office/drawing/2017/decorative" val="1"/>
              </a:ext>
            </a:extLst>
          </p:cNvPr>
          <p:cNvSpPr/>
          <p:nvPr userDrawn="1"/>
        </p:nvSpPr>
        <p:spPr bwMode="auto">
          <a:xfrm>
            <a:off x="0" y="292337"/>
            <a:ext cx="12191999" cy="6273326"/>
          </a:xfrm>
          <a:prstGeom prst="rect">
            <a:avLst/>
          </a:prstGeom>
          <a:solidFill>
            <a:schemeClr val="dk1">
              <a:alpha val="87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cxnSp>
        <p:nvCxnSpPr>
          <p:cNvPr id="19" name="Straight Connector 18">
            <a:extLst>
              <a:ext uri="{FF2B5EF4-FFF2-40B4-BE49-F238E27FC236}">
                <a16:creationId xmlns:a16="http://schemas.microsoft.com/office/drawing/2014/main" id="{F0AA1880-2300-ABA1-F607-2AEDCE71EA00}"/>
              </a:ext>
            </a:extLst>
          </p:cNvPr>
          <p:cNvCxnSpPr/>
          <p:nvPr/>
        </p:nvCxnSpPr>
        <p:spPr>
          <a:xfrm>
            <a:off x="516015" y="2866669"/>
            <a:ext cx="0" cy="2349006"/>
          </a:xfrm>
          <a:prstGeom prst="line">
            <a:avLst/>
          </a:prstGeom>
          <a:ln w="19050">
            <a:solidFill>
              <a:schemeClr val="accent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8E438C7-9C3A-F369-85B9-A6C7615D861A}"/>
              </a:ext>
            </a:extLst>
          </p:cNvPr>
          <p:cNvCxnSpPr/>
          <p:nvPr/>
        </p:nvCxnSpPr>
        <p:spPr>
          <a:xfrm>
            <a:off x="3375418" y="2866669"/>
            <a:ext cx="0" cy="2349006"/>
          </a:xfrm>
          <a:prstGeom prst="line">
            <a:avLst/>
          </a:prstGeom>
          <a:ln w="19050">
            <a:solidFill>
              <a:schemeClr val="accent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8FA3FA3-CD35-27FF-E5A8-82D62EE0EDAA}"/>
              </a:ext>
            </a:extLst>
          </p:cNvPr>
          <p:cNvCxnSpPr/>
          <p:nvPr/>
        </p:nvCxnSpPr>
        <p:spPr>
          <a:xfrm>
            <a:off x="6234821" y="2866669"/>
            <a:ext cx="0" cy="2349006"/>
          </a:xfrm>
          <a:prstGeom prst="line">
            <a:avLst/>
          </a:prstGeom>
          <a:ln w="19050">
            <a:solidFill>
              <a:schemeClr val="accent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4E4D682-1E47-9812-CFA0-62F0FE66133D}"/>
              </a:ext>
            </a:extLst>
          </p:cNvPr>
          <p:cNvCxnSpPr/>
          <p:nvPr/>
        </p:nvCxnSpPr>
        <p:spPr>
          <a:xfrm>
            <a:off x="9094224" y="2866669"/>
            <a:ext cx="0" cy="2349006"/>
          </a:xfrm>
          <a:prstGeom prst="line">
            <a:avLst/>
          </a:prstGeom>
          <a:ln w="19050">
            <a:solidFill>
              <a:schemeClr val="accent1">
                <a:alpha val="37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16970EE-EC97-43A9-B0EA-FC816CEDAE68}"/>
              </a:ext>
            </a:extLst>
          </p:cNvPr>
          <p:cNvSpPr>
            <a:spLocks noGrp="1"/>
          </p:cNvSpPr>
          <p:nvPr userDrawn="1">
            <p:ph type="body" sz="quarter" idx="10"/>
          </p:nvPr>
        </p:nvSpPr>
        <p:spPr>
          <a:xfrm>
            <a:off x="588263" y="1011198"/>
            <a:ext cx="11056094" cy="369332"/>
          </a:xfrm>
        </p:spPr>
        <p:txBody>
          <a:bodyPr/>
          <a:lstStyle>
            <a:lvl1pPr algn="ctr">
              <a:defRPr sz="20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14" name="Text Placeholder 13">
            <a:extLst>
              <a:ext uri="{FF2B5EF4-FFF2-40B4-BE49-F238E27FC236}">
                <a16:creationId xmlns:a16="http://schemas.microsoft.com/office/drawing/2014/main" id="{AFE4C190-27EF-9790-8186-9A9BA40E9361}"/>
              </a:ext>
            </a:extLst>
          </p:cNvPr>
          <p:cNvSpPr>
            <a:spLocks noGrp="1"/>
          </p:cNvSpPr>
          <p:nvPr userDrawn="1">
            <p:ph type="body" sz="quarter" idx="11"/>
          </p:nvPr>
        </p:nvSpPr>
        <p:spPr>
          <a:xfrm>
            <a:off x="662339" y="2834481"/>
            <a:ext cx="2566755" cy="763742"/>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spcBef>
                <a:spcPts val="0"/>
              </a:spcBef>
              <a:spcAft>
                <a:spcPts val="600"/>
              </a:spcAft>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0"/>
            <a:r>
              <a:rPr lang="en-US"/>
              <a:t>Click to edit Master text styles</a:t>
            </a:r>
          </a:p>
        </p:txBody>
      </p:sp>
      <p:sp>
        <p:nvSpPr>
          <p:cNvPr id="15" name="Text Placeholder 13">
            <a:extLst>
              <a:ext uri="{FF2B5EF4-FFF2-40B4-BE49-F238E27FC236}">
                <a16:creationId xmlns:a16="http://schemas.microsoft.com/office/drawing/2014/main" id="{74112FD1-2714-ADBB-9C89-F19E95159414}"/>
              </a:ext>
            </a:extLst>
          </p:cNvPr>
          <p:cNvSpPr>
            <a:spLocks noGrp="1"/>
          </p:cNvSpPr>
          <p:nvPr userDrawn="1">
            <p:ph type="body" sz="quarter" idx="12"/>
          </p:nvPr>
        </p:nvSpPr>
        <p:spPr>
          <a:xfrm>
            <a:off x="3521742" y="2834481"/>
            <a:ext cx="2566755" cy="763742"/>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0"/>
            <a:r>
              <a:rPr lang="en-US"/>
              <a:t>Click to edit Master text styles</a:t>
            </a:r>
          </a:p>
        </p:txBody>
      </p:sp>
      <p:sp>
        <p:nvSpPr>
          <p:cNvPr id="16" name="Text Placeholder 13">
            <a:extLst>
              <a:ext uri="{FF2B5EF4-FFF2-40B4-BE49-F238E27FC236}">
                <a16:creationId xmlns:a16="http://schemas.microsoft.com/office/drawing/2014/main" id="{24EC7328-51BD-E92F-FC92-DDC1C3B11237}"/>
              </a:ext>
            </a:extLst>
          </p:cNvPr>
          <p:cNvSpPr>
            <a:spLocks noGrp="1"/>
          </p:cNvSpPr>
          <p:nvPr userDrawn="1">
            <p:ph type="body" sz="quarter" idx="13"/>
          </p:nvPr>
        </p:nvSpPr>
        <p:spPr>
          <a:xfrm>
            <a:off x="6381145" y="2834481"/>
            <a:ext cx="2566755" cy="763742"/>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0"/>
            <a:r>
              <a:rPr lang="en-US"/>
              <a:t>Click to edit Master text styles</a:t>
            </a:r>
          </a:p>
        </p:txBody>
      </p:sp>
      <p:sp>
        <p:nvSpPr>
          <p:cNvPr id="17" name="Text Placeholder 13">
            <a:extLst>
              <a:ext uri="{FF2B5EF4-FFF2-40B4-BE49-F238E27FC236}">
                <a16:creationId xmlns:a16="http://schemas.microsoft.com/office/drawing/2014/main" id="{A08A5927-516D-36DD-C7D7-AE66F9F682AA}"/>
              </a:ext>
            </a:extLst>
          </p:cNvPr>
          <p:cNvSpPr>
            <a:spLocks noGrp="1"/>
          </p:cNvSpPr>
          <p:nvPr userDrawn="1">
            <p:ph type="body" sz="quarter" idx="14"/>
          </p:nvPr>
        </p:nvSpPr>
        <p:spPr>
          <a:xfrm>
            <a:off x="9240545" y="2834481"/>
            <a:ext cx="2566755" cy="763742"/>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0"/>
            <a:r>
              <a:rPr lang="en-US"/>
              <a:t>Click to edit Master text styles</a:t>
            </a:r>
          </a:p>
        </p:txBody>
      </p:sp>
      <p:sp>
        <p:nvSpPr>
          <p:cNvPr id="25" name="Text Placeholder 13">
            <a:extLst>
              <a:ext uri="{FF2B5EF4-FFF2-40B4-BE49-F238E27FC236}">
                <a16:creationId xmlns:a16="http://schemas.microsoft.com/office/drawing/2014/main" id="{DD14CFF3-D437-EE6D-735A-6BDD4B028B6F}"/>
              </a:ext>
            </a:extLst>
          </p:cNvPr>
          <p:cNvSpPr>
            <a:spLocks noGrp="1"/>
          </p:cNvSpPr>
          <p:nvPr>
            <p:ph type="body" sz="quarter" idx="15" hasCustomPrompt="1"/>
          </p:nvPr>
        </p:nvSpPr>
        <p:spPr>
          <a:xfrm>
            <a:off x="662339" y="4012019"/>
            <a:ext cx="2566755" cy="1360333"/>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spcBef>
                <a:spcPts val="0"/>
              </a:spcBef>
              <a:spcAft>
                <a:spcPts val="600"/>
              </a:spcAft>
              <a:buFont typeface="Arial" panose="020B0604020202020204" pitchFamily="34" charset="0"/>
              <a:buChar char="•"/>
              <a:defRPr kumimoji="0" lang="en-US" sz="12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1"/>
            <a:r>
              <a:rPr lang="en-US"/>
              <a:t>Second level</a:t>
            </a:r>
          </a:p>
        </p:txBody>
      </p:sp>
      <p:sp>
        <p:nvSpPr>
          <p:cNvPr id="26" name="Text Placeholder 13">
            <a:extLst>
              <a:ext uri="{FF2B5EF4-FFF2-40B4-BE49-F238E27FC236}">
                <a16:creationId xmlns:a16="http://schemas.microsoft.com/office/drawing/2014/main" id="{E049B984-5C3B-DB22-9773-BB864DC6994C}"/>
              </a:ext>
            </a:extLst>
          </p:cNvPr>
          <p:cNvSpPr>
            <a:spLocks noGrp="1"/>
          </p:cNvSpPr>
          <p:nvPr>
            <p:ph type="body" sz="quarter" idx="16" hasCustomPrompt="1"/>
          </p:nvPr>
        </p:nvSpPr>
        <p:spPr>
          <a:xfrm>
            <a:off x="3521742" y="4012019"/>
            <a:ext cx="2566755" cy="1360333"/>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2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1"/>
            <a:r>
              <a:rPr lang="en-US"/>
              <a:t>Second level</a:t>
            </a:r>
          </a:p>
        </p:txBody>
      </p:sp>
      <p:sp>
        <p:nvSpPr>
          <p:cNvPr id="27" name="Text Placeholder 13">
            <a:extLst>
              <a:ext uri="{FF2B5EF4-FFF2-40B4-BE49-F238E27FC236}">
                <a16:creationId xmlns:a16="http://schemas.microsoft.com/office/drawing/2014/main" id="{1E025097-971E-5483-9EEA-FEF7C07ED955}"/>
              </a:ext>
            </a:extLst>
          </p:cNvPr>
          <p:cNvSpPr>
            <a:spLocks noGrp="1"/>
          </p:cNvSpPr>
          <p:nvPr>
            <p:ph type="body" sz="quarter" idx="17" hasCustomPrompt="1"/>
          </p:nvPr>
        </p:nvSpPr>
        <p:spPr>
          <a:xfrm>
            <a:off x="6381145" y="4012019"/>
            <a:ext cx="2566755" cy="1360333"/>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2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1"/>
            <a:r>
              <a:rPr lang="en-US"/>
              <a:t>Second level</a:t>
            </a:r>
          </a:p>
        </p:txBody>
      </p:sp>
      <p:sp>
        <p:nvSpPr>
          <p:cNvPr id="28" name="Text Placeholder 13">
            <a:extLst>
              <a:ext uri="{FF2B5EF4-FFF2-40B4-BE49-F238E27FC236}">
                <a16:creationId xmlns:a16="http://schemas.microsoft.com/office/drawing/2014/main" id="{B629B35F-AA8E-99B4-AB75-FDC6EFA5D5E1}"/>
              </a:ext>
            </a:extLst>
          </p:cNvPr>
          <p:cNvSpPr>
            <a:spLocks noGrp="1"/>
          </p:cNvSpPr>
          <p:nvPr>
            <p:ph type="body" sz="quarter" idx="18" hasCustomPrompt="1"/>
          </p:nvPr>
        </p:nvSpPr>
        <p:spPr>
          <a:xfrm>
            <a:off x="9240545" y="4012019"/>
            <a:ext cx="2566755" cy="1360333"/>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2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100" b="0" i="0" u="none" strike="noStrike" kern="1200" cap="none" spc="0" normalizeH="0" baseline="0" dirty="0" smtClean="0">
                <a:ln>
                  <a:noFill/>
                </a:ln>
                <a:solidFill>
                  <a:srgbClr val="FFFFFF"/>
                </a:solidFill>
                <a:effectLst/>
                <a:uLnTx/>
                <a:uFillTx/>
                <a:latin typeface="Segoe UI"/>
                <a:ea typeface="+mn-ea"/>
                <a:cs typeface="+mn-cs"/>
              </a:defRPr>
            </a:lvl3pPr>
          </a:lstStyle>
          <a:p>
            <a:pPr lvl="1"/>
            <a:r>
              <a:rPr lang="en-US"/>
              <a:t>Second level</a:t>
            </a:r>
          </a:p>
        </p:txBody>
      </p:sp>
      <p:sp>
        <p:nvSpPr>
          <p:cNvPr id="30" name="Text Placeholder 13">
            <a:extLst>
              <a:ext uri="{FF2B5EF4-FFF2-40B4-BE49-F238E27FC236}">
                <a16:creationId xmlns:a16="http://schemas.microsoft.com/office/drawing/2014/main" id="{897CC2A4-ABDE-E16B-A3B4-91B8DEBF03D1}"/>
              </a:ext>
            </a:extLst>
          </p:cNvPr>
          <p:cNvSpPr>
            <a:spLocks noGrp="1"/>
          </p:cNvSpPr>
          <p:nvPr>
            <p:ph type="body" sz="quarter" idx="19" hasCustomPrompt="1"/>
          </p:nvPr>
        </p:nvSpPr>
        <p:spPr>
          <a:xfrm>
            <a:off x="662339" y="5846802"/>
            <a:ext cx="2566755" cy="766875"/>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spcBef>
                <a:spcPts val="0"/>
              </a:spcBef>
              <a:spcAft>
                <a:spcPts val="600"/>
              </a:spcAft>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200" b="0" i="0" u="none" strike="noStrike" kern="1200" cap="none" spc="0" normalizeH="0" baseline="0" dirty="0" smtClean="0">
                <a:ln>
                  <a:noFill/>
                </a:ln>
                <a:solidFill>
                  <a:srgbClr val="FFFFFF"/>
                </a:solidFill>
                <a:effectLst/>
                <a:uLnTx/>
                <a:uFillTx/>
                <a:latin typeface="Segoe UI"/>
                <a:ea typeface="+mn-ea"/>
                <a:cs typeface="+mn-cs"/>
              </a:defRPr>
            </a:lvl3pPr>
          </a:lstStyle>
          <a:p>
            <a:pPr lvl="2"/>
            <a:r>
              <a:rPr lang="en-US"/>
              <a:t>Third level</a:t>
            </a:r>
          </a:p>
        </p:txBody>
      </p:sp>
      <p:sp>
        <p:nvSpPr>
          <p:cNvPr id="31" name="Text Placeholder 13">
            <a:extLst>
              <a:ext uri="{FF2B5EF4-FFF2-40B4-BE49-F238E27FC236}">
                <a16:creationId xmlns:a16="http://schemas.microsoft.com/office/drawing/2014/main" id="{485B27DE-0532-6C0E-2FCD-C8AFC802A316}"/>
              </a:ext>
            </a:extLst>
          </p:cNvPr>
          <p:cNvSpPr>
            <a:spLocks noGrp="1"/>
          </p:cNvSpPr>
          <p:nvPr>
            <p:ph type="body" sz="quarter" idx="20" hasCustomPrompt="1"/>
          </p:nvPr>
        </p:nvSpPr>
        <p:spPr>
          <a:xfrm>
            <a:off x="3521742" y="5846802"/>
            <a:ext cx="2566755" cy="766875"/>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200" b="0" i="0" u="none" strike="noStrike" kern="1200" cap="none" spc="0" normalizeH="0" baseline="0" dirty="0" smtClean="0">
                <a:ln>
                  <a:noFill/>
                </a:ln>
                <a:solidFill>
                  <a:srgbClr val="FFFFFF"/>
                </a:solidFill>
                <a:effectLst/>
                <a:uLnTx/>
                <a:uFillTx/>
                <a:latin typeface="Segoe UI"/>
                <a:ea typeface="+mn-ea"/>
                <a:cs typeface="+mn-cs"/>
              </a:defRPr>
            </a:lvl3pPr>
          </a:lstStyle>
          <a:p>
            <a:pPr lvl="2"/>
            <a:r>
              <a:rPr lang="en-US"/>
              <a:t>Third level</a:t>
            </a:r>
          </a:p>
        </p:txBody>
      </p:sp>
      <p:sp>
        <p:nvSpPr>
          <p:cNvPr id="32" name="Text Placeholder 13">
            <a:extLst>
              <a:ext uri="{FF2B5EF4-FFF2-40B4-BE49-F238E27FC236}">
                <a16:creationId xmlns:a16="http://schemas.microsoft.com/office/drawing/2014/main" id="{0B3878E2-D1FF-C56E-96C4-6EAB5E46B119}"/>
              </a:ext>
            </a:extLst>
          </p:cNvPr>
          <p:cNvSpPr>
            <a:spLocks noGrp="1"/>
          </p:cNvSpPr>
          <p:nvPr>
            <p:ph type="body" sz="quarter" idx="21" hasCustomPrompt="1"/>
          </p:nvPr>
        </p:nvSpPr>
        <p:spPr>
          <a:xfrm>
            <a:off x="6381145" y="5846802"/>
            <a:ext cx="2566755" cy="766875"/>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200" b="0" i="0" u="none" strike="noStrike" kern="1200" cap="none" spc="0" normalizeH="0" baseline="0" dirty="0" smtClean="0">
                <a:ln>
                  <a:noFill/>
                </a:ln>
                <a:solidFill>
                  <a:srgbClr val="FFFFFF"/>
                </a:solidFill>
                <a:effectLst/>
                <a:uLnTx/>
                <a:uFillTx/>
                <a:latin typeface="Segoe UI"/>
                <a:ea typeface="+mn-ea"/>
                <a:cs typeface="+mn-cs"/>
              </a:defRPr>
            </a:lvl3pPr>
          </a:lstStyle>
          <a:p>
            <a:pPr lvl="2"/>
            <a:r>
              <a:rPr lang="en-US"/>
              <a:t>Third level</a:t>
            </a:r>
          </a:p>
        </p:txBody>
      </p:sp>
      <p:sp>
        <p:nvSpPr>
          <p:cNvPr id="33" name="Text Placeholder 13">
            <a:extLst>
              <a:ext uri="{FF2B5EF4-FFF2-40B4-BE49-F238E27FC236}">
                <a16:creationId xmlns:a16="http://schemas.microsoft.com/office/drawing/2014/main" id="{F0189CCF-BD34-FCB0-E694-A7D0B75A988F}"/>
              </a:ext>
            </a:extLst>
          </p:cNvPr>
          <p:cNvSpPr>
            <a:spLocks noGrp="1"/>
          </p:cNvSpPr>
          <p:nvPr>
            <p:ph type="body" sz="quarter" idx="22" hasCustomPrompt="1"/>
          </p:nvPr>
        </p:nvSpPr>
        <p:spPr>
          <a:xfrm>
            <a:off x="9240545" y="5846802"/>
            <a:ext cx="2566755" cy="766875"/>
          </a:xfrm>
        </p:spPr>
        <p:txBody>
          <a:bodyPr/>
          <a:lstStyle>
            <a:lvl1pPr algn="l">
              <a:spcBef>
                <a:spcPts val="0"/>
              </a:spcBef>
              <a:spcAft>
                <a:spcPts val="1800"/>
              </a:spcAft>
              <a:defRPr kumimoji="0" lang="en-US" sz="1800" b="0" i="0" u="none" strike="noStrike" kern="1200" cap="none" spc="0" normalizeH="0" baseline="0" dirty="0" smtClean="0">
                <a:ln>
                  <a:noFill/>
                </a:ln>
                <a:solidFill>
                  <a:schemeClr val="accent1"/>
                </a:solidFill>
                <a:effectLst/>
                <a:uLnTx/>
                <a:uFillTx/>
                <a:latin typeface="Segoe UI Semibold"/>
                <a:ea typeface="+mn-ea"/>
                <a:cs typeface="Segoe UI" panose="020B0502040204020203" pitchFamily="34" charset="0"/>
              </a:defRPr>
            </a:lvl1pPr>
            <a:lvl2pPr marL="114300" indent="-114300" algn="l">
              <a:buFont typeface="Arial" panose="020B0604020202020204" pitchFamily="34" charset="0"/>
              <a:buChar char="•"/>
              <a:defRPr kumimoji="0" lang="en-US" sz="1100" b="0" u="none" strike="noStrike" kern="1200" cap="none" spc="0" normalizeH="0" baseline="0" dirty="0" smtClean="0">
                <a:ln>
                  <a:noFill/>
                </a:ln>
                <a:solidFill>
                  <a:schemeClr val="tx1"/>
                </a:solidFill>
                <a:effectLst/>
                <a:uLnTx/>
                <a:uFillTx/>
                <a:latin typeface="+mn-lt"/>
                <a:ea typeface="+mn-ea"/>
                <a:cs typeface="Segoe UI Light" panose="020B0502040204020203" pitchFamily="34" charset="0"/>
              </a:defRPr>
            </a:lvl2pPr>
            <a:lvl3pPr algn="l">
              <a:spcBef>
                <a:spcPts val="4200"/>
              </a:spcBef>
              <a:defRPr kumimoji="0" lang="en-US" sz="1200" b="0" i="0" u="none" strike="noStrike" kern="1200" cap="none" spc="0" normalizeH="0" baseline="0" dirty="0" smtClean="0">
                <a:ln>
                  <a:noFill/>
                </a:ln>
                <a:solidFill>
                  <a:srgbClr val="FFFFFF"/>
                </a:solidFill>
                <a:effectLst/>
                <a:uLnTx/>
                <a:uFillTx/>
                <a:latin typeface="Segoe UI"/>
                <a:ea typeface="+mn-ea"/>
                <a:cs typeface="+mn-cs"/>
              </a:defRPr>
            </a:lvl3pPr>
          </a:lstStyle>
          <a:p>
            <a:pPr lvl="2"/>
            <a:r>
              <a:rPr lang="en-US"/>
              <a:t>Third level</a:t>
            </a:r>
          </a:p>
        </p:txBody>
      </p:sp>
    </p:spTree>
    <p:extLst>
      <p:ext uri="{BB962C8B-B14F-4D97-AF65-F5344CB8AC3E}">
        <p14:creationId xmlns:p14="http://schemas.microsoft.com/office/powerpoint/2010/main" val="32897927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1133149"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4608165"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8132773"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1133149" y="3685097"/>
            <a:ext cx="292608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4608165"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8132773"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1AAE0BAC-B8C3-3884-BC3D-55E0EFAA76E4}"/>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1799128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Horizontal">
    <p:spTree>
      <p:nvGrpSpPr>
        <p:cNvPr id="1" name=""/>
        <p:cNvGrpSpPr/>
        <p:nvPr/>
      </p:nvGrpSpPr>
      <p:grpSpPr>
        <a:xfrm>
          <a:off x="0" y="0"/>
          <a:ext cx="0" cy="0"/>
          <a:chOff x="0" y="0"/>
          <a:chExt cx="0" cy="0"/>
        </a:xfrm>
      </p:grpSpPr>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2" name="Rectangle 1">
            <a:extLst>
              <a:ext uri="{FF2B5EF4-FFF2-40B4-BE49-F238E27FC236}">
                <a16:creationId xmlns:a16="http://schemas.microsoft.com/office/drawing/2014/main" id="{6021E0C0-E502-0271-2DFF-8928681E5F1B}"/>
              </a:ext>
            </a:extLst>
          </p:cNvPr>
          <p:cNvSpPr/>
          <p:nvPr userDrawn="1"/>
        </p:nvSpPr>
        <p:spPr bwMode="auto">
          <a:xfrm>
            <a:off x="2960688" y="3141392"/>
            <a:ext cx="9231312" cy="1587277"/>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01737" y="6321433"/>
            <a:ext cx="1094395" cy="234513"/>
          </a:xfrm>
          <a:prstGeom prst="rect">
            <a:avLst/>
          </a:prstGeom>
        </p:spPr>
      </p:pic>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393507"/>
          </a:xfrm>
          <a:prstGeom prst="rect">
            <a:avLst/>
          </a:prstGeom>
        </p:spPr>
        <p:txBody>
          <a:bodyPr lIns="0" tIns="0" rIns="0" bIns="0"/>
          <a:lstStyle>
            <a:lvl1pPr marL="0" indent="0">
              <a:lnSpc>
                <a:spcPct val="100000"/>
              </a:lnSpc>
              <a:buNone/>
              <a:defRPr sz="1300" b="0" i="0">
                <a:latin typeface="+mn-lt"/>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tx1"/>
                </a:solidFill>
                <a:latin typeface="+mn-lt"/>
                <a:cs typeface="Segoe UI Semilight" panose="020B0402040204020203" pitchFamily="34" charset="0"/>
              </a:defRPr>
            </a:lvl1pPr>
          </a:lstStyle>
          <a:p>
            <a:pPr lvl="0"/>
            <a:endParaRPr lang="en-US"/>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5911579" y="5162439"/>
            <a:ext cx="3136167" cy="1393507"/>
          </a:xfrm>
          <a:prstGeom prst="rect">
            <a:avLst/>
          </a:prstGeom>
        </p:spPr>
        <p:txBody>
          <a:bodyPr lIns="0" tIns="0" rIns="0" bIns="0"/>
          <a:lstStyle>
            <a:lvl1pPr marL="0" indent="0">
              <a:lnSpc>
                <a:spcPct val="100000"/>
              </a:lnSpc>
              <a:buNone/>
              <a:defRPr sz="1300" b="0" i="0">
                <a:latin typeface="+mn-lt"/>
                <a:cs typeface="Segoe UI Semilight" panose="020B0402040204020203" pitchFamily="34" charset="0"/>
              </a:defRPr>
            </a:lvl1pPr>
          </a:lstStyle>
          <a:p>
            <a:pPr lvl="0"/>
            <a:endParaRPr lang="en-US"/>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9158242" y="5162439"/>
            <a:ext cx="2587926" cy="1393507"/>
          </a:xfrm>
          <a:prstGeom prst="rect">
            <a:avLst/>
          </a:prstGeom>
        </p:spPr>
        <p:txBody>
          <a:bodyPr lIns="0" tIns="0" rIns="0" bIns="0"/>
          <a:lstStyle>
            <a:lvl1pPr marL="0" indent="0">
              <a:lnSpc>
                <a:spcPct val="100000"/>
              </a:lnSpc>
              <a:buNone/>
              <a:defRPr sz="1300" b="0" i="0">
                <a:latin typeface="+mn-lt"/>
                <a:cs typeface="Segoe UI Semilight" panose="020B0402040204020203" pitchFamily="34" charset="0"/>
              </a:defRPr>
            </a:lvl1pPr>
          </a:lstStyle>
          <a:p>
            <a:pPr lvl="0"/>
            <a:endParaRPr lang="en-US"/>
          </a:p>
        </p:txBody>
      </p:sp>
      <p:sp>
        <p:nvSpPr>
          <p:cNvPr id="4" name="Text Placeholder 3">
            <a:extLst>
              <a:ext uri="{FF2B5EF4-FFF2-40B4-BE49-F238E27FC236}">
                <a16:creationId xmlns:a16="http://schemas.microsoft.com/office/drawing/2014/main" id="{9C00639B-9E08-A42E-9655-FCBD8D13B0AD}"/>
              </a:ext>
            </a:extLst>
          </p:cNvPr>
          <p:cNvSpPr>
            <a:spLocks noGrp="1"/>
          </p:cNvSpPr>
          <p:nvPr>
            <p:ph type="body" sz="quarter" idx="25"/>
          </p:nvPr>
        </p:nvSpPr>
        <p:spPr>
          <a:xfrm>
            <a:off x="293687" y="3141663"/>
            <a:ext cx="2545765" cy="914400"/>
          </a:xfrm>
        </p:spPr>
        <p:txBody>
          <a:bodyPr/>
          <a:lstStyle>
            <a:lvl1pPr>
              <a:spcBef>
                <a:spcPts val="1200"/>
              </a:spcBef>
              <a:defRPr sz="1400" cap="all" baseline="0">
                <a:solidFill>
                  <a:schemeClr val="accent1"/>
                </a:solidFill>
                <a:latin typeface="+mj-lt"/>
              </a:defRPr>
            </a:lvl1pPr>
            <a:lvl2pPr>
              <a:spcAft>
                <a:spcPts val="600"/>
              </a:spcAft>
              <a:defRPr sz="1400"/>
            </a:lvl2pPr>
            <a:lvl3pPr>
              <a:spcAft>
                <a:spcPts val="600"/>
              </a:spcAft>
              <a:defRPr sz="1000"/>
            </a:lvl3pPr>
            <a:lvl4pPr>
              <a:spcAft>
                <a:spcPts val="600"/>
              </a:spcAft>
              <a:defRPr sz="900"/>
            </a:lvl4pPr>
            <a:lvl5pPr>
              <a:spcAft>
                <a:spcPts val="600"/>
              </a:spcAft>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8">
            <a:extLst>
              <a:ext uri="{FF2B5EF4-FFF2-40B4-BE49-F238E27FC236}">
                <a16:creationId xmlns:a16="http://schemas.microsoft.com/office/drawing/2014/main" id="{F6207768-8EBC-C243-7D02-79C6E65575B0}"/>
              </a:ext>
            </a:extLst>
          </p:cNvPr>
          <p:cNvSpPr>
            <a:spLocks noGrp="1"/>
          </p:cNvSpPr>
          <p:nvPr>
            <p:ph type="body" sz="quarter" idx="26" hasCustomPrompt="1"/>
          </p:nvPr>
        </p:nvSpPr>
        <p:spPr>
          <a:xfrm>
            <a:off x="3268758" y="4855810"/>
            <a:ext cx="2560320" cy="249590"/>
          </a:xfrm>
          <a:prstGeom prst="rect">
            <a:avLst/>
          </a:prstGeom>
        </p:spPr>
        <p:txBody>
          <a:bodyPr lIns="0" tIns="0" rIns="0" bIns="0"/>
          <a:lstStyle>
            <a:lvl1pPr marL="0" indent="0">
              <a:lnSpc>
                <a:spcPct val="100000"/>
              </a:lnSpc>
              <a:buNone/>
              <a:defRPr sz="1400" b="0" i="0">
                <a:solidFill>
                  <a:schemeClr val="accent1"/>
                </a:solidFill>
                <a:latin typeface="+mj-lt"/>
                <a:cs typeface="Segoe UI Semilight" panose="020B0402040204020203" pitchFamily="34" charset="0"/>
              </a:defRPr>
            </a:lvl1pPr>
          </a:lstStyle>
          <a:p>
            <a:pPr lvl="0"/>
            <a:r>
              <a:rPr lang="en-US">
                <a:solidFill>
                  <a:srgbClr val="50E6FF"/>
                </a:solidFill>
                <a:cs typeface="+mn-cs"/>
              </a:rPr>
              <a:t>Situation</a:t>
            </a:r>
            <a:endParaRPr lang="en-US"/>
          </a:p>
        </p:txBody>
      </p:sp>
      <p:sp>
        <p:nvSpPr>
          <p:cNvPr id="7" name="Text Placeholder 28">
            <a:extLst>
              <a:ext uri="{FF2B5EF4-FFF2-40B4-BE49-F238E27FC236}">
                <a16:creationId xmlns:a16="http://schemas.microsoft.com/office/drawing/2014/main" id="{49C5A00A-D04B-CE9A-1557-1175944882DF}"/>
              </a:ext>
            </a:extLst>
          </p:cNvPr>
          <p:cNvSpPr>
            <a:spLocks noGrp="1"/>
          </p:cNvSpPr>
          <p:nvPr>
            <p:ph type="body" sz="quarter" idx="27" hasCustomPrompt="1"/>
          </p:nvPr>
        </p:nvSpPr>
        <p:spPr>
          <a:xfrm>
            <a:off x="5911579" y="4855810"/>
            <a:ext cx="3136167" cy="249590"/>
          </a:xfrm>
          <a:prstGeom prst="rect">
            <a:avLst/>
          </a:prstGeom>
        </p:spPr>
        <p:txBody>
          <a:bodyPr lIns="0" tIns="0" rIns="0" bIns="0"/>
          <a:lstStyle>
            <a:lvl1pPr marL="0" indent="0">
              <a:lnSpc>
                <a:spcPct val="100000"/>
              </a:lnSpc>
              <a:buNone/>
              <a:defRPr sz="1400" b="0" i="0">
                <a:solidFill>
                  <a:schemeClr val="accent1"/>
                </a:solidFill>
                <a:latin typeface="+mj-lt"/>
                <a:cs typeface="Segoe UI Semilight" panose="020B0402040204020203" pitchFamily="34" charset="0"/>
              </a:defRPr>
            </a:lvl1pPr>
          </a:lstStyle>
          <a:p>
            <a:pPr lvl="0"/>
            <a:r>
              <a:rPr lang="en-US"/>
              <a:t>Solution</a:t>
            </a:r>
          </a:p>
        </p:txBody>
      </p:sp>
      <p:sp>
        <p:nvSpPr>
          <p:cNvPr id="8" name="Text Placeholder 28">
            <a:extLst>
              <a:ext uri="{FF2B5EF4-FFF2-40B4-BE49-F238E27FC236}">
                <a16:creationId xmlns:a16="http://schemas.microsoft.com/office/drawing/2014/main" id="{94020B02-7A5F-0C6A-A274-35CD14E54248}"/>
              </a:ext>
            </a:extLst>
          </p:cNvPr>
          <p:cNvSpPr>
            <a:spLocks noGrp="1"/>
          </p:cNvSpPr>
          <p:nvPr>
            <p:ph type="body" sz="quarter" idx="28" hasCustomPrompt="1"/>
          </p:nvPr>
        </p:nvSpPr>
        <p:spPr>
          <a:xfrm>
            <a:off x="9158242" y="4855810"/>
            <a:ext cx="2587926" cy="249590"/>
          </a:xfrm>
          <a:prstGeom prst="rect">
            <a:avLst/>
          </a:prstGeom>
        </p:spPr>
        <p:txBody>
          <a:bodyPr lIns="0" tIns="0" rIns="0" bIns="0"/>
          <a:lstStyle>
            <a:lvl1pPr marL="0" indent="0">
              <a:lnSpc>
                <a:spcPct val="100000"/>
              </a:lnSpc>
              <a:buNone/>
              <a:defRPr sz="1400" b="0" i="0">
                <a:solidFill>
                  <a:schemeClr val="accent1"/>
                </a:solidFill>
                <a:latin typeface="+mj-lt"/>
                <a:cs typeface="Segoe UI Semilight" panose="020B0402040204020203" pitchFamily="34" charset="0"/>
              </a:defRPr>
            </a:lvl1pPr>
          </a:lstStyle>
          <a:p>
            <a:pPr lvl="0"/>
            <a:r>
              <a:rPr lang="en-US"/>
              <a:t>Impact</a:t>
            </a:r>
          </a:p>
        </p:txBody>
      </p:sp>
    </p:spTree>
    <p:extLst>
      <p:ext uri="{BB962C8B-B14F-4D97-AF65-F5344CB8AC3E}">
        <p14:creationId xmlns:p14="http://schemas.microsoft.com/office/powerpoint/2010/main" val="63617529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_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028950"/>
            <a:ext cx="9230589" cy="1699719"/>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srgbClr>
                </a:solidFill>
                <a:effectLst/>
                <a:uLnTx/>
                <a:uFillTx/>
                <a:latin typeface="Segoe UI Light" panose="020B0502040204020203" pitchFamily="34" charset="0"/>
                <a:ea typeface="+mn-ea"/>
                <a:cs typeface="Segoe UI Light" panose="020B0502040204020203" pitchFamily="34" charset="0"/>
              </a:rPr>
              <a:t>Situation:</a:t>
            </a:r>
            <a:endParaRPr kumimoji="0" lang="en-US" sz="1400" b="0" i="0" u="none" strike="noStrike" kern="1200" cap="none" spc="0" normalizeH="0" baseline="0" noProof="0">
              <a:ln>
                <a:noFill/>
              </a:ln>
              <a:solidFill>
                <a:srgbClr val="000000">
                  <a:lumMod val="50000"/>
                </a:srgbClr>
              </a:solidFill>
              <a:effectLst/>
              <a:uLnTx/>
              <a:uFillTx/>
              <a:latin typeface="Segoe UI"/>
              <a:ea typeface="+mn-ea"/>
              <a:cs typeface="+mn-cs"/>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1998567"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5952554" y="4875180"/>
            <a:ext cx="1905338" cy="215444"/>
          </a:xfrm>
          <a:prstGeom prst="rect">
            <a:avLst/>
          </a:prstGeom>
          <a:noFill/>
          <a:ln>
            <a:noFill/>
          </a:ln>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srgbClr>
                </a:solidFill>
                <a:effectLst/>
                <a:uLnTx/>
                <a:uFillTx/>
                <a:latin typeface="Segoe UI Light" panose="020B0502040204020203" pitchFamily="34" charset="0"/>
                <a:ea typeface="+mn-ea"/>
                <a:cs typeface="Segoe UI Light" panose="020B0502040204020203" pitchFamily="34" charset="0"/>
              </a:rPr>
              <a:t>Solution:</a:t>
            </a:r>
            <a:endParaRPr kumimoji="0" lang="en-US" sz="1400" b="0" i="0" u="none" strike="noStrike" kern="1200" cap="none" spc="0" normalizeH="0" baseline="0" noProof="0">
              <a:ln>
                <a:noFill/>
              </a:ln>
              <a:solidFill>
                <a:srgbClr val="000000">
                  <a:lumMod val="50000"/>
                </a:srgbClr>
              </a:solidFill>
              <a:effectLst/>
              <a:uLnTx/>
              <a:uFillTx/>
              <a:latin typeface="Segoe UI"/>
              <a:ea typeface="+mn-ea"/>
              <a:cs typeface="+mn-cs"/>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00251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9242998" y="4875180"/>
            <a:ext cx="1905338" cy="215444"/>
          </a:xfrm>
          <a:prstGeom prst="rect">
            <a:avLst/>
          </a:prstGeom>
          <a:noFill/>
          <a:ln>
            <a:noFill/>
          </a:ln>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srgbClr>
                </a:solidFill>
                <a:effectLst/>
                <a:uLnTx/>
                <a:uFillTx/>
                <a:latin typeface="Segoe UI Light" panose="020B0502040204020203" pitchFamily="34" charset="0"/>
                <a:ea typeface="+mn-ea"/>
                <a:cs typeface="Segoe UI Light" panose="020B0502040204020203" pitchFamily="34" charset="0"/>
              </a:rPr>
              <a:t>Impact:</a:t>
            </a:r>
            <a:endParaRPr kumimoji="0" lang="en-US" sz="1400" b="0" i="0" u="none" strike="noStrike" kern="1200" cap="none" spc="0" normalizeH="0" baseline="0" noProof="0">
              <a:ln>
                <a:noFill/>
              </a:ln>
              <a:solidFill>
                <a:srgbClr val="000000">
                  <a:lumMod val="50000"/>
                </a:srgbClr>
              </a:solidFill>
              <a:effectLst/>
              <a:uLnTx/>
              <a:uFillTx/>
              <a:latin typeface="Segoe UI"/>
              <a:ea typeface="+mn-ea"/>
              <a:cs typeface="+mn-cs"/>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9119173" y="5162439"/>
            <a:ext cx="2501327"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289830830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72024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2"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6657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A2F89-0CEF-B17C-2821-A478560428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D18306-EC96-9FED-E59E-B7162140945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96E2EF-0709-62DA-6754-B3FC56E1CCF0}"/>
              </a:ext>
            </a:extLst>
          </p:cNvPr>
          <p:cNvSpPr>
            <a:spLocks noGrp="1"/>
          </p:cNvSpPr>
          <p:nvPr>
            <p:ph type="dt" sz="half" idx="10"/>
          </p:nvPr>
        </p:nvSpPr>
        <p:spPr/>
        <p:txBody>
          <a:bodyPr/>
          <a:lstStyle/>
          <a:p>
            <a:fld id="{63E896EE-BD20-44E3-97BF-86298720289D}" type="datetimeFigureOut">
              <a:rPr lang="en-US" smtClean="0"/>
              <a:t>4/15/25</a:t>
            </a:fld>
            <a:endParaRPr lang="en-US"/>
          </a:p>
        </p:txBody>
      </p:sp>
      <p:sp>
        <p:nvSpPr>
          <p:cNvPr id="5" name="Footer Placeholder 4">
            <a:extLst>
              <a:ext uri="{FF2B5EF4-FFF2-40B4-BE49-F238E27FC236}">
                <a16:creationId xmlns:a16="http://schemas.microsoft.com/office/drawing/2014/main" id="{2C4A30B2-4FC5-A7AB-B139-4154929AC0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B52E1D8-1029-37C8-1702-9C848F33600D}"/>
              </a:ext>
            </a:extLst>
          </p:cNvPr>
          <p:cNvSpPr>
            <a:spLocks noGrp="1"/>
          </p:cNvSpPr>
          <p:nvPr>
            <p:ph type="sldNum" sz="quarter" idx="12"/>
          </p:nvPr>
        </p:nvSpPr>
        <p:spPr/>
        <p:txBody>
          <a:bodyPr/>
          <a:lstStyle/>
          <a:p>
            <a:fld id="{04A3CA8F-3FD9-4DCF-96FC-3C7D96BFB40D}" type="slidenum">
              <a:rPr lang="en-US" smtClean="0"/>
              <a:t>‹#›</a:t>
            </a:fld>
            <a:endParaRPr lang="en-US"/>
          </a:p>
        </p:txBody>
      </p:sp>
    </p:spTree>
    <p:extLst>
      <p:ext uri="{BB962C8B-B14F-4D97-AF65-F5344CB8AC3E}">
        <p14:creationId xmlns:p14="http://schemas.microsoft.com/office/powerpoint/2010/main" val="175708654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8359691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73860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11200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37413144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B2F867E-5C9C-4F0F-8451-73E6553ADBD1}"/>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95774E18-BB95-48B9-BFB0-EDB78E1645EC}"/>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7" name="Picture 6">
              <a:extLst>
                <a:ext uri="{FF2B5EF4-FFF2-40B4-BE49-F238E27FC236}">
                  <a16:creationId xmlns:a16="http://schemas.microsoft.com/office/drawing/2014/main" id="{F247B37F-4CB7-4DE7-9E80-1F8763410729}"/>
                </a:ext>
              </a:extLst>
            </p:cNvPr>
            <p:cNvPicPr>
              <a:picLocks noChangeAspect="1"/>
            </p:cNvPicPr>
            <p:nvPr userDrawn="1"/>
          </p:nvPicPr>
          <p:blipFill rotWithShape="1">
            <a:blip r:embed="rId3">
              <a:extLst>
                <a:ext uri="{28A0092B-C50C-407E-A947-70E740481C1C}">
                  <a14:useLocalDpi xmlns:a14="http://schemas.microsoft.com/office/drawing/2010/main"/>
                </a:ext>
              </a:extLst>
            </a:blip>
            <a:srcRect r="1211"/>
            <a:stretch/>
          </p:blipFill>
          <p:spPr>
            <a:xfrm>
              <a:off x="4487805" y="806451"/>
              <a:ext cx="7240369" cy="5232861"/>
            </a:xfrm>
            <a:prstGeom prst="rect">
              <a:avLst/>
            </a:prstGeom>
          </p:spPr>
        </p:pic>
        <p:sp>
          <p:nvSpPr>
            <p:cNvPr id="8" name="Rectangle 7">
              <a:extLst>
                <a:ext uri="{FF2B5EF4-FFF2-40B4-BE49-F238E27FC236}">
                  <a16:creationId xmlns:a16="http://schemas.microsoft.com/office/drawing/2014/main" id="{5D5E203C-5B5E-46A1-9041-CEF0709B8CC2}"/>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A screenshot of a computer screen&#10;&#10;Description automatically generated">
              <a:extLst>
                <a:ext uri="{FF2B5EF4-FFF2-40B4-BE49-F238E27FC236}">
                  <a16:creationId xmlns:a16="http://schemas.microsoft.com/office/drawing/2014/main" id="{579642E9-5057-4294-94C4-6A65DCFB562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522"/>
            <a:stretch/>
          </p:blipFill>
          <p:spPr>
            <a:xfrm>
              <a:off x="3681202" y="82368"/>
              <a:ext cx="6938672" cy="6728530"/>
            </a:xfrm>
            <a:prstGeom prst="rect">
              <a:avLst/>
            </a:prstGeom>
          </p:spPr>
        </p:pic>
        <p:pic>
          <p:nvPicPr>
            <p:cNvPr id="10" name="Picture 9" descr="A screenshot of a computer screen&#10;&#10;Description automatically generated">
              <a:extLst>
                <a:ext uri="{FF2B5EF4-FFF2-40B4-BE49-F238E27FC236}">
                  <a16:creationId xmlns:a16="http://schemas.microsoft.com/office/drawing/2014/main" id="{E26A0163-42DE-466D-A0BC-D8F22863AFD0}"/>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0379243" y="82368"/>
              <a:ext cx="1944414" cy="6728530"/>
            </a:xfrm>
            <a:prstGeom prst="rect">
              <a:avLst/>
            </a:prstGeom>
          </p:spPr>
        </p:pic>
      </p:grpSp>
      <p:sp>
        <p:nvSpPr>
          <p:cNvPr id="11" name="Title 1">
            <a:extLst>
              <a:ext uri="{FF2B5EF4-FFF2-40B4-BE49-F238E27FC236}">
                <a16:creationId xmlns:a16="http://schemas.microsoft.com/office/drawing/2014/main" id="{0DF16791-AA81-4A89-8F2D-77F91D99EFF5}"/>
              </a:ext>
            </a:extLst>
          </p:cNvPr>
          <p:cNvSpPr>
            <a:spLocks noGrp="1"/>
          </p:cNvSpPr>
          <p:nvPr>
            <p:ph type="title"/>
          </p:nvPr>
        </p:nvSpPr>
        <p:spPr>
          <a:xfrm>
            <a:off x="662554" y="2416629"/>
            <a:ext cx="3603605" cy="1107996"/>
          </a:xfrm>
        </p:spPr>
        <p:txBody>
          <a:bodyPr anchor="b"/>
          <a:lstStyle>
            <a:lvl1pPr algn="l">
              <a:defRPr/>
            </a:lvl1pPr>
          </a:lstStyle>
          <a:p>
            <a:r>
              <a:rPr lang="en-US"/>
              <a:t>Click to edit Master title style</a:t>
            </a:r>
          </a:p>
        </p:txBody>
      </p:sp>
      <p:sp>
        <p:nvSpPr>
          <p:cNvPr id="12" name="Text Placeholder 8">
            <a:extLst>
              <a:ext uri="{FF2B5EF4-FFF2-40B4-BE49-F238E27FC236}">
                <a16:creationId xmlns:a16="http://schemas.microsoft.com/office/drawing/2014/main" id="{8C4C434D-25D9-493C-9E13-021132D2726C}"/>
              </a:ext>
            </a:extLst>
          </p:cNvPr>
          <p:cNvSpPr>
            <a:spLocks noGrp="1"/>
          </p:cNvSpPr>
          <p:nvPr>
            <p:ph type="body" sz="quarter" idx="10"/>
          </p:nvPr>
        </p:nvSpPr>
        <p:spPr>
          <a:xfrm>
            <a:off x="662554" y="3686720"/>
            <a:ext cx="3751540" cy="738664"/>
          </a:xfrm>
        </p:spPr>
        <p:txBody>
          <a:bodyPr/>
          <a:lstStyle>
            <a:lvl1pPr marL="0" indent="0">
              <a:buNone/>
              <a:defRPr sz="2400">
                <a:solidFill>
                  <a:schemeClr val="accent1"/>
                </a:solidFill>
              </a:defRPr>
            </a:lvl1pPr>
            <a:lvl2pPr marL="0" indent="0">
              <a:buNone/>
              <a:defRPr sz="1600"/>
            </a:lvl2pPr>
            <a:lvl3pPr marL="0" indent="0">
              <a:buNone/>
              <a:defRPr sz="1200"/>
            </a:lvl3pPr>
            <a:lvl4pPr marL="0" indent="0">
              <a:buNone/>
              <a:defRPr sz="1100"/>
            </a:lvl4pPr>
            <a:lvl5pPr marL="0" indent="0">
              <a:buNone/>
              <a:defRPr sz="1100"/>
            </a:lvl5pPr>
          </a:lstStyle>
          <a:p>
            <a:pPr lvl="0"/>
            <a:r>
              <a:rPr lang="en-US"/>
              <a:t>Click to edit Master text styles</a:t>
            </a:r>
          </a:p>
        </p:txBody>
      </p:sp>
    </p:spTree>
    <p:extLst>
      <p:ext uri="{BB962C8B-B14F-4D97-AF65-F5344CB8AC3E}">
        <p14:creationId xmlns:p14="http://schemas.microsoft.com/office/powerpoint/2010/main" val="13587529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3ED175C-D61C-1830-9CF1-58EDEA68F85C}"/>
              </a:ext>
            </a:extLst>
          </p:cNvPr>
          <p:cNvPicPr>
            <a:picLocks noChangeAspect="1"/>
          </p:cNvPicPr>
          <p:nvPr userDrawn="1"/>
        </p:nvPicPr>
        <p:blipFill>
          <a:blip r:embed="rId2"/>
          <a:stretch>
            <a:fillRect/>
          </a:stretch>
        </p:blipFill>
        <p:spPr>
          <a:xfrm flipV="1">
            <a:off x="0" y="937936"/>
            <a:ext cx="7772400" cy="51528"/>
          </a:xfrm>
          <a:prstGeom prst="rect">
            <a:avLst/>
          </a:prstGeom>
        </p:spPr>
      </p:pic>
      <p:sp>
        <p:nvSpPr>
          <p:cNvPr id="15" name="Title 1">
            <a:extLst>
              <a:ext uri="{FF2B5EF4-FFF2-40B4-BE49-F238E27FC236}">
                <a16:creationId xmlns:a16="http://schemas.microsoft.com/office/drawing/2014/main" id="{487480FF-4546-9AF5-A1D5-5A4934438CFF}"/>
              </a:ext>
            </a:extLst>
          </p:cNvPr>
          <p:cNvSpPr>
            <a:spLocks noGrp="1"/>
          </p:cNvSpPr>
          <p:nvPr>
            <p:ph type="title"/>
          </p:nvPr>
        </p:nvSpPr>
        <p:spPr>
          <a:xfrm>
            <a:off x="174928" y="290791"/>
            <a:ext cx="10515600" cy="637953"/>
          </a:xfrm>
        </p:spPr>
        <p:txBody>
          <a:bodyPr>
            <a:noAutofit/>
          </a:bodyPr>
          <a:lstStyle>
            <a:lvl1pPr>
              <a:defRPr sz="2800" b="1">
                <a:latin typeface="Segoe UI" panose="020B0502040204020203" pitchFamily="34" charset="0"/>
                <a:cs typeface="Segoe UI" panose="020B0502040204020203" pitchFamily="34" charset="0"/>
              </a:defRPr>
            </a:lvl1pPr>
          </a:lstStyle>
          <a:p>
            <a:r>
              <a:rPr lang="en-US"/>
              <a:t>Click to edit Master title style</a:t>
            </a:r>
          </a:p>
        </p:txBody>
      </p:sp>
      <p:sp>
        <p:nvSpPr>
          <p:cNvPr id="16" name="Content Placeholder 2">
            <a:extLst>
              <a:ext uri="{FF2B5EF4-FFF2-40B4-BE49-F238E27FC236}">
                <a16:creationId xmlns:a16="http://schemas.microsoft.com/office/drawing/2014/main" id="{AEB0F812-6E7D-D770-0BF9-235A25B5896B}"/>
              </a:ext>
            </a:extLst>
          </p:cNvPr>
          <p:cNvSpPr>
            <a:spLocks noGrp="1"/>
          </p:cNvSpPr>
          <p:nvPr>
            <p:ph idx="1"/>
          </p:nvPr>
        </p:nvSpPr>
        <p:spPr>
          <a:xfrm>
            <a:off x="455427" y="1393440"/>
            <a:ext cx="11176591" cy="50498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7118484"/>
      </p:ext>
    </p:extLst>
  </p:cSld>
  <p:clrMapOvr>
    <a:masterClrMapping/>
  </p:clrMapOvr>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6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13" name="Text Placeholder 6">
            <a:extLst>
              <a:ext uri="{FF2B5EF4-FFF2-40B4-BE49-F238E27FC236}">
                <a16:creationId xmlns:a16="http://schemas.microsoft.com/office/drawing/2014/main" id="{F59002A2-36DA-43CB-8C8F-D30310622B35}"/>
              </a:ext>
            </a:extLst>
          </p:cNvPr>
          <p:cNvSpPr>
            <a:spLocks noGrp="1"/>
          </p:cNvSpPr>
          <p:nvPr>
            <p:ph type="body" sz="quarter" idx="17"/>
          </p:nvPr>
        </p:nvSpPr>
        <p:spPr>
          <a:xfrm>
            <a:off x="583406" y="1011198"/>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1988164594"/>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1E684-77E1-F24B-E92E-15545A86819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598609C-EAD8-2896-4371-1154C3EB189B}"/>
              </a:ext>
            </a:extLst>
          </p:cNvPr>
          <p:cNvSpPr>
            <a:spLocks noGrp="1"/>
          </p:cNvSpPr>
          <p:nvPr>
            <p:ph type="dt" sz="half" idx="10"/>
          </p:nvPr>
        </p:nvSpPr>
        <p:spPr/>
        <p:txBody>
          <a:bodyPr/>
          <a:lstStyle/>
          <a:p>
            <a:fld id="{138277C0-C2CC-4B26-A06A-BA336D4B74F7}" type="datetimeFigureOut">
              <a:rPr lang="en-US" smtClean="0"/>
              <a:t>4/15/25</a:t>
            </a:fld>
            <a:endParaRPr lang="en-US"/>
          </a:p>
        </p:txBody>
      </p:sp>
      <p:sp>
        <p:nvSpPr>
          <p:cNvPr id="4" name="Footer Placeholder 3">
            <a:extLst>
              <a:ext uri="{FF2B5EF4-FFF2-40B4-BE49-F238E27FC236}">
                <a16:creationId xmlns:a16="http://schemas.microsoft.com/office/drawing/2014/main" id="{E0EEBDC2-A331-C6FC-B3F2-485B3B699C9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1B8008D-34F5-A313-0AFD-BA02C00393CE}"/>
              </a:ext>
            </a:extLst>
          </p:cNvPr>
          <p:cNvSpPr>
            <a:spLocks noGrp="1"/>
          </p:cNvSpPr>
          <p:nvPr>
            <p:ph type="sldNum" sz="quarter" idx="12"/>
          </p:nvPr>
        </p:nvSpPr>
        <p:spPr/>
        <p:txBody>
          <a:bodyPr/>
          <a:lstStyle/>
          <a:p>
            <a:fld id="{CB4DBB35-81EE-4C21-81B8-E85EDCCA4B4B}" type="slidenum">
              <a:rPr lang="en-US" smtClean="0"/>
              <a:t>‹#›</a:t>
            </a:fld>
            <a:endParaRPr lang="en-US"/>
          </a:p>
        </p:txBody>
      </p:sp>
    </p:spTree>
    <p:extLst>
      <p:ext uri="{BB962C8B-B14F-4D97-AF65-F5344CB8AC3E}">
        <p14:creationId xmlns:p14="http://schemas.microsoft.com/office/powerpoint/2010/main" val="211725801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only 1">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81000" y="457200"/>
            <a:ext cx="11430000" cy="553998"/>
          </a:xfrm>
        </p:spPr>
        <p:txBody>
          <a:bodyPr anchor="t"/>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344752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Five Column Bullet with Subtitles">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73224"/>
          </a:xfrm>
          <a:prstGeom prst="rect">
            <a:avLst/>
          </a:prstGeom>
        </p:spPr>
        <p:txBody>
          <a:bodyPr wrap="square">
            <a:spAutoFit/>
          </a:bodyPr>
          <a:lstStyle>
            <a:lvl1pPr marL="141288" indent="-141288">
              <a:defRPr lang="en-US" sz="1500" kern="1200" spc="0" baseline="0" dirty="0" smtClean="0">
                <a:solidFill>
                  <a:schemeClr val="tx1"/>
                </a:solidFill>
                <a:latin typeface="+mn-lt"/>
                <a:ea typeface="+mn-ea"/>
                <a:cs typeface="Segoe UI" panose="020B0502040204020203" pitchFamily="34" charset="0"/>
              </a:defRPr>
            </a:lvl1pPr>
            <a:lvl2pPr marL="285750" indent="-125413">
              <a:defRPr lang="en-US" sz="1400" kern="1200" spc="0" baseline="0" dirty="0" smtClean="0">
                <a:solidFill>
                  <a:schemeClr val="tx1"/>
                </a:solidFill>
                <a:latin typeface="+mn-lt"/>
                <a:ea typeface="+mn-ea"/>
                <a:cs typeface="+mn-cs"/>
              </a:defRPr>
            </a:lvl2pPr>
            <a:lvl3pPr marL="438150" indent="-133350">
              <a:defRPr lang="en-US" sz="1400" kern="1200" spc="0" baseline="0" dirty="0" smtClean="0">
                <a:solidFill>
                  <a:schemeClr val="tx1"/>
                </a:solidFill>
                <a:latin typeface="+mn-lt"/>
                <a:ea typeface="+mn-ea"/>
                <a:cs typeface="+mn-cs"/>
              </a:defRPr>
            </a:lvl3pPr>
            <a:lvl4pPr marL="566738" indent="-114300">
              <a:defRPr lang="en-US" sz="1200" kern="1200" spc="0" baseline="0" dirty="0" smtClean="0">
                <a:solidFill>
                  <a:schemeClr val="tx1"/>
                </a:solidFill>
                <a:latin typeface="+mn-lt"/>
                <a:ea typeface="+mn-ea"/>
                <a:cs typeface="+mn-cs"/>
              </a:defRPr>
            </a:lvl4pPr>
            <a:lvl5pPr marL="685800" indent="-109538">
              <a:defRPr lang="en-US" sz="1200" kern="1200" spc="0" baseline="0" dirty="0">
                <a:solidFill>
                  <a:schemeClr val="tx1"/>
                </a:solidFill>
                <a:latin typeface="+mn-lt"/>
                <a:ea typeface="+mn-ea"/>
                <a:cs typeface="+mn-cs"/>
              </a:defRPr>
            </a:lvl5pPr>
          </a:lstStyle>
          <a:p>
            <a:pPr marL="141288" marR="0" lvl="0"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Click to edit Master text styles</a:t>
            </a:r>
          </a:p>
          <a:p>
            <a:pPr marL="141288" marR="0" lvl="1"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Second level</a:t>
            </a:r>
          </a:p>
          <a:p>
            <a:pPr marL="141288" marR="0" lvl="2"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Third level</a:t>
            </a:r>
          </a:p>
          <a:p>
            <a:pPr marL="141288" marR="0" lvl="3"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ourth level</a:t>
            </a:r>
          </a:p>
          <a:p>
            <a:pPr marL="141288" marR="0" lvl="4" indent="-141288" algn="l" defTabSz="932742" rtl="0" eaLnBrk="1" fontAlgn="auto" latinLnBrk="0" hangingPunct="1">
              <a:lnSpc>
                <a:spcPct val="100000"/>
              </a:lnSpc>
              <a:spcBef>
                <a:spcPts val="1200"/>
              </a:spcBef>
              <a:spcAft>
                <a:spcPts val="400"/>
              </a:spcAft>
              <a:buClrTx/>
              <a:buSzPct val="100000"/>
              <a:buFont typeface="Arial" panose="020B0604020202020204" pitchFamily="34" charset="0"/>
              <a:buChar char="•"/>
              <a:tabLst/>
            </a:pPr>
            <a:r>
              <a:rPr lang="en-US"/>
              <a:t>Fifth level</a:t>
            </a:r>
          </a:p>
        </p:txBody>
      </p:sp>
      <p:sp>
        <p:nvSpPr>
          <p:cNvPr id="14" name="Freeform: Shape 13" descr="Yellow-blue MIS Identity bar">
            <a:extLst>
              <a:ext uri="{FF2B5EF4-FFF2-40B4-BE49-F238E27FC236}">
                <a16:creationId xmlns:a16="http://schemas.microsoft.com/office/drawing/2014/main" id="{31AFC1BA-C5D5-49C7-8BDA-CAC956C7E464}"/>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67586300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0"/>
            <a:ext cx="5212080" cy="1649682"/>
          </a:xfrm>
        </p:spPr>
        <p:txBody>
          <a:bodyPr wrap="square">
            <a:spAutoFit/>
          </a:bodyPr>
          <a:lstStyle>
            <a:lvl1pPr marL="0" indent="0">
              <a:spcBef>
                <a:spcPts val="1222"/>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490" indent="0">
              <a:buFont typeface="Wingdings" panose="05000000000000000000" pitchFamily="2" charset="2"/>
              <a:buNone/>
              <a:defRPr sz="2000" b="0"/>
            </a:lvl2pPr>
            <a:lvl3pPr marL="450677" indent="0">
              <a:buFont typeface="Wingdings" panose="05000000000000000000" pitchFamily="2" charset="2"/>
              <a:buNone/>
              <a:tabLst/>
              <a:defRPr sz="1600" b="0"/>
            </a:lvl3pPr>
            <a:lvl4pPr marL="652212" indent="0">
              <a:buFont typeface="Wingdings" panose="05000000000000000000" pitchFamily="2" charset="2"/>
              <a:buNone/>
              <a:defRPr sz="1400" b="0"/>
            </a:lvl4pPr>
            <a:lvl5pPr marL="853747"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41628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only w/ footer bar">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B54D414-873B-4653-87BD-FADB647BD926}"/>
              </a:ext>
            </a:extLst>
          </p:cNvPr>
          <p:cNvSpPr>
            <a:spLocks noGrp="1"/>
          </p:cNvSpPr>
          <p:nvPr>
            <p:ph type="title"/>
          </p:nvPr>
        </p:nvSpPr>
        <p:spPr>
          <a:xfrm>
            <a:off x="584200" y="457200"/>
            <a:ext cx="11025188" cy="492443"/>
          </a:xfrm>
        </p:spPr>
        <p:txBody>
          <a:bodyPr/>
          <a:lstStyle>
            <a:lvl1pPr>
              <a:defRPr sz="3200"/>
            </a:lvl1pPr>
          </a:lstStyle>
          <a:p>
            <a:r>
              <a:rPr lang="en-US"/>
              <a:t>Click to edit Master title style</a:t>
            </a:r>
          </a:p>
        </p:txBody>
      </p:sp>
      <p:sp>
        <p:nvSpPr>
          <p:cNvPr id="7" name="TextBox 6">
            <a:extLst>
              <a:ext uri="{FF2B5EF4-FFF2-40B4-BE49-F238E27FC236}">
                <a16:creationId xmlns:a16="http://schemas.microsoft.com/office/drawing/2014/main" id="{C2E55B9B-902F-4291-9FB5-F077AA5F0E1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Freeform: Shape 4" descr="Yellow-blue MIS Identity bar">
            <a:extLst>
              <a:ext uri="{FF2B5EF4-FFF2-40B4-BE49-F238E27FC236}">
                <a16:creationId xmlns:a16="http://schemas.microsoft.com/office/drawing/2014/main" id="{62E89666-B6B5-431E-917C-3108E6D0C355}"/>
              </a:ext>
              <a:ext uri="{C183D7F6-B498-43B3-948B-1728B52AA6E4}">
                <adec:decorative xmlns:adec="http://schemas.microsoft.com/office/drawing/2017/decorative" val="0"/>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3827136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904">
          <p15:clr>
            <a:srgbClr val="5ACBF0"/>
          </p15:clr>
        </p15:guide>
        <p15:guide id="33" pos="2976">
          <p15:clr>
            <a:srgbClr val="5ACBF0"/>
          </p15:clr>
        </p15:guide>
        <p15:guide id="34" pos="333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61665"/>
          </a:xfrm>
        </p:spPr>
        <p:txBody>
          <a:bodyPr/>
          <a:lstStyle>
            <a:lvl1pPr>
              <a:defRPr sz="3000"/>
            </a:lvl1pPr>
          </a:lstStyle>
          <a:p>
            <a:r>
              <a:rPr lang="en-US"/>
              <a:t>Click to edit Master title style</a:t>
            </a:r>
          </a:p>
        </p:txBody>
      </p:sp>
    </p:spTree>
    <p:extLst>
      <p:ext uri="{BB962C8B-B14F-4D97-AF65-F5344CB8AC3E}">
        <p14:creationId xmlns:p14="http://schemas.microsoft.com/office/powerpoint/2010/main" val="26673275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90"/>
            <a:ext cx="5219700" cy="1612749"/>
          </a:xfrm>
        </p:spPr>
        <p:txBody>
          <a:bodyPr>
            <a:spAutoFit/>
          </a:bodyPr>
          <a:lstStyle>
            <a:lvl1pPr marL="171384" indent="-171384">
              <a:defRPr lang="en-US" sz="2400" dirty="0"/>
            </a:lvl1pPr>
            <a:lvl2pPr marL="342768" indent="-171384">
              <a:defRPr lang="en-US" dirty="0"/>
            </a:lvl2pPr>
            <a:lvl3pPr marL="514154" indent="-171384">
              <a:defRPr lang="en-US" dirty="0"/>
            </a:lvl3pPr>
            <a:lvl4pPr marL="666494" indent="-152342">
              <a:defRPr lang="en-US" dirty="0"/>
            </a:lvl4pPr>
            <a:lvl5pPr marL="793446" indent="-1206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90"/>
            <a:ext cx="5219700" cy="1612749"/>
          </a:xfrm>
        </p:spPr>
        <p:txBody>
          <a:bodyPr>
            <a:spAutoFit/>
          </a:bodyPr>
          <a:lstStyle>
            <a:lvl1pPr marL="171384" indent="-171384">
              <a:defRPr lang="en-US" sz="2400" dirty="0"/>
            </a:lvl1pPr>
            <a:lvl2pPr marL="342768" indent="-171384">
              <a:defRPr lang="en-US" dirty="0"/>
            </a:lvl2pPr>
            <a:lvl3pPr marL="514154" indent="-171384">
              <a:defRPr lang="en-US" dirty="0"/>
            </a:lvl3pPr>
            <a:lvl4pPr marL="685537" indent="-136472">
              <a:defRPr lang="en-US" dirty="0"/>
            </a:lvl4pPr>
            <a:lvl5pPr marL="793446" indent="-120603">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74256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4"/>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90"/>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4"/>
            <a:ext cx="5214937" cy="1551219"/>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411694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7"/>
            <a:ext cx="3264408" cy="1760482"/>
          </a:xfrm>
        </p:spPr>
        <p:txBody>
          <a:bodyPr wrap="square">
            <a:spAutoFit/>
          </a:bodyPr>
          <a:lstStyle>
            <a:lvl1pPr marL="176146" indent="-176146">
              <a:defRPr lang="en-US" sz="2000" dirty="0"/>
            </a:lvl1pPr>
            <a:lvl2pPr marL="322139" indent="-150755">
              <a:defRPr lang="en-US" sz="1800" dirty="0"/>
            </a:lvl2pPr>
            <a:lvl3pPr marL="466546" indent="-138060">
              <a:defRPr lang="en-US" dirty="0"/>
            </a:lvl3pPr>
            <a:lvl4pPr marL="595084" indent="-128538">
              <a:defRPr lang="en-US" dirty="0"/>
            </a:lvl4pPr>
            <a:lvl5pPr marL="731558" indent="-122191">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7"/>
            <a:ext cx="3264408" cy="1760482"/>
          </a:xfrm>
        </p:spPr>
        <p:txBody>
          <a:bodyPr wrap="square">
            <a:spAutoFit/>
          </a:bodyPr>
          <a:lstStyle>
            <a:lvl1pPr marL="176146" indent="-176146">
              <a:defRPr lang="en-US" sz="2000" dirty="0"/>
            </a:lvl1pPr>
            <a:lvl2pPr marL="398310" indent="-169798">
              <a:defRPr lang="en-US" sz="1800" dirty="0"/>
            </a:lvl2pPr>
            <a:lvl3pPr marL="555412" indent="-157103">
              <a:defRPr lang="en-US" dirty="0"/>
            </a:lvl3pPr>
            <a:lvl4pPr marL="685537" indent="-136472">
              <a:defRPr lang="en-US" dirty="0"/>
            </a:lvl4pPr>
            <a:lvl5pPr marL="799792" indent="-11108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7"/>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7"/>
            <a:ext cx="3264408" cy="1760482"/>
          </a:xfrm>
        </p:spPr>
        <p:txBody>
          <a:bodyPr wrap="square">
            <a:spAutoFit/>
          </a:bodyPr>
          <a:lstStyle>
            <a:lvl1pPr marL="176146" indent="-176146">
              <a:defRPr lang="en-US" sz="2000" dirty="0"/>
            </a:lvl1pPr>
            <a:lvl2pPr marL="398310" indent="-169798">
              <a:defRPr lang="en-US" sz="1800" dirty="0"/>
            </a:lvl2pPr>
            <a:lvl3pPr marL="555412" indent="-157103">
              <a:defRPr lang="en-US" dirty="0"/>
            </a:lvl3pPr>
            <a:lvl4pPr marL="685537" indent="-136472">
              <a:defRPr lang="en-US" dirty="0"/>
            </a:lvl4pPr>
            <a:lvl5pPr marL="799792" indent="-111082">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5693705"/>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USE THIS_Title Slide">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C7DD90F-8E34-4645-11FC-D18559ABA8CB}"/>
              </a:ext>
            </a:extLst>
          </p:cNvPr>
          <p:cNvSpPr>
            <a:spLocks noGrp="1"/>
          </p:cNvSpPr>
          <p:nvPr>
            <p:ph type="title"/>
          </p:nvPr>
        </p:nvSpPr>
        <p:spPr>
          <a:xfrm>
            <a:off x="382581" y="295855"/>
            <a:ext cx="11418894" cy="492443"/>
          </a:xfrm>
        </p:spPr>
        <p:txBody>
          <a:bodyPr/>
          <a:lstStyle>
            <a:lvl1pPr>
              <a:defRPr sz="3200">
                <a:solidFill>
                  <a:schemeClr val="bg1"/>
                </a:solidFill>
              </a:defRPr>
            </a:lvl1pPr>
          </a:lstStyle>
          <a:p>
            <a:r>
              <a:rPr lang="en-US"/>
              <a:t>Click to edit Master title style</a:t>
            </a:r>
          </a:p>
        </p:txBody>
      </p:sp>
      <p:sp>
        <p:nvSpPr>
          <p:cNvPr id="12" name="Text Placeholder 11">
            <a:extLst>
              <a:ext uri="{FF2B5EF4-FFF2-40B4-BE49-F238E27FC236}">
                <a16:creationId xmlns:a16="http://schemas.microsoft.com/office/drawing/2014/main" id="{98F2C689-5906-3C9E-6C94-B478D35A8AC4}"/>
              </a:ext>
            </a:extLst>
          </p:cNvPr>
          <p:cNvSpPr>
            <a:spLocks noGrp="1"/>
          </p:cNvSpPr>
          <p:nvPr>
            <p:ph type="body" sz="quarter" idx="10" hasCustomPrompt="1"/>
          </p:nvPr>
        </p:nvSpPr>
        <p:spPr>
          <a:xfrm>
            <a:off x="382580" y="832932"/>
            <a:ext cx="11418893" cy="276999"/>
          </a:xfrm>
        </p:spPr>
        <p:txBody>
          <a:bodyPr/>
          <a:lstStyle>
            <a:lvl1pPr marL="0" indent="0">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p:txBody>
      </p:sp>
    </p:spTree>
    <p:extLst>
      <p:ext uri="{BB962C8B-B14F-4D97-AF65-F5344CB8AC3E}">
        <p14:creationId xmlns:p14="http://schemas.microsoft.com/office/powerpoint/2010/main" val="32987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7" y="2276475"/>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10" y="143827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10" y="2283117"/>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5" y="2276475"/>
            <a:ext cx="2532063" cy="1698927"/>
          </a:xfrm>
        </p:spPr>
        <p:txBody>
          <a:bodyPr wrap="square">
            <a:spAutoFit/>
          </a:bodyPr>
          <a:lstStyle>
            <a:lvl1pPr marL="141234" indent="-141234">
              <a:defRPr lang="en-US" sz="1800" dirty="0"/>
            </a:lvl1pPr>
            <a:lvl2pPr marL="285640" indent="-125365">
              <a:defRPr lang="en-US" sz="1600" dirty="0"/>
            </a:lvl2pPr>
            <a:lvl3pPr marL="437982" indent="-133299">
              <a:defRPr lang="en-US" dirty="0"/>
            </a:lvl3pPr>
            <a:lvl4pPr marL="566520" indent="-114256">
              <a:defRPr lang="en-US" dirty="0"/>
            </a:lvl4pPr>
            <a:lvl5pPr marL="685537" indent="-10949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895755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7"/>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52705"/>
          </a:xfrm>
        </p:spPr>
        <p:txBody>
          <a:bodyPr wrap="square">
            <a:spAutoFit/>
          </a:bodyPr>
          <a:lstStyle>
            <a:lvl1pPr marL="141234" indent="-141234">
              <a:defRPr lang="en-US" sz="1500" dirty="0"/>
            </a:lvl1pPr>
            <a:lvl2pPr marL="285640" indent="-125365">
              <a:defRPr lang="en-US" sz="1400" dirty="0"/>
            </a:lvl2pPr>
            <a:lvl3pPr marL="437982" indent="-133299">
              <a:defRPr lang="en-US" sz="1400" dirty="0"/>
            </a:lvl3pPr>
            <a:lvl4pPr marL="566520" indent="-114256">
              <a:defRPr lang="en-US" sz="1200" dirty="0"/>
            </a:lvl4pPr>
            <a:lvl5pPr marL="685537" indent="-109496">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484737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4906691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white version)">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E64D87-2401-A0A7-DF2D-1C4E55795374}"/>
              </a:ext>
            </a:extLst>
          </p:cNvPr>
          <p:cNvGraphicFramePr>
            <a:graphicFrameLocks noChangeAspect="1"/>
          </p:cNvGraphicFramePr>
          <p:nvPr userDrawn="1">
            <p:custDataLst>
              <p:tags r:id="rId1"/>
            </p:custDataLst>
            <p:extLst>
              <p:ext uri="{D42A27DB-BD31-4B8C-83A1-F6EECF244321}">
                <p14:modId xmlns:p14="http://schemas.microsoft.com/office/powerpoint/2010/main" val="45300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26E64D87-2401-A0A7-DF2D-1C4E557953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lvl1pPr>
              <a:defRPr>
                <a:solidFill>
                  <a:schemeClr val="accent6">
                    <a:lumMod val="50000"/>
                  </a:schemeClr>
                </a:solidFill>
              </a:defRPr>
            </a:lvl1pPr>
          </a:lstStyle>
          <a:p>
            <a:endParaRPr lang="en-US"/>
          </a:p>
        </p:txBody>
      </p:sp>
    </p:spTree>
    <p:extLst>
      <p:ext uri="{BB962C8B-B14F-4D97-AF65-F5344CB8AC3E}">
        <p14:creationId xmlns:p14="http://schemas.microsoft.com/office/powerpoint/2010/main" val="36723048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l">
              <a:defRPr>
                <a:solidFill>
                  <a:schemeClr val="tx1"/>
                </a:solidFill>
              </a:defRPr>
            </a:lvl1pPr>
          </a:lstStyle>
          <a:p>
            <a:r>
              <a:rPr lang="en-US"/>
              <a:t>Click to edit Master title style</a:t>
            </a:r>
          </a:p>
        </p:txBody>
      </p:sp>
      <p:sp>
        <p:nvSpPr>
          <p:cNvPr id="4" name="Text Placeholder 3">
            <a:extLst>
              <a:ext uri="{FF2B5EF4-FFF2-40B4-BE49-F238E27FC236}">
                <a16:creationId xmlns:a16="http://schemas.microsoft.com/office/drawing/2014/main" id="{2E2C6CB3-A022-6DCF-CEF5-184BE5C2A919}"/>
              </a:ext>
            </a:extLst>
          </p:cNvPr>
          <p:cNvSpPr>
            <a:spLocks noGrp="1"/>
          </p:cNvSpPr>
          <p:nvPr>
            <p:ph type="body" sz="quarter" idx="10"/>
          </p:nvPr>
        </p:nvSpPr>
        <p:spPr>
          <a:xfrm>
            <a:off x="585787" y="1110472"/>
            <a:ext cx="11020426" cy="307777"/>
          </a:xfrm>
        </p:spPr>
        <p:txBody>
          <a:bodyPr/>
          <a:lstStyle>
            <a:lvl1pPr marL="0" indent="0">
              <a:buNone/>
              <a:defRPr sz="2000">
                <a:latin typeface="+mj-lt"/>
              </a:defRPr>
            </a:lvl1pPr>
          </a:lstStyle>
          <a:p>
            <a:pPr lvl="0"/>
            <a:r>
              <a:rPr lang="en-US"/>
              <a:t>Click to edit Master text styles</a:t>
            </a:r>
          </a:p>
        </p:txBody>
      </p:sp>
    </p:spTree>
    <p:extLst>
      <p:ext uri="{BB962C8B-B14F-4D97-AF65-F5344CB8AC3E}">
        <p14:creationId xmlns:p14="http://schemas.microsoft.com/office/powerpoint/2010/main" val="21249152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5E3074B0-AAFB-81BD-F79C-37B9AF166ECA}"/>
              </a:ext>
            </a:extLst>
          </p:cNvPr>
          <p:cNvSpPr>
            <a:spLocks noGrp="1"/>
          </p:cNvSpPr>
          <p:nvPr>
            <p:ph type="ftr" sz="quarter" idx="10"/>
          </p:nvPr>
        </p:nvSpPr>
        <p:spPr/>
        <p:txBody>
          <a:bodyPr/>
          <a:lstStyle/>
          <a:p>
            <a:endParaRPr lang="en-US"/>
          </a:p>
        </p:txBody>
      </p:sp>
      <p:sp>
        <p:nvSpPr>
          <p:cNvPr id="4" name="Text Placeholder 4">
            <a:extLst>
              <a:ext uri="{FF2B5EF4-FFF2-40B4-BE49-F238E27FC236}">
                <a16:creationId xmlns:a16="http://schemas.microsoft.com/office/drawing/2014/main" id="{019898FE-B3CF-AA4E-DCB8-CA4FF8672171}"/>
              </a:ext>
            </a:extLst>
          </p:cNvPr>
          <p:cNvSpPr>
            <a:spLocks noGrp="1"/>
          </p:cNvSpPr>
          <p:nvPr>
            <p:ph type="body" sz="quarter" idx="11"/>
          </p:nvPr>
        </p:nvSpPr>
        <p:spPr>
          <a:xfrm>
            <a:off x="588263" y="1039776"/>
            <a:ext cx="11018520" cy="430887"/>
          </a:xfrm>
        </p:spPr>
        <p:txBody>
          <a:bodyPr anchor="t"/>
          <a:lstStyle>
            <a:lvl1pPr marL="12696" indent="0" algn="l">
              <a:buNone/>
              <a:tabLst/>
              <a:defRPr sz="2800">
                <a:gradFill>
                  <a:gsLst>
                    <a:gs pos="70000">
                      <a:srgbClr val="49C5B1"/>
                    </a:gs>
                    <a:gs pos="0">
                      <a:srgbClr val="8DE971"/>
                    </a:gs>
                  </a:gsLst>
                  <a:path path="circle">
                    <a:fillToRect l="100000" t="100000"/>
                  </a:path>
                </a:gradFill>
                <a:latin typeface="+mj-lt"/>
              </a:defRPr>
            </a:lvl1pPr>
            <a:lvl2pPr marL="12696" indent="0" algn="ctr">
              <a:buNone/>
              <a:tabLst/>
              <a:defRPr sz="2800">
                <a:latin typeface="+mj-lt"/>
              </a:defRPr>
            </a:lvl2pPr>
            <a:lvl3pPr marL="12696" indent="0" algn="ctr">
              <a:buNone/>
              <a:tabLst/>
              <a:defRPr sz="2800">
                <a:latin typeface="+mj-lt"/>
              </a:defRPr>
            </a:lvl3pPr>
            <a:lvl4pPr marL="12696" indent="0" algn="ctr">
              <a:buNone/>
              <a:tabLst/>
              <a:defRPr sz="2800">
                <a:latin typeface="+mj-lt"/>
              </a:defRPr>
            </a:lvl4pPr>
            <a:lvl5pPr marL="12696" indent="0" algn="ctr">
              <a:buNone/>
              <a:tabLst/>
              <a:defRPr sz="2800">
                <a:latin typeface="+mj-lt"/>
              </a:defRPr>
            </a:lvl5pPr>
          </a:lstStyle>
          <a:p>
            <a:pPr lvl="0"/>
            <a:r>
              <a:rPr lang="en-US"/>
              <a:t>Click to edit Master text styles</a:t>
            </a:r>
          </a:p>
        </p:txBody>
      </p:sp>
    </p:spTree>
    <p:extLst>
      <p:ext uri="{BB962C8B-B14F-4D97-AF65-F5344CB8AC3E}">
        <p14:creationId xmlns:p14="http://schemas.microsoft.com/office/powerpoint/2010/main" val="41522903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_Cen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C16059A1-3D96-F1E8-1C51-AC794857E687}"/>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6749749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enter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2D82F595-5446-D9B5-B5DF-1FA1AFE0D3FA}"/>
              </a:ext>
            </a:extLst>
          </p:cNvPr>
          <p:cNvSpPr>
            <a:spLocks noGrp="1"/>
          </p:cNvSpPr>
          <p:nvPr>
            <p:ph type="body" sz="quarter" idx="10"/>
          </p:nvPr>
        </p:nvSpPr>
        <p:spPr>
          <a:xfrm>
            <a:off x="588263" y="1039776"/>
            <a:ext cx="11018520" cy="430887"/>
          </a:xfrm>
        </p:spPr>
        <p:txBody>
          <a:bodyPr anchor="t"/>
          <a:lstStyle>
            <a:lvl1pPr marL="12696" indent="0" algn="ctr">
              <a:buNone/>
              <a:tabLst/>
              <a:defRPr sz="2800">
                <a:gradFill>
                  <a:gsLst>
                    <a:gs pos="70000">
                      <a:srgbClr val="49C5B1"/>
                    </a:gs>
                    <a:gs pos="0">
                      <a:srgbClr val="8DE971"/>
                    </a:gs>
                  </a:gsLst>
                  <a:path path="circle">
                    <a:fillToRect l="100000" t="100000"/>
                  </a:path>
                </a:gradFill>
                <a:latin typeface="+mj-lt"/>
              </a:defRPr>
            </a:lvl1pPr>
            <a:lvl2pPr marL="12696" indent="0" algn="ctr">
              <a:buNone/>
              <a:tabLst/>
              <a:defRPr sz="2800">
                <a:latin typeface="+mj-lt"/>
              </a:defRPr>
            </a:lvl2pPr>
            <a:lvl3pPr marL="12696" indent="0" algn="ctr">
              <a:buNone/>
              <a:tabLst/>
              <a:defRPr sz="2800">
                <a:latin typeface="+mj-lt"/>
              </a:defRPr>
            </a:lvl3pPr>
            <a:lvl4pPr marL="12696" indent="0" algn="ctr">
              <a:buNone/>
              <a:tabLst/>
              <a:defRPr sz="2800">
                <a:latin typeface="+mj-lt"/>
              </a:defRPr>
            </a:lvl4pPr>
            <a:lvl5pPr marL="12696" indent="0" algn="ctr">
              <a:buNone/>
              <a:tabLst/>
              <a:defRPr sz="2800">
                <a:latin typeface="+mj-lt"/>
              </a:defRPr>
            </a:lvl5pPr>
          </a:lstStyle>
          <a:p>
            <a:pPr lvl="0"/>
            <a:r>
              <a:rPr lang="en-US"/>
              <a:t>Click to edit Master text styles</a:t>
            </a:r>
          </a:p>
        </p:txBody>
      </p:sp>
      <p:sp>
        <p:nvSpPr>
          <p:cNvPr id="6" name="Footer Placeholder 5">
            <a:extLst>
              <a:ext uri="{FF2B5EF4-FFF2-40B4-BE49-F238E27FC236}">
                <a16:creationId xmlns:a16="http://schemas.microsoft.com/office/drawing/2014/main" id="{4AEE89CF-2060-F8E1-0F72-E54B7B7AD70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7076946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6"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9330501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20175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17607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80"/>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581336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4"/>
            <a:ext cx="4159950" cy="1108121"/>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286288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5" y="2979740"/>
            <a:ext cx="4163125" cy="861803"/>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2"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036162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323566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1"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0533754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125171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098"/>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2"/>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618874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57"/>
            <a:ext cx="11018520" cy="554061"/>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627757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1"/>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12" lvl="0" indent="-228512"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9812357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4"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2"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3" y="5689601"/>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325516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ustomer story">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A745FF17-5C1B-1FAC-2B0B-F8AEED707486}"/>
              </a:ext>
            </a:extLst>
          </p:cNvPr>
          <p:cNvSpPr/>
          <p:nvPr userDrawn="1"/>
        </p:nvSpPr>
        <p:spPr bwMode="auto">
          <a:xfrm>
            <a:off x="613811" y="539253"/>
            <a:ext cx="5129764" cy="5642342"/>
          </a:xfrm>
          <a:prstGeom prst="roundRect">
            <a:avLst>
              <a:gd name="adj" fmla="val 2764"/>
            </a:avLst>
          </a:prstGeom>
          <a:solidFill>
            <a:schemeClr val="accent1">
              <a:lumMod val="20000"/>
              <a:lumOff val="80000"/>
              <a:alpha val="12000"/>
            </a:schemeClr>
          </a:solidFill>
          <a:ln w="15875">
            <a:noFill/>
            <a:headEnd type="none" w="med" len="med"/>
            <a:tailEnd type="none" w="med" len="med"/>
          </a:ln>
          <a:effectLst>
            <a:outerShdw blurRad="279400" algn="ctr" rotWithShape="0">
              <a:schemeClr val="accent1">
                <a:lumMod val="50000"/>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Segoe UI" pitchFamily="34" charset="0"/>
              <a:cs typeface="Segoe UI" pitchFamily="34" charset="0"/>
            </a:endParaRPr>
          </a:p>
        </p:txBody>
      </p:sp>
      <p:sp>
        <p:nvSpPr>
          <p:cNvPr id="4" name="Picture Placeholder 56">
            <a:extLst>
              <a:ext uri="{FF2B5EF4-FFF2-40B4-BE49-F238E27FC236}">
                <a16:creationId xmlns:a16="http://schemas.microsoft.com/office/drawing/2014/main" id="{E9A60C29-70E4-48A8-1AD6-664797F8A49D}"/>
              </a:ext>
            </a:extLst>
          </p:cNvPr>
          <p:cNvSpPr>
            <a:spLocks noGrp="1"/>
          </p:cNvSpPr>
          <p:nvPr>
            <p:ph type="pic" sz="quarter" idx="16" hasCustomPrompt="1"/>
          </p:nvPr>
        </p:nvSpPr>
        <p:spPr>
          <a:xfrm>
            <a:off x="884739" y="654733"/>
            <a:ext cx="1007561" cy="1007561"/>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5" name="Rectangle: Rounded Corners 4">
            <a:extLst>
              <a:ext uri="{FF2B5EF4-FFF2-40B4-BE49-F238E27FC236}">
                <a16:creationId xmlns:a16="http://schemas.microsoft.com/office/drawing/2014/main" id="{35893444-D178-4644-717D-109F0DD21C94}"/>
              </a:ext>
            </a:extLst>
          </p:cNvPr>
          <p:cNvSpPr/>
          <p:nvPr userDrawn="1"/>
        </p:nvSpPr>
        <p:spPr bwMode="auto">
          <a:xfrm>
            <a:off x="501662" y="425311"/>
            <a:ext cx="11101485" cy="5848489"/>
          </a:xfrm>
          <a:prstGeom prst="roundRect">
            <a:avLst>
              <a:gd name="adj" fmla="val 3187"/>
            </a:avLst>
          </a:prstGeom>
          <a:noFill/>
          <a:ln w="6350">
            <a:gradFill flip="none" rotWithShape="1">
              <a:gsLst>
                <a:gs pos="0">
                  <a:srgbClr val="FF5C39"/>
                </a:gs>
                <a:gs pos="32000">
                  <a:srgbClr val="C03BC4"/>
                </a:gs>
                <a:gs pos="68000">
                  <a:srgbClr val="0078D4"/>
                </a:gs>
                <a:gs pos="100000">
                  <a:srgbClr val="399A91"/>
                </a:gs>
              </a:gsLst>
              <a:path path="circle">
                <a:fillToRect r="100000" b="100000"/>
              </a:path>
              <a:tileRect l="-100000" t="-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 name="Text Placeholder 61">
            <a:extLst>
              <a:ext uri="{FF2B5EF4-FFF2-40B4-BE49-F238E27FC236}">
                <a16:creationId xmlns:a16="http://schemas.microsoft.com/office/drawing/2014/main" id="{4172B0E9-6FE9-0DD5-1E51-93E86ED7A90F}"/>
              </a:ext>
            </a:extLst>
          </p:cNvPr>
          <p:cNvSpPr>
            <a:spLocks noGrp="1"/>
          </p:cNvSpPr>
          <p:nvPr>
            <p:ph type="body" sz="quarter" idx="10" hasCustomPrompt="1"/>
          </p:nvPr>
        </p:nvSpPr>
        <p:spPr>
          <a:xfrm>
            <a:off x="6096000" y="620645"/>
            <a:ext cx="5303520" cy="1645398"/>
          </a:xfrm>
        </p:spPr>
        <p:txBody>
          <a:bodyPr anchor="ctr">
            <a:noAutofit/>
          </a:bodyPr>
          <a:lstStyle>
            <a:lvl1pPr marL="0" indent="0">
              <a:spcBef>
                <a:spcPts val="0"/>
              </a:spcBef>
              <a:buNone/>
              <a:defRPr kumimoji="0" lang="en-US" sz="2000" b="0" i="0" u="none" strike="noStrike" kern="1200" cap="none" spc="0" normalizeH="0" baseline="0" dirty="0">
                <a:ln w="3175">
                  <a:noFill/>
                </a:ln>
                <a:solidFill>
                  <a:schemeClr val="tx1"/>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7" name="Text Placeholder 61">
            <a:extLst>
              <a:ext uri="{FF2B5EF4-FFF2-40B4-BE49-F238E27FC236}">
                <a16:creationId xmlns:a16="http://schemas.microsoft.com/office/drawing/2014/main" id="{80FEEA81-F148-6156-7F23-495D80BE68C3}"/>
              </a:ext>
            </a:extLst>
          </p:cNvPr>
          <p:cNvSpPr>
            <a:spLocks noGrp="1"/>
          </p:cNvSpPr>
          <p:nvPr>
            <p:ph type="body" sz="quarter" idx="11" hasCustomPrompt="1"/>
          </p:nvPr>
        </p:nvSpPr>
        <p:spPr>
          <a:xfrm>
            <a:off x="6096000" y="2529273"/>
            <a:ext cx="5303520" cy="1645398"/>
          </a:xfrm>
        </p:spPr>
        <p:txBody>
          <a:bodyPr anchor="ctr">
            <a:noAutofit/>
          </a:bodyPr>
          <a:lstStyle>
            <a:lvl1pPr marL="0" indent="0">
              <a:spcBef>
                <a:spcPts val="0"/>
              </a:spcBef>
              <a:buNone/>
              <a:defRPr kumimoji="0" lang="en-US" sz="2000" b="0" i="0" u="none" strike="noStrike" kern="1200" cap="none" spc="0" normalizeH="0" baseline="0" dirty="0">
                <a:ln w="3175">
                  <a:noFill/>
                </a:ln>
                <a:solidFill>
                  <a:schemeClr val="tx1"/>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8" name="Text Placeholder 61">
            <a:extLst>
              <a:ext uri="{FF2B5EF4-FFF2-40B4-BE49-F238E27FC236}">
                <a16:creationId xmlns:a16="http://schemas.microsoft.com/office/drawing/2014/main" id="{58EE2FA4-084E-E229-BFBD-11AEC5673726}"/>
              </a:ext>
            </a:extLst>
          </p:cNvPr>
          <p:cNvSpPr>
            <a:spLocks noGrp="1"/>
          </p:cNvSpPr>
          <p:nvPr>
            <p:ph type="body" sz="quarter" idx="12" hasCustomPrompt="1"/>
          </p:nvPr>
        </p:nvSpPr>
        <p:spPr>
          <a:xfrm>
            <a:off x="6096000" y="4437903"/>
            <a:ext cx="5303520" cy="1645398"/>
          </a:xfrm>
        </p:spPr>
        <p:txBody>
          <a:bodyPr anchor="ctr">
            <a:noAutofit/>
          </a:bodyPr>
          <a:lstStyle>
            <a:lvl1pPr marL="0" indent="0">
              <a:spcBef>
                <a:spcPts val="0"/>
              </a:spcBef>
              <a:buNone/>
              <a:defRPr kumimoji="0" lang="en-US" sz="2000" b="0" i="0" u="none" strike="noStrike" kern="1200" cap="none" spc="0" normalizeH="0" baseline="0" dirty="0">
                <a:ln w="3175">
                  <a:noFill/>
                </a:ln>
                <a:solidFill>
                  <a:schemeClr val="tx1"/>
                </a:solidFill>
                <a:effectLst/>
                <a:uLnTx/>
                <a:uFillTx/>
                <a:latin typeface="+mn-lt"/>
                <a:ea typeface="+mn-ea"/>
                <a:cs typeface="Segoe UI"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466236" rtl="0" eaLnBrk="1" fontAlgn="base" latinLnBrk="0" hangingPunct="1">
              <a:lnSpc>
                <a:spcPct val="100000"/>
              </a:lnSpc>
              <a:spcBef>
                <a:spcPts val="0"/>
              </a:spcBef>
              <a:spcAft>
                <a:spcPts val="0"/>
              </a:spcAft>
              <a:buClrTx/>
              <a:buSzTx/>
              <a:buFontTx/>
              <a:buNone/>
              <a:tabLst/>
              <a:defRPr/>
            </a:pPr>
            <a:r>
              <a:rPr lang="en-GB"/>
              <a:t>Add points here</a:t>
            </a:r>
            <a:endParaRPr lang="en-US"/>
          </a:p>
        </p:txBody>
      </p:sp>
      <p:sp>
        <p:nvSpPr>
          <p:cNvPr id="9" name="Text Placeholder 61">
            <a:extLst>
              <a:ext uri="{FF2B5EF4-FFF2-40B4-BE49-F238E27FC236}">
                <a16:creationId xmlns:a16="http://schemas.microsoft.com/office/drawing/2014/main" id="{1F924E61-E2BA-0B66-0881-3B025F2F1882}"/>
              </a:ext>
            </a:extLst>
          </p:cNvPr>
          <p:cNvSpPr>
            <a:spLocks noGrp="1"/>
          </p:cNvSpPr>
          <p:nvPr>
            <p:ph type="body" sz="quarter" idx="14" hasCustomPrompt="1"/>
          </p:nvPr>
        </p:nvSpPr>
        <p:spPr>
          <a:xfrm>
            <a:off x="884739" y="1905000"/>
            <a:ext cx="4616175" cy="4013200"/>
          </a:xfrm>
        </p:spPr>
        <p:txBody>
          <a:bodyPr anchor="t">
            <a:noAutofit/>
          </a:bodyPr>
          <a:lstStyle>
            <a:lvl1pPr marL="0" indent="0">
              <a:lnSpc>
                <a:spcPct val="100000"/>
              </a:lnSpc>
              <a:buNone/>
              <a:defRPr kumimoji="0" lang="en-US" sz="20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10" name="Text Placeholder 23">
            <a:extLst>
              <a:ext uri="{FF2B5EF4-FFF2-40B4-BE49-F238E27FC236}">
                <a16:creationId xmlns:a16="http://schemas.microsoft.com/office/drawing/2014/main" id="{73231D4B-E7DA-ABEC-7C60-D50BEEB10623}"/>
              </a:ext>
            </a:extLst>
          </p:cNvPr>
          <p:cNvSpPr>
            <a:spLocks noGrp="1"/>
          </p:cNvSpPr>
          <p:nvPr>
            <p:ph type="body" sz="quarter" idx="23" hasCustomPrompt="1"/>
          </p:nvPr>
        </p:nvSpPr>
        <p:spPr>
          <a:xfrm>
            <a:off x="528240" y="6460362"/>
            <a:ext cx="8106728" cy="138499"/>
          </a:xfrm>
        </p:spPr>
        <p:txBody>
          <a:bodyPr wrap="square" anchor="b">
            <a:spAutoFit/>
          </a:bodyPr>
          <a:lstStyle>
            <a:lvl1pPr marL="0" indent="0" algn="l">
              <a:buNone/>
              <a:defRPr sz="900">
                <a:solidFill>
                  <a:schemeClr val="bg1">
                    <a:lumMod val="50000"/>
                  </a:schemeClr>
                </a:solidFill>
                <a:latin typeface="+mn-lt"/>
              </a:defRPr>
            </a:lvl1pPr>
          </a:lstStyle>
          <a:p>
            <a:pPr lvl="0"/>
            <a:r>
              <a:rPr lang="en-GB"/>
              <a:t>Add text here</a:t>
            </a:r>
            <a:endParaRPr lang="en-US"/>
          </a:p>
        </p:txBody>
      </p:sp>
      <p:cxnSp>
        <p:nvCxnSpPr>
          <p:cNvPr id="11" name="Straight Connector 10">
            <a:extLst>
              <a:ext uri="{FF2B5EF4-FFF2-40B4-BE49-F238E27FC236}">
                <a16:creationId xmlns:a16="http://schemas.microsoft.com/office/drawing/2014/main" id="{46E5F2EA-15C9-BDAD-92EE-81CE16CA1A5A}"/>
              </a:ext>
            </a:extLst>
          </p:cNvPr>
          <p:cNvCxnSpPr>
            <a:cxnSpLocks/>
          </p:cNvCxnSpPr>
          <p:nvPr userDrawn="1"/>
        </p:nvCxnSpPr>
        <p:spPr>
          <a:xfrm>
            <a:off x="6096000" y="2397658"/>
            <a:ext cx="5303520" cy="0"/>
          </a:xfrm>
          <a:prstGeom prst="line">
            <a:avLst/>
          </a:prstGeom>
          <a:ln w="6350">
            <a:gradFill flip="none" rotWithShape="1">
              <a:gsLst>
                <a:gs pos="0">
                  <a:srgbClr val="FF5C39"/>
                </a:gs>
                <a:gs pos="32000">
                  <a:srgbClr val="C03BC4"/>
                </a:gs>
                <a:gs pos="68000">
                  <a:srgbClr val="0078D4"/>
                </a:gs>
                <a:gs pos="100000">
                  <a:srgbClr val="399A91"/>
                </a:gs>
              </a:gsLst>
              <a:path path="circle">
                <a:fillToRect t="100000" r="100000"/>
              </a:path>
              <a:tileRect l="-100000" b="-10000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FBC662B-9797-BF45-BD4E-D84EDDB7574C}"/>
              </a:ext>
            </a:extLst>
          </p:cNvPr>
          <p:cNvCxnSpPr>
            <a:cxnSpLocks/>
          </p:cNvCxnSpPr>
          <p:nvPr userDrawn="1"/>
        </p:nvCxnSpPr>
        <p:spPr>
          <a:xfrm>
            <a:off x="6096000" y="4306286"/>
            <a:ext cx="5303520" cy="0"/>
          </a:xfrm>
          <a:prstGeom prst="line">
            <a:avLst/>
          </a:prstGeom>
          <a:ln w="6350">
            <a:gradFill flip="none" rotWithShape="1">
              <a:gsLst>
                <a:gs pos="0">
                  <a:srgbClr val="FF5C39"/>
                </a:gs>
                <a:gs pos="32000">
                  <a:srgbClr val="C03BC4"/>
                </a:gs>
                <a:gs pos="68000">
                  <a:srgbClr val="0078D4"/>
                </a:gs>
                <a:gs pos="100000">
                  <a:srgbClr val="399A91"/>
                </a:gs>
              </a:gsLst>
              <a:path path="circle">
                <a:fillToRect t="100000" r="100000"/>
              </a:path>
              <a:tileRect l="-100000" b="-10000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665748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4061"/>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2"/>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2"/>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2"/>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7"/>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2"/>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9812782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2"/>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30"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8250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2"/>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8" y="4800602"/>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2"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86624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8" y="4800602"/>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2"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4"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8"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72450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43"/>
            <a:ext cx="11018520" cy="554061"/>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2"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6" y="4799409"/>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918963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17"/>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5"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5"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84119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1"/>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2"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2"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2"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2"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1"/>
            <a:ext cx="2313432" cy="553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35522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61"/>
            <a:ext cx="11018520" cy="554061"/>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11069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8" y="2309814"/>
            <a:ext cx="3182027" cy="554061"/>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4"/>
            <a:ext cx="7253288" cy="430901"/>
          </a:xfrm>
        </p:spPr>
        <p:txBody>
          <a:bodyPr anchor="t"/>
          <a:lstStyle>
            <a:lvl1pPr marL="231685" indent="-23168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5"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5201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5" y="3150384"/>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4"/>
            <a:ext cx="6667500" cy="430901"/>
          </a:xfrm>
        </p:spPr>
        <p:txBody>
          <a:bodyPr anchor="ctr"/>
          <a:lstStyle>
            <a:lvl1pPr marL="231685" indent="-23168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902039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ustomer story - media">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4FB4F104-4F56-1C72-6B4B-6003D87CCAA1}"/>
              </a:ext>
            </a:extLst>
          </p:cNvPr>
          <p:cNvSpPr/>
          <p:nvPr userDrawn="1"/>
        </p:nvSpPr>
        <p:spPr bwMode="auto">
          <a:xfrm>
            <a:off x="613811" y="539253"/>
            <a:ext cx="5129764" cy="5642342"/>
          </a:xfrm>
          <a:prstGeom prst="roundRect">
            <a:avLst>
              <a:gd name="adj" fmla="val 2764"/>
            </a:avLst>
          </a:prstGeom>
          <a:solidFill>
            <a:schemeClr val="accent1">
              <a:lumMod val="20000"/>
              <a:lumOff val="80000"/>
              <a:alpha val="12000"/>
            </a:schemeClr>
          </a:solidFill>
          <a:ln w="15875">
            <a:noFill/>
            <a:headEnd type="none" w="med" len="med"/>
            <a:tailEnd type="none" w="med" len="med"/>
          </a:ln>
          <a:effectLst>
            <a:outerShdw blurRad="2794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Segoe UI" pitchFamily="34" charset="0"/>
              <a:cs typeface="Segoe UI" pitchFamily="34" charset="0"/>
            </a:endParaRPr>
          </a:p>
        </p:txBody>
      </p:sp>
      <p:sp>
        <p:nvSpPr>
          <p:cNvPr id="4" name="Picture Placeholder 56">
            <a:extLst>
              <a:ext uri="{FF2B5EF4-FFF2-40B4-BE49-F238E27FC236}">
                <a16:creationId xmlns:a16="http://schemas.microsoft.com/office/drawing/2014/main" id="{27C0FE8D-305C-E013-B424-6281F312CC67}"/>
              </a:ext>
            </a:extLst>
          </p:cNvPr>
          <p:cNvSpPr>
            <a:spLocks noGrp="1"/>
          </p:cNvSpPr>
          <p:nvPr>
            <p:ph type="pic" sz="quarter" idx="16" hasCustomPrompt="1"/>
          </p:nvPr>
        </p:nvSpPr>
        <p:spPr>
          <a:xfrm>
            <a:off x="884739" y="654733"/>
            <a:ext cx="1007561" cy="1007561"/>
          </a:xfrm>
          <a:prstGeom prst="rect">
            <a:avLst/>
          </a:prstGeom>
        </p:spPr>
        <p:txBody>
          <a:bodyPr anchor="ctr">
            <a:noAutofit/>
          </a:bodyPr>
          <a:lstStyle>
            <a:lvl1pPr marL="0" indent="0" algn="ctr">
              <a:buNone/>
              <a:defRPr sz="1200">
                <a:latin typeface="+mj-lt"/>
              </a:defRPr>
            </a:lvl1pPr>
          </a:lstStyle>
          <a:p>
            <a:r>
              <a:rPr lang="en-US"/>
              <a:t>Customer Logo</a:t>
            </a:r>
          </a:p>
        </p:txBody>
      </p:sp>
      <p:sp>
        <p:nvSpPr>
          <p:cNvPr id="5" name="Rectangle: Rounded Corners 4">
            <a:extLst>
              <a:ext uri="{FF2B5EF4-FFF2-40B4-BE49-F238E27FC236}">
                <a16:creationId xmlns:a16="http://schemas.microsoft.com/office/drawing/2014/main" id="{3C24262A-4B23-F365-A6E1-DFDEF065BC16}"/>
              </a:ext>
            </a:extLst>
          </p:cNvPr>
          <p:cNvSpPr/>
          <p:nvPr userDrawn="1"/>
        </p:nvSpPr>
        <p:spPr bwMode="auto">
          <a:xfrm>
            <a:off x="501662" y="425311"/>
            <a:ext cx="11101485" cy="5848489"/>
          </a:xfrm>
          <a:prstGeom prst="roundRect">
            <a:avLst>
              <a:gd name="adj" fmla="val 3187"/>
            </a:avLst>
          </a:prstGeom>
          <a:noFill/>
          <a:ln w="6350">
            <a:gradFill flip="none" rotWithShape="1">
              <a:gsLst>
                <a:gs pos="0">
                  <a:srgbClr val="FF5C39"/>
                </a:gs>
                <a:gs pos="32000">
                  <a:srgbClr val="C03BC4"/>
                </a:gs>
                <a:gs pos="68000">
                  <a:srgbClr val="0078D4"/>
                </a:gs>
                <a:gs pos="100000">
                  <a:srgbClr val="399A91"/>
                </a:gs>
              </a:gsLst>
              <a:path path="circle">
                <a:fillToRect r="100000" b="100000"/>
              </a:path>
              <a:tileRect l="-100000" t="-10000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9" name="Text Placeholder 61">
            <a:extLst>
              <a:ext uri="{FF2B5EF4-FFF2-40B4-BE49-F238E27FC236}">
                <a16:creationId xmlns:a16="http://schemas.microsoft.com/office/drawing/2014/main" id="{7BA21467-C364-F7C8-78AF-BFCDD4CE7082}"/>
              </a:ext>
            </a:extLst>
          </p:cNvPr>
          <p:cNvSpPr>
            <a:spLocks noGrp="1"/>
          </p:cNvSpPr>
          <p:nvPr>
            <p:ph type="body" sz="quarter" idx="14" hasCustomPrompt="1"/>
          </p:nvPr>
        </p:nvSpPr>
        <p:spPr>
          <a:xfrm>
            <a:off x="884739" y="1905000"/>
            <a:ext cx="4616175" cy="4013200"/>
          </a:xfrm>
        </p:spPr>
        <p:txBody>
          <a:bodyPr anchor="t">
            <a:noAutofit/>
          </a:bodyPr>
          <a:lstStyle>
            <a:lvl1pPr marL="0" indent="0">
              <a:lnSpc>
                <a:spcPct val="100000"/>
              </a:lnSpc>
              <a:buNone/>
              <a:defRPr kumimoji="0" lang="en-US" sz="2000" b="0" i="0" u="none" strike="noStrike" kern="1200" cap="none" spc="0" normalizeH="0" baseline="0" dirty="0">
                <a:ln>
                  <a:noFill/>
                </a:ln>
                <a:solidFill>
                  <a:schemeClr val="tx1"/>
                </a:solidFill>
                <a:effectLst/>
                <a:uLnTx/>
                <a:uFillTx/>
                <a:latin typeface="Segoe UI Semibold"/>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GB"/>
              <a:t>Add description here</a:t>
            </a:r>
            <a:endParaRPr lang="en-US"/>
          </a:p>
        </p:txBody>
      </p:sp>
      <p:sp>
        <p:nvSpPr>
          <p:cNvPr id="10" name="Text Placeholder 23">
            <a:extLst>
              <a:ext uri="{FF2B5EF4-FFF2-40B4-BE49-F238E27FC236}">
                <a16:creationId xmlns:a16="http://schemas.microsoft.com/office/drawing/2014/main" id="{66B985D3-2063-EA15-71E7-16F224B2FA50}"/>
              </a:ext>
            </a:extLst>
          </p:cNvPr>
          <p:cNvSpPr>
            <a:spLocks noGrp="1"/>
          </p:cNvSpPr>
          <p:nvPr>
            <p:ph type="body" sz="quarter" idx="23" hasCustomPrompt="1"/>
          </p:nvPr>
        </p:nvSpPr>
        <p:spPr>
          <a:xfrm>
            <a:off x="528240" y="6460362"/>
            <a:ext cx="8106728" cy="138499"/>
          </a:xfrm>
        </p:spPr>
        <p:txBody>
          <a:bodyPr wrap="square" anchor="b">
            <a:spAutoFit/>
          </a:bodyPr>
          <a:lstStyle>
            <a:lvl1pPr marL="0" indent="0" algn="l">
              <a:buNone/>
              <a:defRPr sz="900">
                <a:solidFill>
                  <a:schemeClr val="tx1"/>
                </a:solidFill>
                <a:latin typeface="+mn-lt"/>
              </a:defRPr>
            </a:lvl1pPr>
          </a:lstStyle>
          <a:p>
            <a:pPr lvl="0"/>
            <a:r>
              <a:rPr lang="en-GB"/>
              <a:t>Add text here</a:t>
            </a:r>
            <a:endParaRPr lang="en-US"/>
          </a:p>
        </p:txBody>
      </p:sp>
      <p:sp>
        <p:nvSpPr>
          <p:cNvPr id="16" name="Picture Placeholder 15">
            <a:extLst>
              <a:ext uri="{FF2B5EF4-FFF2-40B4-BE49-F238E27FC236}">
                <a16:creationId xmlns:a16="http://schemas.microsoft.com/office/drawing/2014/main" id="{305E87A4-AEBE-DC11-8E82-1732D10A4090}"/>
              </a:ext>
            </a:extLst>
          </p:cNvPr>
          <p:cNvSpPr>
            <a:spLocks noGrp="1"/>
          </p:cNvSpPr>
          <p:nvPr>
            <p:ph type="pic" sz="quarter" idx="24" hasCustomPrompt="1"/>
          </p:nvPr>
        </p:nvSpPr>
        <p:spPr>
          <a:xfrm>
            <a:off x="6201861" y="812804"/>
            <a:ext cx="4953000" cy="5059676"/>
          </a:xfrm>
        </p:spPr>
        <p:txBody>
          <a:bodyPr/>
          <a:lstStyle>
            <a:lvl1pPr marL="0" indent="0">
              <a:buNone/>
              <a:defRPr/>
            </a:lvl1pPr>
          </a:lstStyle>
          <a:p>
            <a:r>
              <a:rPr lang="en-US"/>
              <a:t>Insert media</a:t>
            </a:r>
          </a:p>
        </p:txBody>
      </p:sp>
    </p:spTree>
    <p:extLst>
      <p:ext uri="{BB962C8B-B14F-4D97-AF65-F5344CB8AC3E}">
        <p14:creationId xmlns:p14="http://schemas.microsoft.com/office/powerpoint/2010/main" val="294567100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19" indent="0">
              <a:buNone/>
              <a:tabLst>
                <a:tab pos="344356" algn="l"/>
              </a:tabLst>
              <a:defRPr sz="2400">
                <a:solidFill>
                  <a:schemeClr val="tx1"/>
                </a:solidFill>
                <a:latin typeface="Consolas" panose="020B0609020204030204" pitchFamily="49" charset="0"/>
                <a:cs typeface="Consolas" panose="020B0609020204030204" pitchFamily="49" charset="0"/>
              </a:defRPr>
            </a:lvl2pPr>
            <a:lvl3pPr marL="584382" indent="0">
              <a:buNone/>
              <a:tabLst>
                <a:tab pos="569694" algn="l"/>
              </a:tabLst>
              <a:defRPr sz="2400">
                <a:solidFill>
                  <a:schemeClr val="tx1"/>
                </a:solidFill>
                <a:latin typeface="Consolas" panose="020B0609020204030204" pitchFamily="49" charset="0"/>
                <a:cs typeface="Consolas" panose="020B0609020204030204" pitchFamily="49" charset="0"/>
              </a:defRPr>
            </a:lvl3pPr>
            <a:lvl4pPr marL="814251" indent="0">
              <a:buNone/>
              <a:tabLst>
                <a:tab pos="799792" algn="l"/>
              </a:tabLst>
              <a:defRPr sz="2400">
                <a:solidFill>
                  <a:schemeClr val="tx1"/>
                </a:solidFill>
                <a:latin typeface="Consolas" panose="020B0609020204030204" pitchFamily="49" charset="0"/>
                <a:cs typeface="Consolas" panose="020B0609020204030204" pitchFamily="49" charset="0"/>
              </a:defRPr>
            </a:lvl4pPr>
            <a:lvl5pPr marL="1050593" indent="0">
              <a:buNone/>
              <a:tabLst>
                <a:tab pos="1028304"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69553494"/>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43" indent="0">
              <a:buNone/>
              <a:defRPr sz="240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2934459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443" indent="0">
              <a:buNone/>
              <a:defRPr sz="240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Tree>
    <p:extLst>
      <p:ext uri="{BB962C8B-B14F-4D97-AF65-F5344CB8AC3E}">
        <p14:creationId xmlns:p14="http://schemas.microsoft.com/office/powerpoint/2010/main" val="29001273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5"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7"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2"/>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919852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l" defTabSz="932114"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1"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2"/>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1"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315"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208"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00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280"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6888" indent="0">
              <a:buNone/>
              <a:defRPr/>
            </a:lvl3pPr>
            <a:lvl4pPr marL="685331" indent="0">
              <a:buNone/>
              <a:defRPr/>
            </a:lvl4pPr>
            <a:lvl5pPr marL="913775" indent="0">
              <a:buNone/>
              <a:defRPr/>
            </a:lvl5pPr>
          </a:lstStyle>
          <a:p>
            <a:pPr lvl="0"/>
            <a:r>
              <a:rPr lang="en-US"/>
              <a:t>Click to edit text</a:t>
            </a:r>
          </a:p>
        </p:txBody>
      </p:sp>
    </p:spTree>
    <p:extLst>
      <p:ext uri="{BB962C8B-B14F-4D97-AF65-F5344CB8AC3E}">
        <p14:creationId xmlns:p14="http://schemas.microsoft.com/office/powerpoint/2010/main" val="32185107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emo slide">
    <p:bg>
      <p:bgPr>
        <a:solidFill>
          <a:srgbClr val="2A446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1F64A13-1480-A771-C5E0-989748C7DB46}"/>
              </a:ext>
            </a:extLst>
          </p:cNvPr>
          <p:cNvPicPr>
            <a:picLocks noChangeAspect="1"/>
          </p:cNvPicPr>
          <p:nvPr userDrawn="1"/>
        </p:nvPicPr>
        <p:blipFill>
          <a:blip r:embed="rId2"/>
          <a:srcRect/>
          <a:stretch/>
        </p:blipFill>
        <p:spPr>
          <a:xfrm>
            <a:off x="8449366" y="688"/>
            <a:ext cx="3742634" cy="6856622"/>
          </a:xfrm>
          <a:prstGeom prst="rect">
            <a:avLst/>
          </a:prstGeom>
        </p:spPr>
      </p:pic>
      <p:sp>
        <p:nvSpPr>
          <p:cNvPr id="2" name="Title 1"/>
          <p:cNvSpPr>
            <a:spLocks noGrp="1"/>
          </p:cNvSpPr>
          <p:nvPr>
            <p:ph type="title" hasCustomPrompt="1"/>
          </p:nvPr>
        </p:nvSpPr>
        <p:spPr>
          <a:xfrm>
            <a:off x="585216" y="2977825"/>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63904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5"/>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9234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Demo slide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5"/>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accent3"/>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1"/>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119717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p:bg>
      <p:bgPr>
        <a:solidFill>
          <a:srgbClr val="2A446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0D0199-9B4A-EF92-5063-6750098BCE42}"/>
              </a:ext>
            </a:extLst>
          </p:cNvPr>
          <p:cNvPicPr>
            <a:picLocks noChangeAspect="1"/>
          </p:cNvPicPr>
          <p:nvPr userDrawn="1"/>
        </p:nvPicPr>
        <p:blipFill>
          <a:blip r:embed="rId2"/>
          <a:srcRect/>
          <a:stretch/>
        </p:blipFill>
        <p:spPr>
          <a:xfrm>
            <a:off x="9700719" y="0"/>
            <a:ext cx="2490825" cy="6858000"/>
          </a:xfrm>
          <a:prstGeom prst="rect">
            <a:avLst/>
          </a:prstGeom>
        </p:spPr>
      </p:pic>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769854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6759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1D9808C-77FE-0E0C-A94E-709182B8CBA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3199" y="567"/>
            <a:ext cx="12178801" cy="6857433"/>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bg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523900"/>
            <a:ext cx="9144000" cy="246221"/>
          </a:xfrm>
          <a:noFill/>
        </p:spPr>
        <p:txBody>
          <a:bodyPr wrap="square" lIns="0" tIns="0" rIns="0" bIns="0">
            <a:spAutoFit/>
          </a:bodyPr>
          <a:lstStyle>
            <a:lvl1pPr marL="0" indent="0">
              <a:spcBef>
                <a:spcPts val="0"/>
              </a:spcBef>
              <a:buNone/>
              <a:defRPr sz="1600" spc="0" baseline="0">
                <a:solidFill>
                  <a:schemeClr val="bg1"/>
                </a:solidFill>
                <a:latin typeface="+mn-lt"/>
                <a:cs typeface="Segoe Sans Display" pitchFamily="2"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EAA4B210-A469-AC68-4C5E-6906D024EED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13" name="Text Placeholder 4">
            <a:extLst>
              <a:ext uri="{FF2B5EF4-FFF2-40B4-BE49-F238E27FC236}">
                <a16:creationId xmlns:a16="http://schemas.microsoft.com/office/drawing/2014/main" id="{661610B6-1369-0338-9421-45B991DEC714}"/>
              </a:ext>
            </a:extLst>
          </p:cNvPr>
          <p:cNvSpPr>
            <a:spLocks noGrp="1"/>
          </p:cNvSpPr>
          <p:nvPr>
            <p:ph type="body" sz="quarter" idx="14" hasCustomPrompt="1"/>
          </p:nvPr>
        </p:nvSpPr>
        <p:spPr>
          <a:xfrm>
            <a:off x="584200" y="3994532"/>
            <a:ext cx="9144000" cy="369332"/>
          </a:xfrm>
          <a:noFill/>
        </p:spPr>
        <p:txBody>
          <a:bodyPr wrap="square" lIns="0" tIns="0" rIns="0" bIns="0">
            <a:spAutoFit/>
          </a:bodyPr>
          <a:lstStyle>
            <a:lvl1pPr marL="0" marR="0" indent="0" algn="l" defTabSz="932742" rtl="0" eaLnBrk="1" fontAlgn="auto" latinLnBrk="0" hangingPunct="1">
              <a:lnSpc>
                <a:spcPct val="100000"/>
              </a:lnSpc>
              <a:spcBef>
                <a:spcPct val="0"/>
              </a:spcBef>
              <a:spcAft>
                <a:spcPts val="1200"/>
              </a:spcAft>
              <a:buClrTx/>
              <a:buSzTx/>
              <a:buFont typeface="Wingdings" panose="05000000000000000000" pitchFamily="2" charset="2"/>
              <a:buNone/>
              <a:tabLst/>
              <a:defRPr lang="en-US" sz="2400" b="0" kern="1200" cap="none" spc="0" baseline="0" dirty="0">
                <a:ln w="3175">
                  <a:noFill/>
                </a:ln>
                <a:gradFill flip="none" rotWithShape="1">
                  <a:gsLst>
                    <a:gs pos="12000">
                      <a:srgbClr val="D59ED7"/>
                    </a:gs>
                    <a:gs pos="86000">
                      <a:srgbClr val="8DC8E8"/>
                    </a:gs>
                  </a:gsLst>
                  <a:lin ang="10800000" scaled="1"/>
                  <a:tileRect/>
                </a:gradFill>
                <a:effectLst/>
                <a:latin typeface="+mj-lt"/>
                <a:ea typeface="+mj-ea"/>
                <a:cs typeface="+mj-cs"/>
              </a:defRPr>
            </a:lvl1pPr>
          </a:lstStyle>
          <a:p>
            <a:pPr lvl="0"/>
            <a:r>
              <a:rPr lang="en-US"/>
              <a:t>Subtitle text</a:t>
            </a:r>
          </a:p>
        </p:txBody>
      </p:sp>
    </p:spTree>
    <p:extLst>
      <p:ext uri="{BB962C8B-B14F-4D97-AF65-F5344CB8AC3E}">
        <p14:creationId xmlns:p14="http://schemas.microsoft.com/office/powerpoint/2010/main" val="1124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384" rtl="0" eaLnBrk="1" latinLnBrk="0" hangingPunct="1">
              <a:lnSpc>
                <a:spcPct val="90000"/>
              </a:lnSpc>
              <a:spcBef>
                <a:spcPct val="0"/>
              </a:spcBef>
              <a:buNone/>
              <a:defRPr lang="en-US" sz="4000" b="0" kern="1200" cap="none" spc="-50" baseline="0" dirty="0">
                <a:ln w="3175">
                  <a:noFill/>
                </a:ln>
                <a:solidFill>
                  <a:schemeClr val="accent3">
                    <a:lumMod val="75000"/>
                  </a:schemeClr>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9219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60170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Blan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89460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47278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932"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306145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5547606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4884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1133149"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4608165"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8132773"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1133149" y="3685097"/>
            <a:ext cx="292608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4608165"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8132773"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1AAE0BAC-B8C3-3884-BC3D-55E0EFAA76E4}"/>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1814684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nk_with Hea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36ABC-5472-BB4C-ED17-6DA67A219C94}"/>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44456551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17BEEB6-0F37-4C30-8480-ECB28CC243D1}" type="datetimeFigureOut">
              <a:rPr lang="en-US" smtClean="0"/>
              <a:t>4/15/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8552D5-56AA-47BE-84F5-4BD49B8AF330}" type="slidenum">
              <a:rPr lang="en-US" smtClean="0"/>
              <a:t>‹#›</a:t>
            </a:fld>
            <a:endParaRPr lang="en-US"/>
          </a:p>
        </p:txBody>
      </p:sp>
    </p:spTree>
    <p:extLst>
      <p:ext uri="{BB962C8B-B14F-4D97-AF65-F5344CB8AC3E}">
        <p14:creationId xmlns:p14="http://schemas.microsoft.com/office/powerpoint/2010/main" val="4180269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4532444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28230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938824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E8937-081E-4F89-A6B4-662049ED496D}"/>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2C62D6DD-A30E-41D7-A888-BD96CC348F05}"/>
              </a:ext>
              <a:ext uri="{C183D7F6-B498-43B3-948B-1728B52AA6E4}">
                <adec:decorative xmlns:adec="http://schemas.microsoft.com/office/drawing/2017/decorative" val="1"/>
              </a:ext>
            </a:extLst>
          </p:cNvPr>
          <p:cNvSpPr/>
          <p:nvPr userDrawn="1"/>
        </p:nvSpPr>
        <p:spPr>
          <a:xfrm>
            <a:off x="4815840" y="1257534"/>
            <a:ext cx="2560320"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7" name="Rectangle 6">
            <a:extLst>
              <a:ext uri="{FF2B5EF4-FFF2-40B4-BE49-F238E27FC236}">
                <a16:creationId xmlns:a16="http://schemas.microsoft.com/office/drawing/2014/main" id="{476BCC34-76A8-4599-9137-B0D14186D570}"/>
              </a:ext>
              <a:ext uri="{C183D7F6-B498-43B3-948B-1728B52AA6E4}">
                <adec:decorative xmlns:adec="http://schemas.microsoft.com/office/drawing/2017/decorative" val="1"/>
              </a:ext>
            </a:extLst>
          </p:cNvPr>
          <p:cNvSpPr/>
          <p:nvPr userDrawn="1"/>
        </p:nvSpPr>
        <p:spPr>
          <a:xfrm>
            <a:off x="1705982" y="1294047"/>
            <a:ext cx="2560320"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8" name="Rectangle 7">
            <a:extLst>
              <a:ext uri="{FF2B5EF4-FFF2-40B4-BE49-F238E27FC236}">
                <a16:creationId xmlns:a16="http://schemas.microsoft.com/office/drawing/2014/main" id="{3CBB8AC0-0EEB-4014-8C28-DF0E65975732}"/>
              </a:ext>
              <a:ext uri="{C183D7F6-B498-43B3-948B-1728B52AA6E4}">
                <adec:decorative xmlns:adec="http://schemas.microsoft.com/office/drawing/2017/decorative" val="1"/>
              </a:ext>
            </a:extLst>
          </p:cNvPr>
          <p:cNvSpPr/>
          <p:nvPr userDrawn="1"/>
        </p:nvSpPr>
        <p:spPr>
          <a:xfrm>
            <a:off x="7978140" y="1296629"/>
            <a:ext cx="2560320" cy="3175521"/>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32472" fontAlgn="base">
              <a:spcBef>
                <a:spcPct val="0"/>
              </a:spcBef>
              <a:spcAft>
                <a:spcPct val="0"/>
              </a:spcAft>
            </a:pPr>
            <a:endParaRPr lang="en-US" sz="2000" noProof="0">
              <a:solidFill>
                <a:schemeClr val="accent1">
                  <a:lumMod val="60000"/>
                  <a:lumOff val="40000"/>
                </a:schemeClr>
              </a:solidFill>
              <a:cs typeface="Segoe UI" pitchFamily="34" charset="0"/>
            </a:endParaRPr>
          </a:p>
        </p:txBody>
      </p:sp>
      <p:sp>
        <p:nvSpPr>
          <p:cNvPr id="12" name="Text Placeholder 3">
            <a:extLst>
              <a:ext uri="{FF2B5EF4-FFF2-40B4-BE49-F238E27FC236}">
                <a16:creationId xmlns:a16="http://schemas.microsoft.com/office/drawing/2014/main" id="{CFF3042A-522F-4C25-8B66-C0EB7FED3989}"/>
              </a:ext>
            </a:extLst>
          </p:cNvPr>
          <p:cNvSpPr>
            <a:spLocks noGrp="1"/>
          </p:cNvSpPr>
          <p:nvPr>
            <p:ph type="body" sz="quarter" idx="17"/>
          </p:nvPr>
        </p:nvSpPr>
        <p:spPr>
          <a:xfrm>
            <a:off x="4998720" y="3544904"/>
            <a:ext cx="2194560"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3" name="Text Placeholder 3">
            <a:extLst>
              <a:ext uri="{FF2B5EF4-FFF2-40B4-BE49-F238E27FC236}">
                <a16:creationId xmlns:a16="http://schemas.microsoft.com/office/drawing/2014/main" id="{6611A15A-0519-4A60-90A1-E95F5CF60D96}"/>
              </a:ext>
            </a:extLst>
          </p:cNvPr>
          <p:cNvSpPr>
            <a:spLocks noGrp="1"/>
          </p:cNvSpPr>
          <p:nvPr>
            <p:ph type="body" sz="quarter" idx="18"/>
          </p:nvPr>
        </p:nvSpPr>
        <p:spPr>
          <a:xfrm>
            <a:off x="8161020" y="3544904"/>
            <a:ext cx="2194560" cy="615553"/>
          </a:xfrm>
        </p:spPr>
        <p:txBody>
          <a:bodyPr/>
          <a:lstStyle>
            <a:lvl1pPr marL="0" marR="0" indent="0" algn="ctr"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marL="0" indent="0" algn="ctr">
              <a:spcBef>
                <a:spcPts val="0"/>
              </a:spcBef>
              <a:spcAft>
                <a:spcPts val="600"/>
              </a:spcAft>
              <a:buNone/>
              <a:defRPr sz="1400" b="0">
                <a:solidFill>
                  <a:schemeClr val="tx1"/>
                </a:solidFill>
              </a:defRPr>
            </a:lvl2pPr>
            <a:lvl3pPr marL="0" indent="0" algn="ctr">
              <a:spcBef>
                <a:spcPts val="0"/>
              </a:spcBef>
              <a:spcAft>
                <a:spcPts val="600"/>
              </a:spcAft>
              <a:buNone/>
              <a:defRPr sz="1400" b="1">
                <a:solidFill>
                  <a:schemeClr val="tx1"/>
                </a:solidFill>
              </a:defRPr>
            </a:lvl3pPr>
            <a:lvl4pPr marL="0" indent="0" algn="ctr">
              <a:spcBef>
                <a:spcPts val="0"/>
              </a:spcBef>
              <a:spcAft>
                <a:spcPts val="600"/>
              </a:spcAft>
              <a:buNone/>
              <a:defRPr sz="1400" b="0">
                <a:solidFill>
                  <a:schemeClr val="tx1"/>
                </a:solidFill>
              </a:defRPr>
            </a:lvl4pPr>
            <a:lvl5pPr marL="0" indent="0" algn="ctr">
              <a:spcBef>
                <a:spcPts val="0"/>
              </a:spcBef>
              <a:spcAft>
                <a:spcPts val="600"/>
              </a:spcAft>
              <a:buNone/>
              <a:defRPr sz="1400" b="0">
                <a:solidFill>
                  <a:schemeClr val="tx1"/>
                </a:solidFill>
              </a:defRPr>
            </a:lvl5pPr>
          </a:lstStyle>
          <a:p>
            <a:pPr lvl="0"/>
            <a:r>
              <a:rPr lang="en-US"/>
              <a:t>Click to edit Master</a:t>
            </a:r>
          </a:p>
        </p:txBody>
      </p:sp>
      <p:sp>
        <p:nvSpPr>
          <p:cNvPr id="17" name="Text Placeholder 16">
            <a:extLst>
              <a:ext uri="{FF2B5EF4-FFF2-40B4-BE49-F238E27FC236}">
                <a16:creationId xmlns:a16="http://schemas.microsoft.com/office/drawing/2014/main" id="{411AD21C-81F9-4999-B2C4-D518EF263794}"/>
              </a:ext>
            </a:extLst>
          </p:cNvPr>
          <p:cNvSpPr>
            <a:spLocks noGrp="1"/>
          </p:cNvSpPr>
          <p:nvPr>
            <p:ph type="body" sz="quarter" idx="20"/>
          </p:nvPr>
        </p:nvSpPr>
        <p:spPr>
          <a:xfrm>
            <a:off x="1888862" y="3544904"/>
            <a:ext cx="2194560" cy="615553"/>
          </a:xfrm>
        </p:spPr>
        <p:txBody>
          <a:bodyPr/>
          <a:lstStyle>
            <a:lvl1pPr algn="ctr">
              <a:defRPr lang="en-US" sz="2000" b="1" kern="1200" spc="0" baseline="0" dirty="0">
                <a:solidFill>
                  <a:schemeClr val="accent1">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20451826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48">
          <p15:clr>
            <a:srgbClr val="5ACBF0"/>
          </p15:clr>
        </p15:guide>
        <p15:guide id="30" orient="horz" pos="288">
          <p15:clr>
            <a:srgbClr val="5ACBF0"/>
          </p15:clr>
        </p15:guide>
        <p15:guide id="31" orient="horz" pos="2160">
          <p15:clr>
            <a:srgbClr val="FBAE40"/>
          </p15:clr>
        </p15:guide>
        <p15:guide id="32" pos="3840">
          <p15:clr>
            <a:srgbClr val="FBAE40"/>
          </p15:clr>
        </p15:guide>
        <p15:guide id="33">
          <p15:clr>
            <a:srgbClr val="FBAE40"/>
          </p15:clr>
        </p15:guide>
        <p15:guide id="35" pos="1392">
          <p15:clr>
            <a:srgbClr val="FBAE40"/>
          </p15:clr>
        </p15:guide>
        <p15:guide id="36" pos="627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Title_Gradient_Warm Gray">
    <p:bg>
      <p:bgPr>
        <a:solidFill>
          <a:schemeClr val="bg1"/>
        </a:solidFill>
        <a:effectLst/>
      </p:bgPr>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8" name="Title 1">
            <a:extLst>
              <a:ext uri="{FF2B5EF4-FFF2-40B4-BE49-F238E27FC236}">
                <a16:creationId xmlns:a16="http://schemas.microsoft.com/office/drawing/2014/main" id="{FEDF3DE4-8628-A0E3-0518-AA5354E77E18}"/>
              </a:ext>
            </a:extLst>
          </p:cNvPr>
          <p:cNvSpPr>
            <a:spLocks noGrp="1"/>
          </p:cNvSpPr>
          <p:nvPr>
            <p:ph type="title" hasCustomPrompt="1"/>
          </p:nvPr>
        </p:nvSpPr>
        <p:spPr>
          <a:xfrm>
            <a:off x="569912" y="2769057"/>
            <a:ext cx="6980419"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6"/>
            <a:ext cx="7234822" cy="276999"/>
          </a:xfrm>
          <a:prstGeom prst="rect">
            <a:avLst/>
          </a:prstGeom>
          <a:noFill/>
        </p:spPr>
        <p:txBody>
          <a:bodyPr wrap="square" lIns="0" tIns="0" rIns="0" bIns="0">
            <a:spAutoFit/>
          </a:bodyPr>
          <a:lstStyle>
            <a:lvl1pPr marL="0" indent="0">
              <a:spcBef>
                <a:spcPts val="0"/>
              </a:spcBef>
              <a:buNone/>
              <a:defRPr sz="1800" spc="0" baseline="0">
                <a:solidFill>
                  <a:srgbClr val="0078D4"/>
                </a:solidFill>
                <a:latin typeface="+mn-lt"/>
                <a:cs typeface="Segoe UI" panose="020B0502040204020203" pitchFamily="34" charset="0"/>
              </a:defRPr>
            </a:lvl1pPr>
          </a:lstStyle>
          <a:p>
            <a:pPr lvl="0"/>
            <a:r>
              <a:rPr lang="en-US"/>
              <a:t>Speaker name or subtitle</a:t>
            </a:r>
          </a:p>
        </p:txBody>
      </p:sp>
      <p:sp>
        <p:nvSpPr>
          <p:cNvPr id="4" name="Text Placeholder 4">
            <a:extLst>
              <a:ext uri="{FF2B5EF4-FFF2-40B4-BE49-F238E27FC236}">
                <a16:creationId xmlns:a16="http://schemas.microsoft.com/office/drawing/2014/main" id="{9F62B460-7838-D919-2107-2AE2DB807FF1}"/>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pic>
        <p:nvPicPr>
          <p:cNvPr id="110" name="Picture 109">
            <a:extLst>
              <a:ext uri="{FF2B5EF4-FFF2-40B4-BE49-F238E27FC236}">
                <a16:creationId xmlns:a16="http://schemas.microsoft.com/office/drawing/2014/main" id="{792F181D-8C09-275C-8361-CECB83F7EFEC}"/>
              </a:ext>
            </a:extLst>
          </p:cNvPr>
          <p:cNvPicPr>
            <a:picLocks noChangeAspect="1"/>
          </p:cNvPicPr>
          <p:nvPr userDrawn="1"/>
        </p:nvPicPr>
        <p:blipFill>
          <a:blip r:embed="rId3"/>
          <a:stretch>
            <a:fillRect/>
          </a:stretch>
        </p:blipFill>
        <p:spPr>
          <a:xfrm>
            <a:off x="7995402" y="2454880"/>
            <a:ext cx="2700104" cy="2781678"/>
          </a:xfrm>
          <a:prstGeom prst="rect">
            <a:avLst/>
          </a:prstGeom>
        </p:spPr>
      </p:pic>
    </p:spTree>
    <p:extLst>
      <p:ext uri="{BB962C8B-B14F-4D97-AF65-F5344CB8AC3E}">
        <p14:creationId xmlns:p14="http://schemas.microsoft.com/office/powerpoint/2010/main" val="2447175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_divider_blue">
    <p:bg>
      <p:bgPr>
        <a:solidFill>
          <a:schemeClr val="bg1"/>
        </a:solidFill>
        <a:effectLst/>
      </p:bgPr>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8" name="Title 1">
            <a:extLst>
              <a:ext uri="{FF2B5EF4-FFF2-40B4-BE49-F238E27FC236}">
                <a16:creationId xmlns:a16="http://schemas.microsoft.com/office/drawing/2014/main" id="{FEDF3DE4-8628-A0E3-0518-AA5354E77E18}"/>
              </a:ext>
            </a:extLst>
          </p:cNvPr>
          <p:cNvSpPr>
            <a:spLocks noGrp="1"/>
          </p:cNvSpPr>
          <p:nvPr>
            <p:ph type="title" hasCustomPrompt="1"/>
          </p:nvPr>
        </p:nvSpPr>
        <p:spPr>
          <a:xfrm>
            <a:off x="572417" y="3200400"/>
            <a:ext cx="6980419"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572000"/>
            <a:ext cx="7234822"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13" name="Group 12">
            <a:extLst>
              <a:ext uri="{FF2B5EF4-FFF2-40B4-BE49-F238E27FC236}">
                <a16:creationId xmlns:a16="http://schemas.microsoft.com/office/drawing/2014/main" id="{3CF70772-99AC-B3FB-9CB9-37EAAADDFB6A}"/>
              </a:ext>
            </a:extLst>
          </p:cNvPr>
          <p:cNvGrpSpPr/>
          <p:nvPr userDrawn="1"/>
        </p:nvGrpSpPr>
        <p:grpSpPr>
          <a:xfrm>
            <a:off x="8199522" y="2528507"/>
            <a:ext cx="2407274" cy="2735539"/>
            <a:chOff x="12650498" y="2027238"/>
            <a:chExt cx="2407274" cy="2735539"/>
          </a:xfrm>
        </p:grpSpPr>
        <p:pic>
          <p:nvPicPr>
            <p:cNvPr id="14" name="Picture 13">
              <a:extLst>
                <a:ext uri="{FF2B5EF4-FFF2-40B4-BE49-F238E27FC236}">
                  <a16:creationId xmlns:a16="http://schemas.microsoft.com/office/drawing/2014/main" id="{BD3D9768-9B8D-F1D0-B588-27E0D7C84C4A}"/>
                </a:ext>
              </a:extLst>
            </p:cNvPr>
            <p:cNvPicPr>
              <a:picLocks noChangeAspect="1"/>
            </p:cNvPicPr>
            <p:nvPr userDrawn="1"/>
          </p:nvPicPr>
          <p:blipFill>
            <a:blip r:embed="rId3"/>
            <a:stretch>
              <a:fillRect/>
            </a:stretch>
          </p:blipFill>
          <p:spPr>
            <a:xfrm>
              <a:off x="12650498" y="2027238"/>
              <a:ext cx="2407274" cy="2735539"/>
            </a:xfrm>
            <a:prstGeom prst="rect">
              <a:avLst/>
            </a:prstGeom>
          </p:spPr>
        </p:pic>
        <p:sp>
          <p:nvSpPr>
            <p:cNvPr id="15" name="Oval 14">
              <a:extLst>
                <a:ext uri="{FF2B5EF4-FFF2-40B4-BE49-F238E27FC236}">
                  <a16:creationId xmlns:a16="http://schemas.microsoft.com/office/drawing/2014/main" id="{FBE77209-2F4F-8FB8-09D8-37359083EBE6}"/>
                </a:ext>
              </a:extLst>
            </p:cNvPr>
            <p:cNvSpPr>
              <a:spLocks noChangeAspect="1"/>
            </p:cNvSpPr>
            <p:nvPr userDrawn="1"/>
          </p:nvSpPr>
          <p:spPr bwMode="auto">
            <a:xfrm>
              <a:off x="14448868" y="3695935"/>
              <a:ext cx="288446" cy="283464"/>
            </a:xfrm>
            <a:prstGeom prst="ellipse">
              <a:avLst/>
            </a:prstGeom>
            <a:solidFill>
              <a:schemeClr val="tx2">
                <a:lumMod val="50000"/>
                <a:lumOff val="50000"/>
              </a:schemeClr>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Oval 15">
              <a:extLst>
                <a:ext uri="{FF2B5EF4-FFF2-40B4-BE49-F238E27FC236}">
                  <a16:creationId xmlns:a16="http://schemas.microsoft.com/office/drawing/2014/main" id="{094FCC3C-4C37-3DFB-9C21-64B2D6BE73B3}"/>
                </a:ext>
              </a:extLst>
            </p:cNvPr>
            <p:cNvSpPr>
              <a:spLocks noChangeAspect="1"/>
            </p:cNvSpPr>
            <p:nvPr userDrawn="1"/>
          </p:nvSpPr>
          <p:spPr bwMode="auto">
            <a:xfrm>
              <a:off x="13751798" y="2539586"/>
              <a:ext cx="288446" cy="283464"/>
            </a:xfrm>
            <a:prstGeom prst="ellipse">
              <a:avLst/>
            </a:prstGeom>
            <a:solidFill>
              <a:schemeClr val="tx2">
                <a:lumMod val="50000"/>
                <a:lumOff val="50000"/>
              </a:schemeClr>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Oval 16">
              <a:extLst>
                <a:ext uri="{FF2B5EF4-FFF2-40B4-BE49-F238E27FC236}">
                  <a16:creationId xmlns:a16="http://schemas.microsoft.com/office/drawing/2014/main" id="{E90E0B4F-3FEA-9E90-4BB2-3E2CAB482D78}"/>
                </a:ext>
              </a:extLst>
            </p:cNvPr>
            <p:cNvSpPr>
              <a:spLocks noChangeAspect="1"/>
            </p:cNvSpPr>
            <p:nvPr userDrawn="1"/>
          </p:nvSpPr>
          <p:spPr bwMode="auto">
            <a:xfrm>
              <a:off x="13293963" y="3564318"/>
              <a:ext cx="288446" cy="283464"/>
            </a:xfrm>
            <a:prstGeom prst="ellipse">
              <a:avLst/>
            </a:prstGeom>
            <a:solidFill>
              <a:schemeClr val="tx2">
                <a:lumMod val="50000"/>
                <a:lumOff val="50000"/>
              </a:schemeClr>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50943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_divider_orange">
    <p:bg>
      <p:bgPr>
        <a:solidFill>
          <a:schemeClr val="bg1"/>
        </a:solidFill>
        <a:effectLst/>
      </p:bgPr>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8" name="Title 1">
            <a:extLst>
              <a:ext uri="{FF2B5EF4-FFF2-40B4-BE49-F238E27FC236}">
                <a16:creationId xmlns:a16="http://schemas.microsoft.com/office/drawing/2014/main" id="{FEDF3DE4-8628-A0E3-0518-AA5354E77E18}"/>
              </a:ext>
            </a:extLst>
          </p:cNvPr>
          <p:cNvSpPr>
            <a:spLocks noGrp="1"/>
          </p:cNvSpPr>
          <p:nvPr>
            <p:ph type="title" hasCustomPrompt="1"/>
          </p:nvPr>
        </p:nvSpPr>
        <p:spPr>
          <a:xfrm>
            <a:off x="569912" y="3200400"/>
            <a:ext cx="6980419"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572000"/>
            <a:ext cx="5897135"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21" name="Group 20">
            <a:extLst>
              <a:ext uri="{FF2B5EF4-FFF2-40B4-BE49-F238E27FC236}">
                <a16:creationId xmlns:a16="http://schemas.microsoft.com/office/drawing/2014/main" id="{F5EABDA0-CC90-58EC-B8AF-7D5174B4D2BE}"/>
              </a:ext>
            </a:extLst>
          </p:cNvPr>
          <p:cNvGrpSpPr/>
          <p:nvPr userDrawn="1"/>
        </p:nvGrpSpPr>
        <p:grpSpPr>
          <a:xfrm>
            <a:off x="8199522" y="2528507"/>
            <a:ext cx="2407274" cy="2735539"/>
            <a:chOff x="12650498" y="2027238"/>
            <a:chExt cx="2407274" cy="2735539"/>
          </a:xfrm>
        </p:grpSpPr>
        <p:pic>
          <p:nvPicPr>
            <p:cNvPr id="22" name="Picture 21">
              <a:extLst>
                <a:ext uri="{FF2B5EF4-FFF2-40B4-BE49-F238E27FC236}">
                  <a16:creationId xmlns:a16="http://schemas.microsoft.com/office/drawing/2014/main" id="{C9BCDEC7-A857-9438-28A0-5B56C1550CF8}"/>
                </a:ext>
              </a:extLst>
            </p:cNvPr>
            <p:cNvPicPr>
              <a:picLocks noChangeAspect="1"/>
            </p:cNvPicPr>
            <p:nvPr userDrawn="1"/>
          </p:nvPicPr>
          <p:blipFill>
            <a:blip r:embed="rId3"/>
            <a:stretch>
              <a:fillRect/>
            </a:stretch>
          </p:blipFill>
          <p:spPr>
            <a:xfrm>
              <a:off x="12650498" y="2027238"/>
              <a:ext cx="2407274" cy="2735539"/>
            </a:xfrm>
            <a:prstGeom prst="rect">
              <a:avLst/>
            </a:prstGeom>
          </p:spPr>
        </p:pic>
        <p:sp>
          <p:nvSpPr>
            <p:cNvPr id="23" name="Oval 22">
              <a:extLst>
                <a:ext uri="{FF2B5EF4-FFF2-40B4-BE49-F238E27FC236}">
                  <a16:creationId xmlns:a16="http://schemas.microsoft.com/office/drawing/2014/main" id="{947DFDA9-EC61-871F-965B-6D9D8D0E7778}"/>
                </a:ext>
              </a:extLst>
            </p:cNvPr>
            <p:cNvSpPr>
              <a:spLocks noChangeAspect="1"/>
            </p:cNvSpPr>
            <p:nvPr userDrawn="1"/>
          </p:nvSpPr>
          <p:spPr bwMode="auto">
            <a:xfrm>
              <a:off x="14448868" y="3695935"/>
              <a:ext cx="288446" cy="283464"/>
            </a:xfrm>
            <a:prstGeom prst="ellipse">
              <a:avLst/>
            </a:prstGeom>
            <a:solidFill>
              <a:schemeClr val="bg2">
                <a:lumMod val="50000"/>
              </a:schemeClr>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Oval 23">
              <a:extLst>
                <a:ext uri="{FF2B5EF4-FFF2-40B4-BE49-F238E27FC236}">
                  <a16:creationId xmlns:a16="http://schemas.microsoft.com/office/drawing/2014/main" id="{9088EDD8-DD8A-0F68-08D8-754B723DB2A9}"/>
                </a:ext>
              </a:extLst>
            </p:cNvPr>
            <p:cNvSpPr>
              <a:spLocks noChangeAspect="1"/>
            </p:cNvSpPr>
            <p:nvPr userDrawn="1"/>
          </p:nvSpPr>
          <p:spPr bwMode="auto">
            <a:xfrm>
              <a:off x="13751798" y="2539586"/>
              <a:ext cx="288446" cy="283464"/>
            </a:xfrm>
            <a:prstGeom prst="ellipse">
              <a:avLst/>
            </a:prstGeom>
            <a:solidFill>
              <a:schemeClr val="bg2">
                <a:lumMod val="50000"/>
              </a:schemeClr>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5" name="Oval 24">
              <a:extLst>
                <a:ext uri="{FF2B5EF4-FFF2-40B4-BE49-F238E27FC236}">
                  <a16:creationId xmlns:a16="http://schemas.microsoft.com/office/drawing/2014/main" id="{81DEDF6A-FCE8-9E6C-E279-C63E4A634C5E}"/>
                </a:ext>
              </a:extLst>
            </p:cNvPr>
            <p:cNvSpPr>
              <a:spLocks noChangeAspect="1"/>
            </p:cNvSpPr>
            <p:nvPr userDrawn="1"/>
          </p:nvSpPr>
          <p:spPr bwMode="auto">
            <a:xfrm>
              <a:off x="13293963" y="3564318"/>
              <a:ext cx="288446" cy="283464"/>
            </a:xfrm>
            <a:prstGeom prst="ellipse">
              <a:avLst/>
            </a:prstGeom>
            <a:solidFill>
              <a:schemeClr val="bg2">
                <a:lumMod val="50000"/>
              </a:schemeClr>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77511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_divider_purple">
    <p:bg>
      <p:bgPr>
        <a:solidFill>
          <a:schemeClr val="bg1"/>
        </a:solidFill>
        <a:effectLst/>
      </p:bgPr>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8" name="Title 1">
            <a:extLst>
              <a:ext uri="{FF2B5EF4-FFF2-40B4-BE49-F238E27FC236}">
                <a16:creationId xmlns:a16="http://schemas.microsoft.com/office/drawing/2014/main" id="{FEDF3DE4-8628-A0E3-0518-AA5354E77E18}"/>
              </a:ext>
            </a:extLst>
          </p:cNvPr>
          <p:cNvSpPr>
            <a:spLocks noGrp="1"/>
          </p:cNvSpPr>
          <p:nvPr>
            <p:ph type="title" hasCustomPrompt="1"/>
          </p:nvPr>
        </p:nvSpPr>
        <p:spPr>
          <a:xfrm>
            <a:off x="569912" y="3200400"/>
            <a:ext cx="6980419"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572000"/>
            <a:ext cx="5897135"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11" name="Group 10">
            <a:extLst>
              <a:ext uri="{FF2B5EF4-FFF2-40B4-BE49-F238E27FC236}">
                <a16:creationId xmlns:a16="http://schemas.microsoft.com/office/drawing/2014/main" id="{0F31DEA0-B92B-01D0-CEF7-9CFFB45B4955}"/>
              </a:ext>
            </a:extLst>
          </p:cNvPr>
          <p:cNvGrpSpPr/>
          <p:nvPr userDrawn="1"/>
        </p:nvGrpSpPr>
        <p:grpSpPr>
          <a:xfrm>
            <a:off x="8199522" y="2528507"/>
            <a:ext cx="2407274" cy="2735539"/>
            <a:chOff x="12650498" y="2027238"/>
            <a:chExt cx="2407274" cy="2735539"/>
          </a:xfrm>
        </p:grpSpPr>
        <p:pic>
          <p:nvPicPr>
            <p:cNvPr id="12" name="Picture 11">
              <a:extLst>
                <a:ext uri="{FF2B5EF4-FFF2-40B4-BE49-F238E27FC236}">
                  <a16:creationId xmlns:a16="http://schemas.microsoft.com/office/drawing/2014/main" id="{7EF8B6EE-6DB8-B6C9-2A03-F18A681E3F18}"/>
                </a:ext>
              </a:extLst>
            </p:cNvPr>
            <p:cNvPicPr>
              <a:picLocks noChangeAspect="1"/>
            </p:cNvPicPr>
            <p:nvPr userDrawn="1"/>
          </p:nvPicPr>
          <p:blipFill>
            <a:blip r:embed="rId3"/>
            <a:stretch>
              <a:fillRect/>
            </a:stretch>
          </p:blipFill>
          <p:spPr>
            <a:xfrm>
              <a:off x="12650498" y="2027238"/>
              <a:ext cx="2407274" cy="2735539"/>
            </a:xfrm>
            <a:prstGeom prst="rect">
              <a:avLst/>
            </a:prstGeom>
          </p:spPr>
        </p:pic>
        <p:sp>
          <p:nvSpPr>
            <p:cNvPr id="13" name="Oval 12">
              <a:extLst>
                <a:ext uri="{FF2B5EF4-FFF2-40B4-BE49-F238E27FC236}">
                  <a16:creationId xmlns:a16="http://schemas.microsoft.com/office/drawing/2014/main" id="{8F09B900-A001-A23A-B620-FB95CEF32AF5}"/>
                </a:ext>
              </a:extLst>
            </p:cNvPr>
            <p:cNvSpPr>
              <a:spLocks noChangeAspect="1"/>
            </p:cNvSpPr>
            <p:nvPr userDrawn="1"/>
          </p:nvSpPr>
          <p:spPr bwMode="auto">
            <a:xfrm>
              <a:off x="14448868" y="3695935"/>
              <a:ext cx="288446" cy="283464"/>
            </a:xfrm>
            <a:prstGeom prst="ellipse">
              <a:avLst/>
            </a:prstGeom>
            <a:solidFill>
              <a:schemeClr val="accent1">
                <a:lumMod val="60000"/>
                <a:lumOff val="40000"/>
              </a:schemeClr>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5142573D-F6DF-0A2C-CDA4-D4FC57E1D247}"/>
                </a:ext>
              </a:extLst>
            </p:cNvPr>
            <p:cNvSpPr>
              <a:spLocks noChangeAspect="1"/>
            </p:cNvSpPr>
            <p:nvPr userDrawn="1"/>
          </p:nvSpPr>
          <p:spPr bwMode="auto">
            <a:xfrm>
              <a:off x="13751798" y="2539586"/>
              <a:ext cx="288446" cy="283464"/>
            </a:xfrm>
            <a:prstGeom prst="ellipse">
              <a:avLst/>
            </a:prstGeom>
            <a:solidFill>
              <a:schemeClr val="accent1">
                <a:lumMod val="60000"/>
                <a:lumOff val="40000"/>
              </a:schemeClr>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a:extLst>
                <a:ext uri="{FF2B5EF4-FFF2-40B4-BE49-F238E27FC236}">
                  <a16:creationId xmlns:a16="http://schemas.microsoft.com/office/drawing/2014/main" id="{E59B67D3-D800-6F8A-7506-F893F41BD8E0}"/>
                </a:ext>
              </a:extLst>
            </p:cNvPr>
            <p:cNvSpPr>
              <a:spLocks noChangeAspect="1"/>
            </p:cNvSpPr>
            <p:nvPr userDrawn="1"/>
          </p:nvSpPr>
          <p:spPr bwMode="auto">
            <a:xfrm>
              <a:off x="13293963" y="3564318"/>
              <a:ext cx="288446" cy="283464"/>
            </a:xfrm>
            <a:prstGeom prst="ellipse">
              <a:avLst/>
            </a:prstGeom>
            <a:solidFill>
              <a:schemeClr val="accent1">
                <a:lumMod val="60000"/>
                <a:lumOff val="40000"/>
              </a:schemeClr>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76091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_divider_green">
    <p:bg>
      <p:bgPr>
        <a:solidFill>
          <a:schemeClr val="bg1"/>
        </a:solidFill>
        <a:effectLst/>
      </p:bgPr>
    </p:bg>
    <p:spTree>
      <p:nvGrpSpPr>
        <p:cNvPr id="1" name=""/>
        <p:cNvGrpSpPr/>
        <p:nvPr/>
      </p:nvGrpSpPr>
      <p:grpSpPr>
        <a:xfrm>
          <a:off x="0" y="0"/>
          <a:ext cx="0" cy="0"/>
          <a:chOff x="0" y="0"/>
          <a:chExt cx="0" cy="0"/>
        </a:xfrm>
      </p:grpSpPr>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8" name="Title 1">
            <a:extLst>
              <a:ext uri="{FF2B5EF4-FFF2-40B4-BE49-F238E27FC236}">
                <a16:creationId xmlns:a16="http://schemas.microsoft.com/office/drawing/2014/main" id="{FEDF3DE4-8628-A0E3-0518-AA5354E77E18}"/>
              </a:ext>
            </a:extLst>
          </p:cNvPr>
          <p:cNvSpPr>
            <a:spLocks noGrp="1"/>
          </p:cNvSpPr>
          <p:nvPr>
            <p:ph type="title" hasCustomPrompt="1"/>
          </p:nvPr>
        </p:nvSpPr>
        <p:spPr>
          <a:xfrm>
            <a:off x="569912" y="3200400"/>
            <a:ext cx="6980419" cy="1231106"/>
          </a:xfrm>
          <a:noFill/>
        </p:spPr>
        <p:txBody>
          <a:bodyPr wrap="square" lIns="0" tIns="0" rIns="0" bIns="0" anchor="b" anchorCtr="0">
            <a:spAutoFit/>
          </a:bodyPr>
          <a:lstStyle>
            <a:lvl1pPr>
              <a:defRPr sz="4000" b="0" i="0" spc="-50" baseline="0">
                <a:solidFill>
                  <a:schemeClr val="tx1"/>
                </a:solidFill>
                <a:latin typeface="+mn-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572000"/>
            <a:ext cx="5897135"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11" name="Group 10">
            <a:extLst>
              <a:ext uri="{FF2B5EF4-FFF2-40B4-BE49-F238E27FC236}">
                <a16:creationId xmlns:a16="http://schemas.microsoft.com/office/drawing/2014/main" id="{0F31DEA0-B92B-01D0-CEF7-9CFFB45B4955}"/>
              </a:ext>
            </a:extLst>
          </p:cNvPr>
          <p:cNvGrpSpPr/>
          <p:nvPr userDrawn="1"/>
        </p:nvGrpSpPr>
        <p:grpSpPr>
          <a:xfrm>
            <a:off x="8199522" y="2528507"/>
            <a:ext cx="2407274" cy="2735539"/>
            <a:chOff x="12650498" y="2027238"/>
            <a:chExt cx="2407274" cy="2735539"/>
          </a:xfrm>
        </p:grpSpPr>
        <p:pic>
          <p:nvPicPr>
            <p:cNvPr id="12" name="Picture 11">
              <a:extLst>
                <a:ext uri="{FF2B5EF4-FFF2-40B4-BE49-F238E27FC236}">
                  <a16:creationId xmlns:a16="http://schemas.microsoft.com/office/drawing/2014/main" id="{7EF8B6EE-6DB8-B6C9-2A03-F18A681E3F18}"/>
                </a:ext>
              </a:extLst>
            </p:cNvPr>
            <p:cNvPicPr>
              <a:picLocks noChangeAspect="1"/>
            </p:cNvPicPr>
            <p:nvPr userDrawn="1"/>
          </p:nvPicPr>
          <p:blipFill>
            <a:blip r:embed="rId3"/>
            <a:stretch>
              <a:fillRect/>
            </a:stretch>
          </p:blipFill>
          <p:spPr>
            <a:xfrm>
              <a:off x="12650498" y="2027238"/>
              <a:ext cx="2407274" cy="2735539"/>
            </a:xfrm>
            <a:prstGeom prst="rect">
              <a:avLst/>
            </a:prstGeom>
          </p:spPr>
        </p:pic>
        <p:sp>
          <p:nvSpPr>
            <p:cNvPr id="13" name="Oval 12">
              <a:extLst>
                <a:ext uri="{FF2B5EF4-FFF2-40B4-BE49-F238E27FC236}">
                  <a16:creationId xmlns:a16="http://schemas.microsoft.com/office/drawing/2014/main" id="{8F09B900-A001-A23A-B620-FB95CEF32AF5}"/>
                </a:ext>
              </a:extLst>
            </p:cNvPr>
            <p:cNvSpPr>
              <a:spLocks noChangeAspect="1"/>
            </p:cNvSpPr>
            <p:nvPr userDrawn="1"/>
          </p:nvSpPr>
          <p:spPr bwMode="auto">
            <a:xfrm>
              <a:off x="14448868" y="3695935"/>
              <a:ext cx="288446" cy="283464"/>
            </a:xfrm>
            <a:prstGeom prst="ellipse">
              <a:avLst/>
            </a:prstGeom>
            <a:solidFill>
              <a:srgbClr val="8DEA7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a:extLst>
                <a:ext uri="{FF2B5EF4-FFF2-40B4-BE49-F238E27FC236}">
                  <a16:creationId xmlns:a16="http://schemas.microsoft.com/office/drawing/2014/main" id="{5142573D-F6DF-0A2C-CDA4-D4FC57E1D247}"/>
                </a:ext>
              </a:extLst>
            </p:cNvPr>
            <p:cNvSpPr>
              <a:spLocks noChangeAspect="1"/>
            </p:cNvSpPr>
            <p:nvPr userDrawn="1"/>
          </p:nvSpPr>
          <p:spPr bwMode="auto">
            <a:xfrm>
              <a:off x="13751798" y="2539586"/>
              <a:ext cx="288446" cy="283464"/>
            </a:xfrm>
            <a:prstGeom prst="ellipse">
              <a:avLst/>
            </a:prstGeom>
            <a:solidFill>
              <a:srgbClr val="8DEA7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Oval 14">
              <a:extLst>
                <a:ext uri="{FF2B5EF4-FFF2-40B4-BE49-F238E27FC236}">
                  <a16:creationId xmlns:a16="http://schemas.microsoft.com/office/drawing/2014/main" id="{E59B67D3-D800-6F8A-7506-F893F41BD8E0}"/>
                </a:ext>
              </a:extLst>
            </p:cNvPr>
            <p:cNvSpPr>
              <a:spLocks noChangeAspect="1"/>
            </p:cNvSpPr>
            <p:nvPr userDrawn="1"/>
          </p:nvSpPr>
          <p:spPr bwMode="auto">
            <a:xfrm>
              <a:off x="13293963" y="3564318"/>
              <a:ext cx="288446" cy="283464"/>
            </a:xfrm>
            <a:prstGeom prst="ellipse">
              <a:avLst/>
            </a:prstGeom>
            <a:solidFill>
              <a:srgbClr val="8DEA7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647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enda_2-column_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hasCustomPrompt="1"/>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agenda slide title</a:t>
            </a:r>
          </a:p>
        </p:txBody>
      </p:sp>
      <p:sp>
        <p:nvSpPr>
          <p:cNvPr id="3" name="Text Placeholder 11">
            <a:extLst>
              <a:ext uri="{FF2B5EF4-FFF2-40B4-BE49-F238E27FC236}">
                <a16:creationId xmlns:a16="http://schemas.microsoft.com/office/drawing/2014/main" id="{75634B22-5F81-2E8F-3332-0116B03A6BDB}"/>
              </a:ext>
            </a:extLst>
          </p:cNvPr>
          <p:cNvSpPr>
            <a:spLocks noGrp="1"/>
          </p:cNvSpPr>
          <p:nvPr>
            <p:ph type="body" sz="quarter" idx="16"/>
          </p:nvPr>
        </p:nvSpPr>
        <p:spPr>
          <a:xfrm>
            <a:off x="580197" y="2735946"/>
            <a:ext cx="4645435" cy="351744"/>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5" name="Text Placeholder 11">
            <a:extLst>
              <a:ext uri="{FF2B5EF4-FFF2-40B4-BE49-F238E27FC236}">
                <a16:creationId xmlns:a16="http://schemas.microsoft.com/office/drawing/2014/main" id="{D2B06152-55A7-7027-9E7A-C1023CAA2D98}"/>
              </a:ext>
            </a:extLst>
          </p:cNvPr>
          <p:cNvSpPr>
            <a:spLocks noGrp="1"/>
          </p:cNvSpPr>
          <p:nvPr>
            <p:ph type="body" sz="quarter" idx="22"/>
          </p:nvPr>
        </p:nvSpPr>
        <p:spPr>
          <a:xfrm>
            <a:off x="6356524" y="2735946"/>
            <a:ext cx="4645435" cy="351744"/>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0EAC3846-F6FA-81BE-A9E9-25EB46FF8A36}"/>
              </a:ext>
            </a:extLst>
          </p:cNvPr>
          <p:cNvSpPr>
            <a:spLocks noGrp="1"/>
          </p:cNvSpPr>
          <p:nvPr>
            <p:ph type="body" sz="quarter" idx="26"/>
          </p:nvPr>
        </p:nvSpPr>
        <p:spPr>
          <a:xfrm>
            <a:off x="581657" y="3503026"/>
            <a:ext cx="4643486" cy="215444"/>
          </a:xfrm>
          <a:prstGeom prst="rect">
            <a:avLst/>
          </a:prstGeom>
        </p:spPr>
        <p:txBody>
          <a:bodyPr wrap="square">
            <a:spAutoFit/>
          </a:bodyPr>
          <a:lstStyle>
            <a:lvl1pPr marL="0" indent="0">
              <a:buFont typeface="Arial" panose="020B0604020202020204" pitchFamily="34" charset="0"/>
              <a:buNone/>
              <a:defRPr sz="14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0" name="Text Placeholder 3">
            <a:extLst>
              <a:ext uri="{FF2B5EF4-FFF2-40B4-BE49-F238E27FC236}">
                <a16:creationId xmlns:a16="http://schemas.microsoft.com/office/drawing/2014/main" id="{D070D0FF-D273-B666-0A65-258EAB2F64CE}"/>
              </a:ext>
            </a:extLst>
          </p:cNvPr>
          <p:cNvSpPr>
            <a:spLocks noGrp="1"/>
          </p:cNvSpPr>
          <p:nvPr>
            <p:ph type="body" sz="quarter" idx="27"/>
          </p:nvPr>
        </p:nvSpPr>
        <p:spPr>
          <a:xfrm>
            <a:off x="6356524" y="3503026"/>
            <a:ext cx="4643486" cy="307777"/>
          </a:xfrm>
          <a:prstGeom prst="rect">
            <a:avLst/>
          </a:prstGeom>
        </p:spPr>
        <p:txBody>
          <a:bodyPr wrap="square">
            <a:spAutoFit/>
          </a:bodyPr>
          <a:lstStyle>
            <a:lvl1pPr marL="0" indent="0">
              <a:buFont typeface="Arial" panose="020B0604020202020204" pitchFamily="34" charset="0"/>
              <a:buNone/>
              <a:defRPr sz="14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Tree>
    <p:extLst>
      <p:ext uri="{BB962C8B-B14F-4D97-AF65-F5344CB8AC3E}">
        <p14:creationId xmlns:p14="http://schemas.microsoft.com/office/powerpoint/2010/main" val="2518465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0">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12">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2">
          <p15:clr>
            <a:srgbClr val="954F72"/>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column_Text">
    <p:bg>
      <p:bgRef idx="1001">
        <a:schemeClr val="bg1"/>
      </p:bgRef>
    </p:bg>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1F8FEE64-CEB2-8CB7-D832-422EE4549937}"/>
              </a:ext>
            </a:extLst>
          </p:cNvPr>
          <p:cNvSpPr>
            <a:spLocks noGrp="1"/>
          </p:cNvSpPr>
          <p:nvPr>
            <p:ph type="body" sz="quarter" idx="16"/>
          </p:nvPr>
        </p:nvSpPr>
        <p:spPr>
          <a:xfrm>
            <a:off x="580196" y="2743200"/>
            <a:ext cx="1043832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8509FE8A-E0C1-1A3A-317E-797A81CA7172}"/>
              </a:ext>
            </a:extLst>
          </p:cNvPr>
          <p:cNvSpPr>
            <a:spLocks noGrp="1"/>
          </p:cNvSpPr>
          <p:nvPr>
            <p:ph type="body" sz="quarter" idx="15"/>
          </p:nvPr>
        </p:nvSpPr>
        <p:spPr>
          <a:xfrm>
            <a:off x="583846" y="3566160"/>
            <a:ext cx="10438323" cy="215444"/>
          </a:xfrm>
          <a:prstGeom prst="rect">
            <a:avLst/>
          </a:prstGeom>
        </p:spPr>
        <p:txBody>
          <a:bodyPr wrap="square">
            <a:spAutoFit/>
          </a:bodyPr>
          <a:lstStyle>
            <a:lvl1pPr marL="0" indent="0">
              <a:buFont typeface="Arial" panose="020B0604020202020204" pitchFamily="34" charset="0"/>
              <a:buNone/>
              <a:defRPr sz="14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2" name="Title 8">
            <a:extLst>
              <a:ext uri="{FF2B5EF4-FFF2-40B4-BE49-F238E27FC236}">
                <a16:creationId xmlns:a16="http://schemas.microsoft.com/office/drawing/2014/main" id="{A330AEB7-0108-308D-3322-D1243A22EDFF}"/>
              </a:ext>
            </a:extLst>
          </p:cNvPr>
          <p:cNvSpPr>
            <a:spLocks noGrp="1"/>
          </p:cNvSpPr>
          <p:nvPr>
            <p:ph type="title"/>
          </p:nvPr>
        </p:nvSpPr>
        <p:spPr>
          <a:xfrm>
            <a:off x="588263" y="585216"/>
            <a:ext cx="10430257" cy="307777"/>
          </a:xfrm>
        </p:spPr>
        <p:txBody>
          <a:bodyPr/>
          <a:lstStyle/>
          <a:p>
            <a:r>
              <a:rPr lang="en-US"/>
              <a:t>Click to edit Master title style</a:t>
            </a:r>
          </a:p>
        </p:txBody>
      </p:sp>
      <p:sp>
        <p:nvSpPr>
          <p:cNvPr id="13" name="Text Placeholder 14">
            <a:extLst>
              <a:ext uri="{FF2B5EF4-FFF2-40B4-BE49-F238E27FC236}">
                <a16:creationId xmlns:a16="http://schemas.microsoft.com/office/drawing/2014/main" id="{8B77DA5A-F743-4B5D-1234-62763B304580}"/>
              </a:ext>
            </a:extLst>
          </p:cNvPr>
          <p:cNvSpPr>
            <a:spLocks noGrp="1"/>
          </p:cNvSpPr>
          <p:nvPr>
            <p:ph type="body" sz="quarter" idx="29" hasCustomPrompt="1"/>
          </p:nvPr>
        </p:nvSpPr>
        <p:spPr>
          <a:xfrm>
            <a:off x="599758" y="981710"/>
            <a:ext cx="7040562" cy="215444"/>
          </a:xfrm>
        </p:spPr>
        <p:txBody>
          <a:bodyPr/>
          <a:lstStyle>
            <a:lvl1pPr marL="0" indent="0">
              <a:buNone/>
              <a:defRPr sz="1400"/>
            </a:lvl1pPr>
            <a:lvl2pPr marL="155448" indent="0">
              <a:buNone/>
              <a:defRPr/>
            </a:lvl2pPr>
          </a:lstStyle>
          <a:p>
            <a:pPr lvl="0"/>
            <a:r>
              <a:rPr lang="en-US"/>
              <a:t>Click to edit Master subtitle styles</a:t>
            </a:r>
          </a:p>
        </p:txBody>
      </p:sp>
    </p:spTree>
    <p:extLst>
      <p:ext uri="{BB962C8B-B14F-4D97-AF65-F5344CB8AC3E}">
        <p14:creationId xmlns:p14="http://schemas.microsoft.com/office/powerpoint/2010/main" val="27000305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22033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column_subhead_text">
    <p:bg>
      <p:bgRef idx="1001">
        <a:schemeClr val="bg1"/>
      </p:bgRef>
    </p:bg>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8509FE8A-E0C1-1A3A-317E-797A81CA7172}"/>
              </a:ext>
            </a:extLst>
          </p:cNvPr>
          <p:cNvSpPr>
            <a:spLocks noGrp="1"/>
          </p:cNvSpPr>
          <p:nvPr>
            <p:ph type="body" sz="quarter" idx="15"/>
          </p:nvPr>
        </p:nvSpPr>
        <p:spPr>
          <a:xfrm>
            <a:off x="599758" y="1918173"/>
            <a:ext cx="10438323" cy="215444"/>
          </a:xfrm>
          <a:prstGeom prst="rect">
            <a:avLst/>
          </a:prstGeom>
        </p:spPr>
        <p:txBody>
          <a:bodyPr wrap="square">
            <a:spAutoFit/>
          </a:bodyPr>
          <a:lstStyle>
            <a:lvl1pPr marL="0" indent="0">
              <a:buFont typeface="Arial" panose="020B0604020202020204" pitchFamily="34" charset="0"/>
              <a:buNone/>
              <a:defRPr sz="14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2" name="Title 8">
            <a:extLst>
              <a:ext uri="{FF2B5EF4-FFF2-40B4-BE49-F238E27FC236}">
                <a16:creationId xmlns:a16="http://schemas.microsoft.com/office/drawing/2014/main" id="{A330AEB7-0108-308D-3322-D1243A22EDFF}"/>
              </a:ext>
            </a:extLst>
          </p:cNvPr>
          <p:cNvSpPr>
            <a:spLocks noGrp="1"/>
          </p:cNvSpPr>
          <p:nvPr>
            <p:ph type="title"/>
          </p:nvPr>
        </p:nvSpPr>
        <p:spPr>
          <a:xfrm>
            <a:off x="588263" y="585216"/>
            <a:ext cx="10430257" cy="307777"/>
          </a:xfrm>
        </p:spPr>
        <p:txBody>
          <a:bodyPr/>
          <a:lstStyle/>
          <a:p>
            <a:r>
              <a:rPr lang="en-US"/>
              <a:t>Click to edit Master title style</a:t>
            </a:r>
          </a:p>
        </p:txBody>
      </p:sp>
      <p:sp>
        <p:nvSpPr>
          <p:cNvPr id="13" name="Text Placeholder 14">
            <a:extLst>
              <a:ext uri="{FF2B5EF4-FFF2-40B4-BE49-F238E27FC236}">
                <a16:creationId xmlns:a16="http://schemas.microsoft.com/office/drawing/2014/main" id="{8B77DA5A-F743-4B5D-1234-62763B304580}"/>
              </a:ext>
            </a:extLst>
          </p:cNvPr>
          <p:cNvSpPr>
            <a:spLocks noGrp="1"/>
          </p:cNvSpPr>
          <p:nvPr>
            <p:ph type="body" sz="quarter" idx="29" hasCustomPrompt="1"/>
          </p:nvPr>
        </p:nvSpPr>
        <p:spPr>
          <a:xfrm>
            <a:off x="599758" y="981710"/>
            <a:ext cx="7040562" cy="215444"/>
          </a:xfrm>
        </p:spPr>
        <p:txBody>
          <a:bodyPr/>
          <a:lstStyle>
            <a:lvl1pPr marL="0" indent="0">
              <a:buNone/>
              <a:defRPr sz="1400"/>
            </a:lvl1pPr>
            <a:lvl2pPr marL="155448" indent="0">
              <a:buNone/>
              <a:defRPr/>
            </a:lvl2pPr>
          </a:lstStyle>
          <a:p>
            <a:pPr lvl="0"/>
            <a:r>
              <a:rPr lang="en-US"/>
              <a:t>Click to edit Master subtitle styles</a:t>
            </a:r>
          </a:p>
        </p:txBody>
      </p:sp>
    </p:spTree>
    <p:extLst>
      <p:ext uri="{BB962C8B-B14F-4D97-AF65-F5344CB8AC3E}">
        <p14:creationId xmlns:p14="http://schemas.microsoft.com/office/powerpoint/2010/main" val="5346167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goals_and_learning_multi_section">
    <p:bg>
      <p:bgRef idx="1001">
        <a:schemeClr val="bg1"/>
      </p:bgRef>
    </p:bg>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1F8FEE64-CEB2-8CB7-D832-422EE4549937}"/>
              </a:ext>
            </a:extLst>
          </p:cNvPr>
          <p:cNvSpPr>
            <a:spLocks noGrp="1"/>
          </p:cNvSpPr>
          <p:nvPr>
            <p:ph type="body" sz="quarter" idx="16"/>
          </p:nvPr>
        </p:nvSpPr>
        <p:spPr>
          <a:xfrm>
            <a:off x="580196" y="4023360"/>
            <a:ext cx="1043832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7" name="Text Placeholder 3">
            <a:extLst>
              <a:ext uri="{FF2B5EF4-FFF2-40B4-BE49-F238E27FC236}">
                <a16:creationId xmlns:a16="http://schemas.microsoft.com/office/drawing/2014/main" id="{8509FE8A-E0C1-1A3A-317E-797A81CA7172}"/>
              </a:ext>
            </a:extLst>
          </p:cNvPr>
          <p:cNvSpPr>
            <a:spLocks noGrp="1"/>
          </p:cNvSpPr>
          <p:nvPr>
            <p:ph type="body" sz="quarter" idx="15"/>
          </p:nvPr>
        </p:nvSpPr>
        <p:spPr>
          <a:xfrm>
            <a:off x="580196" y="4754880"/>
            <a:ext cx="10438323" cy="215444"/>
          </a:xfrm>
          <a:prstGeom prst="rect">
            <a:avLst/>
          </a:prstGeom>
        </p:spPr>
        <p:txBody>
          <a:bodyPr wrap="square">
            <a:spAutoFit/>
          </a:bodyPr>
          <a:lstStyle>
            <a:lvl1pPr marL="0" indent="0">
              <a:buFont typeface="Arial" panose="020B0604020202020204" pitchFamily="34" charset="0"/>
              <a:buNone/>
              <a:defRPr sz="14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2" name="Title 8">
            <a:extLst>
              <a:ext uri="{FF2B5EF4-FFF2-40B4-BE49-F238E27FC236}">
                <a16:creationId xmlns:a16="http://schemas.microsoft.com/office/drawing/2014/main" id="{A330AEB7-0108-308D-3322-D1243A22EDFF}"/>
              </a:ext>
            </a:extLst>
          </p:cNvPr>
          <p:cNvSpPr>
            <a:spLocks noGrp="1"/>
          </p:cNvSpPr>
          <p:nvPr>
            <p:ph type="title"/>
          </p:nvPr>
        </p:nvSpPr>
        <p:spPr>
          <a:xfrm>
            <a:off x="588263" y="585216"/>
            <a:ext cx="10430257" cy="307777"/>
          </a:xfrm>
        </p:spPr>
        <p:txBody>
          <a:bodyPr/>
          <a:lstStyle/>
          <a:p>
            <a:r>
              <a:rPr lang="en-US"/>
              <a:t>Click to edit Master title style</a:t>
            </a:r>
          </a:p>
        </p:txBody>
      </p:sp>
      <p:sp>
        <p:nvSpPr>
          <p:cNvPr id="2" name="Text Placeholder 3">
            <a:extLst>
              <a:ext uri="{FF2B5EF4-FFF2-40B4-BE49-F238E27FC236}">
                <a16:creationId xmlns:a16="http://schemas.microsoft.com/office/drawing/2014/main" id="{A6747146-5419-A09E-B0CA-B55FF6107471}"/>
              </a:ext>
            </a:extLst>
          </p:cNvPr>
          <p:cNvSpPr>
            <a:spLocks noGrp="1"/>
          </p:cNvSpPr>
          <p:nvPr>
            <p:ph type="body" sz="quarter" idx="30"/>
          </p:nvPr>
        </p:nvSpPr>
        <p:spPr>
          <a:xfrm>
            <a:off x="580195" y="1467009"/>
            <a:ext cx="10438323" cy="215444"/>
          </a:xfrm>
          <a:prstGeom prst="rect">
            <a:avLst/>
          </a:prstGeom>
        </p:spPr>
        <p:txBody>
          <a:bodyPr wrap="square">
            <a:spAutoFit/>
          </a:bodyPr>
          <a:lstStyle>
            <a:lvl1pPr marL="0" indent="0">
              <a:buFont typeface="Arial" panose="020B0604020202020204" pitchFamily="34" charset="0"/>
              <a:buNone/>
              <a:defRPr sz="14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3" name="Text Placeholder 14">
            <a:extLst>
              <a:ext uri="{FF2B5EF4-FFF2-40B4-BE49-F238E27FC236}">
                <a16:creationId xmlns:a16="http://schemas.microsoft.com/office/drawing/2014/main" id="{5D8CB98D-5B14-9E5F-7B5B-547D16E877DF}"/>
              </a:ext>
            </a:extLst>
          </p:cNvPr>
          <p:cNvSpPr>
            <a:spLocks noGrp="1"/>
          </p:cNvSpPr>
          <p:nvPr>
            <p:ph type="body" sz="quarter" idx="29" hasCustomPrompt="1"/>
          </p:nvPr>
        </p:nvSpPr>
        <p:spPr>
          <a:xfrm>
            <a:off x="599758" y="981710"/>
            <a:ext cx="7040562" cy="215444"/>
          </a:xfrm>
        </p:spPr>
        <p:txBody>
          <a:bodyPr/>
          <a:lstStyle>
            <a:lvl1pPr marL="0" indent="0">
              <a:buNone/>
              <a:defRPr sz="1400"/>
            </a:lvl1pPr>
            <a:lvl2pPr marL="155448" indent="0">
              <a:buNone/>
              <a:defRPr/>
            </a:lvl2pPr>
          </a:lstStyle>
          <a:p>
            <a:pPr lvl="0"/>
            <a:r>
              <a:rPr lang="en-US"/>
              <a:t>Click to edit Master subtitle styles</a:t>
            </a:r>
          </a:p>
        </p:txBody>
      </p:sp>
    </p:spTree>
    <p:extLst>
      <p:ext uri="{BB962C8B-B14F-4D97-AF65-F5344CB8AC3E}">
        <p14:creationId xmlns:p14="http://schemas.microsoft.com/office/powerpoint/2010/main" val="19825913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11">
            <a:extLst>
              <a:ext uri="{FF2B5EF4-FFF2-40B4-BE49-F238E27FC236}">
                <a16:creationId xmlns:a16="http://schemas.microsoft.com/office/drawing/2014/main" id="{3D0D976A-9657-5E1B-F1BB-EFE2C1592DA5}"/>
              </a:ext>
            </a:extLst>
          </p:cNvPr>
          <p:cNvSpPr>
            <a:spLocks noGrp="1"/>
          </p:cNvSpPr>
          <p:nvPr>
            <p:ph type="body" sz="quarter" idx="16"/>
          </p:nvPr>
        </p:nvSpPr>
        <p:spPr>
          <a:xfrm>
            <a:off x="758951" y="2302446"/>
            <a:ext cx="4746699" cy="276999"/>
          </a:xfrm>
          <a:prstGeom prst="rect">
            <a:avLst/>
          </a:prstGeom>
        </p:spPr>
        <p:txBody>
          <a:bodyPr anchor="t"/>
          <a:lstStyle>
            <a:lvl1pPr marL="0" indent="0">
              <a:spcBef>
                <a:spcPts val="0"/>
              </a:spcBef>
              <a:buNone/>
              <a:defRPr sz="1800">
                <a:solidFill>
                  <a:schemeClr val="tx1"/>
                </a:solidFill>
                <a:latin typeface="+mn-lt"/>
              </a:defRPr>
            </a:lvl1pPr>
          </a:lstStyle>
          <a:p>
            <a:pPr lvl="0"/>
            <a:r>
              <a:rPr lang="en-US"/>
              <a:t>Click to edit Master text styles</a:t>
            </a:r>
          </a:p>
        </p:txBody>
      </p:sp>
      <p:sp>
        <p:nvSpPr>
          <p:cNvPr id="4" name="Text Placeholder 3">
            <a:extLst>
              <a:ext uri="{FF2B5EF4-FFF2-40B4-BE49-F238E27FC236}">
                <a16:creationId xmlns:a16="http://schemas.microsoft.com/office/drawing/2014/main" id="{128E063C-E30C-BB03-0B11-F9A37F89877A}"/>
              </a:ext>
            </a:extLst>
          </p:cNvPr>
          <p:cNvSpPr>
            <a:spLocks noGrp="1"/>
          </p:cNvSpPr>
          <p:nvPr>
            <p:ph type="body" sz="quarter" idx="15"/>
          </p:nvPr>
        </p:nvSpPr>
        <p:spPr>
          <a:xfrm>
            <a:off x="758951" y="4105582"/>
            <a:ext cx="4746699" cy="184666"/>
          </a:xfrm>
          <a:prstGeom prst="rect">
            <a:avLst/>
          </a:prstGeom>
        </p:spPr>
        <p:txBody>
          <a:bodyPr wrap="square">
            <a:spAutoFit/>
          </a:bodyPr>
          <a:lstStyle>
            <a:lvl1pPr marL="0" indent="0">
              <a:buFont typeface="Arial" panose="020B0604020202020204" pitchFamily="34" charset="0"/>
              <a:buNone/>
              <a:defRPr sz="1200">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5" name="Text Placeholder 11">
            <a:extLst>
              <a:ext uri="{FF2B5EF4-FFF2-40B4-BE49-F238E27FC236}">
                <a16:creationId xmlns:a16="http://schemas.microsoft.com/office/drawing/2014/main" id="{A517AACD-3502-651F-E3CD-5C9F9B590A71}"/>
              </a:ext>
            </a:extLst>
          </p:cNvPr>
          <p:cNvSpPr>
            <a:spLocks noGrp="1"/>
          </p:cNvSpPr>
          <p:nvPr>
            <p:ph type="body" sz="quarter" idx="22"/>
          </p:nvPr>
        </p:nvSpPr>
        <p:spPr>
          <a:xfrm>
            <a:off x="6095999" y="2302446"/>
            <a:ext cx="4746699" cy="276999"/>
          </a:xfrm>
          <a:prstGeom prst="rect">
            <a:avLst/>
          </a:prstGeom>
        </p:spPr>
        <p:txBody>
          <a:bodyPr anchor="t"/>
          <a:lstStyle>
            <a:lvl1pPr marL="0" indent="0">
              <a:spcBef>
                <a:spcPts val="0"/>
              </a:spcBef>
              <a:buNone/>
              <a:defRPr sz="1800">
                <a:solidFill>
                  <a:schemeClr val="tx1"/>
                </a:solidFill>
                <a:latin typeface="+mn-lt"/>
              </a:defRPr>
            </a:lvl1pPr>
          </a:lstStyle>
          <a:p>
            <a:pPr lvl="0"/>
            <a:r>
              <a:rPr lang="en-US"/>
              <a:t>Click to edit Master text styles</a:t>
            </a:r>
          </a:p>
        </p:txBody>
      </p:sp>
      <p:sp>
        <p:nvSpPr>
          <p:cNvPr id="6" name="Text Placeholder 3">
            <a:extLst>
              <a:ext uri="{FF2B5EF4-FFF2-40B4-BE49-F238E27FC236}">
                <a16:creationId xmlns:a16="http://schemas.microsoft.com/office/drawing/2014/main" id="{615A4495-28D4-B0C4-8CBB-9DBA3BDDA1D0}"/>
              </a:ext>
            </a:extLst>
          </p:cNvPr>
          <p:cNvSpPr>
            <a:spLocks noGrp="1"/>
          </p:cNvSpPr>
          <p:nvPr>
            <p:ph type="body" sz="quarter" idx="23"/>
          </p:nvPr>
        </p:nvSpPr>
        <p:spPr>
          <a:xfrm>
            <a:off x="6095999" y="4105582"/>
            <a:ext cx="4746699" cy="184666"/>
          </a:xfrm>
          <a:prstGeom prst="rect">
            <a:avLst/>
          </a:prstGeom>
        </p:spPr>
        <p:txBody>
          <a:bodyPr wrap="square">
            <a:spAutoFit/>
          </a:bodyPr>
          <a:lstStyle>
            <a:lvl1pPr marL="0" indent="0">
              <a:buFont typeface="Arial" panose="020B0604020202020204" pitchFamily="34" charset="0"/>
              <a:buNone/>
              <a:defRPr sz="1200">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
        <p:nvSpPr>
          <p:cNvPr id="11" name="Text Placeholder 3">
            <a:extLst>
              <a:ext uri="{FF2B5EF4-FFF2-40B4-BE49-F238E27FC236}">
                <a16:creationId xmlns:a16="http://schemas.microsoft.com/office/drawing/2014/main" id="{D72563FE-3906-4A56-E4C7-67E27C0C0A84}"/>
              </a:ext>
            </a:extLst>
          </p:cNvPr>
          <p:cNvSpPr>
            <a:spLocks noGrp="1"/>
          </p:cNvSpPr>
          <p:nvPr>
            <p:ph type="body" sz="quarter" idx="26"/>
          </p:nvPr>
        </p:nvSpPr>
        <p:spPr>
          <a:xfrm>
            <a:off x="758951" y="4477267"/>
            <a:ext cx="4746699" cy="153888"/>
          </a:xfrm>
          <a:prstGeom prst="rect">
            <a:avLst/>
          </a:prstGeom>
        </p:spPr>
        <p:txBody>
          <a:bodyPr wrap="square">
            <a:spAutoFit/>
          </a:bodyPr>
          <a:lstStyle>
            <a:lvl1pPr marL="0" indent="0">
              <a:buFont typeface="Arial" panose="020B0604020202020204" pitchFamily="34" charset="0"/>
              <a:buNone/>
              <a:defRPr sz="10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4" name="Text Placeholder 3">
            <a:extLst>
              <a:ext uri="{FF2B5EF4-FFF2-40B4-BE49-F238E27FC236}">
                <a16:creationId xmlns:a16="http://schemas.microsoft.com/office/drawing/2014/main" id="{57148498-B77D-9298-333F-4426FBCBD1C8}"/>
              </a:ext>
            </a:extLst>
          </p:cNvPr>
          <p:cNvSpPr>
            <a:spLocks noGrp="1"/>
          </p:cNvSpPr>
          <p:nvPr>
            <p:ph type="body" sz="quarter" idx="27"/>
          </p:nvPr>
        </p:nvSpPr>
        <p:spPr>
          <a:xfrm>
            <a:off x="6103500" y="4477267"/>
            <a:ext cx="4746699" cy="153888"/>
          </a:xfrm>
          <a:prstGeom prst="rect">
            <a:avLst/>
          </a:prstGeom>
        </p:spPr>
        <p:txBody>
          <a:bodyPr wrap="square">
            <a:spAutoFit/>
          </a:bodyPr>
          <a:lstStyle>
            <a:lvl1pPr marL="0" indent="0">
              <a:buFont typeface="Arial" panose="020B0604020202020204" pitchFamily="34" charset="0"/>
              <a:buNone/>
              <a:defRPr sz="10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
        <p:nvSpPr>
          <p:cNvPr id="17" name="Text Placeholder 14">
            <a:extLst>
              <a:ext uri="{FF2B5EF4-FFF2-40B4-BE49-F238E27FC236}">
                <a16:creationId xmlns:a16="http://schemas.microsoft.com/office/drawing/2014/main" id="{688B8F41-DEA6-4E80-BA4F-150EEE4A2DF1}"/>
              </a:ext>
            </a:extLst>
          </p:cNvPr>
          <p:cNvSpPr>
            <a:spLocks noGrp="1"/>
          </p:cNvSpPr>
          <p:nvPr>
            <p:ph type="body" sz="quarter" idx="29" hasCustomPrompt="1"/>
          </p:nvPr>
        </p:nvSpPr>
        <p:spPr>
          <a:xfrm>
            <a:off x="599758" y="981710"/>
            <a:ext cx="7040562" cy="215444"/>
          </a:xfrm>
        </p:spPr>
        <p:txBody>
          <a:bodyPr/>
          <a:lstStyle>
            <a:lvl1pPr marL="0" indent="0">
              <a:buNone/>
              <a:defRPr sz="1400"/>
            </a:lvl1pPr>
            <a:lvl2pPr marL="155448" indent="0">
              <a:buNone/>
              <a:defRPr/>
            </a:lvl2pPr>
          </a:lstStyle>
          <a:p>
            <a:pPr lvl="0"/>
            <a:r>
              <a:rPr lang="en-US"/>
              <a:t>Click to edit Master subtitle styles</a:t>
            </a:r>
          </a:p>
        </p:txBody>
      </p:sp>
    </p:spTree>
    <p:extLst>
      <p:ext uri="{BB962C8B-B14F-4D97-AF65-F5344CB8AC3E}">
        <p14:creationId xmlns:p14="http://schemas.microsoft.com/office/powerpoint/2010/main" val="35981978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8">
          <p15:clr>
            <a:srgbClr val="954F72"/>
          </p15:clr>
        </p15:guide>
        <p15:guide id="9" pos="2150">
          <p15:clr>
            <a:srgbClr val="954F72"/>
          </p15:clr>
        </p15:guide>
        <p15:guide id="10" pos="2544">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column_main_point">
    <p:bg>
      <p:bgRef idx="1001">
        <a:schemeClr val="bg1"/>
      </p:bgRef>
    </p:bg>
    <p:spTree>
      <p:nvGrpSpPr>
        <p:cNvPr id="1" name=""/>
        <p:cNvGrpSpPr/>
        <p:nvPr/>
      </p:nvGrpSpPr>
      <p:grpSpPr>
        <a:xfrm>
          <a:off x="0" y="0"/>
          <a:ext cx="0" cy="0"/>
          <a:chOff x="0" y="0"/>
          <a:chExt cx="0" cy="0"/>
        </a:xfrm>
      </p:grpSpPr>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758952" y="2302446"/>
            <a:ext cx="3383280" cy="276999"/>
          </a:xfrm>
          <a:prstGeom prst="rect">
            <a:avLst/>
          </a:prstGeom>
        </p:spPr>
        <p:txBody>
          <a:bodyPr anchor="t"/>
          <a:lstStyle>
            <a:lvl1pPr marL="0" indent="0">
              <a:spcBef>
                <a:spcPts val="0"/>
              </a:spcBef>
              <a:buNone/>
              <a:defRPr sz="1800">
                <a:solidFill>
                  <a:schemeClr val="tx1"/>
                </a:solidFill>
                <a:latin typeface="+mn-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758952" y="4105582"/>
            <a:ext cx="3383280" cy="184666"/>
          </a:xfrm>
          <a:prstGeom prst="rect">
            <a:avLst/>
          </a:prstGeom>
        </p:spPr>
        <p:txBody>
          <a:bodyPr wrap="square">
            <a:spAutoFit/>
          </a:bodyPr>
          <a:lstStyle>
            <a:lvl1pPr marL="0" indent="0">
              <a:buFont typeface="Arial" panose="020B0604020202020204" pitchFamily="34" charset="0"/>
              <a:buNone/>
              <a:defRPr sz="1200">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404360" y="2302446"/>
            <a:ext cx="3383280" cy="276999"/>
          </a:xfrm>
          <a:prstGeom prst="rect">
            <a:avLst/>
          </a:prstGeom>
        </p:spPr>
        <p:txBody>
          <a:bodyPr anchor="t"/>
          <a:lstStyle>
            <a:lvl1pPr marL="0" indent="0">
              <a:spcBef>
                <a:spcPts val="0"/>
              </a:spcBef>
              <a:buNone/>
              <a:defRPr sz="1800">
                <a:solidFill>
                  <a:schemeClr val="tx1"/>
                </a:solidFill>
                <a:latin typeface="+mn-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404360" y="4105582"/>
            <a:ext cx="3383280" cy="184666"/>
          </a:xfrm>
          <a:prstGeom prst="rect">
            <a:avLst/>
          </a:prstGeom>
        </p:spPr>
        <p:txBody>
          <a:bodyPr wrap="square">
            <a:spAutoFit/>
          </a:bodyPr>
          <a:lstStyle>
            <a:lvl1pPr marL="0" indent="0">
              <a:buFont typeface="Arial" panose="020B0604020202020204" pitchFamily="34" charset="0"/>
              <a:buNone/>
              <a:defRPr sz="1200">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061648" y="2302446"/>
            <a:ext cx="3383280" cy="276999"/>
          </a:xfrm>
          <a:prstGeom prst="rect">
            <a:avLst/>
          </a:prstGeom>
        </p:spPr>
        <p:txBody>
          <a:bodyPr anchor="t"/>
          <a:lstStyle>
            <a:lvl1pPr marL="0" indent="0">
              <a:spcBef>
                <a:spcPts val="0"/>
              </a:spcBef>
              <a:buNone/>
              <a:defRPr sz="1800">
                <a:solidFill>
                  <a:schemeClr val="tx1"/>
                </a:solidFill>
                <a:latin typeface="+mn-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061648" y="4105582"/>
            <a:ext cx="3383280" cy="184666"/>
          </a:xfrm>
          <a:prstGeom prst="rect">
            <a:avLst/>
          </a:prstGeom>
        </p:spPr>
        <p:txBody>
          <a:bodyPr wrap="square">
            <a:spAutoFit/>
          </a:bodyPr>
          <a:lstStyle>
            <a:lvl1pPr marL="0" indent="0">
              <a:buFont typeface="Arial" panose="020B0604020202020204" pitchFamily="34" charset="0"/>
              <a:buNone/>
              <a:defRPr sz="1200">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
        <p:nvSpPr>
          <p:cNvPr id="5" name="Text Placeholder 3">
            <a:extLst>
              <a:ext uri="{FF2B5EF4-FFF2-40B4-BE49-F238E27FC236}">
                <a16:creationId xmlns:a16="http://schemas.microsoft.com/office/drawing/2014/main" id="{2269CE39-3016-CD9E-FDFD-E7734F9BDA17}"/>
              </a:ext>
            </a:extLst>
          </p:cNvPr>
          <p:cNvSpPr>
            <a:spLocks noGrp="1"/>
          </p:cNvSpPr>
          <p:nvPr>
            <p:ph type="body" sz="quarter" idx="26"/>
          </p:nvPr>
        </p:nvSpPr>
        <p:spPr>
          <a:xfrm>
            <a:off x="758952" y="4477267"/>
            <a:ext cx="3383280" cy="153888"/>
          </a:xfrm>
          <a:prstGeom prst="rect">
            <a:avLst/>
          </a:prstGeom>
        </p:spPr>
        <p:txBody>
          <a:bodyPr wrap="square">
            <a:spAutoFit/>
          </a:bodyPr>
          <a:lstStyle>
            <a:lvl1pPr marL="0" indent="0">
              <a:buFont typeface="Arial" panose="020B0604020202020204" pitchFamily="34" charset="0"/>
              <a:buNone/>
              <a:defRPr sz="10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6" name="Text Placeholder 3">
            <a:extLst>
              <a:ext uri="{FF2B5EF4-FFF2-40B4-BE49-F238E27FC236}">
                <a16:creationId xmlns:a16="http://schemas.microsoft.com/office/drawing/2014/main" id="{425CBECE-EDDE-67E1-7EC3-7F53FF21D8DC}"/>
              </a:ext>
            </a:extLst>
          </p:cNvPr>
          <p:cNvSpPr>
            <a:spLocks noGrp="1"/>
          </p:cNvSpPr>
          <p:nvPr>
            <p:ph type="body" sz="quarter" idx="27"/>
          </p:nvPr>
        </p:nvSpPr>
        <p:spPr>
          <a:xfrm>
            <a:off x="4411861" y="4477267"/>
            <a:ext cx="3383280" cy="153888"/>
          </a:xfrm>
          <a:prstGeom prst="rect">
            <a:avLst/>
          </a:prstGeom>
        </p:spPr>
        <p:txBody>
          <a:bodyPr wrap="square">
            <a:spAutoFit/>
          </a:bodyPr>
          <a:lstStyle>
            <a:lvl1pPr marL="0" indent="0">
              <a:buFont typeface="Arial" panose="020B0604020202020204" pitchFamily="34" charset="0"/>
              <a:buNone/>
              <a:defRPr sz="10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
        <p:nvSpPr>
          <p:cNvPr id="7" name="Text Placeholder 3">
            <a:extLst>
              <a:ext uri="{FF2B5EF4-FFF2-40B4-BE49-F238E27FC236}">
                <a16:creationId xmlns:a16="http://schemas.microsoft.com/office/drawing/2014/main" id="{D513A133-703C-D321-BB8A-885D27424A56}"/>
              </a:ext>
            </a:extLst>
          </p:cNvPr>
          <p:cNvSpPr>
            <a:spLocks noGrp="1"/>
          </p:cNvSpPr>
          <p:nvPr>
            <p:ph type="body" sz="quarter" idx="28"/>
          </p:nvPr>
        </p:nvSpPr>
        <p:spPr>
          <a:xfrm>
            <a:off x="8069149" y="4477267"/>
            <a:ext cx="3383280" cy="153888"/>
          </a:xfrm>
          <a:prstGeom prst="rect">
            <a:avLst/>
          </a:prstGeom>
        </p:spPr>
        <p:txBody>
          <a:bodyPr wrap="square">
            <a:spAutoFit/>
          </a:bodyPr>
          <a:lstStyle>
            <a:lvl1pPr marL="0" indent="0">
              <a:buFont typeface="Arial" panose="020B0604020202020204" pitchFamily="34" charset="0"/>
              <a:buNone/>
              <a:defRPr sz="10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
        <p:nvSpPr>
          <p:cNvPr id="9" name="Title 8">
            <a:extLst>
              <a:ext uri="{FF2B5EF4-FFF2-40B4-BE49-F238E27FC236}">
                <a16:creationId xmlns:a16="http://schemas.microsoft.com/office/drawing/2014/main" id="{8FA9CF3C-5299-2703-32F5-F1758DD12789}"/>
              </a:ext>
            </a:extLst>
          </p:cNvPr>
          <p:cNvSpPr>
            <a:spLocks noGrp="1"/>
          </p:cNvSpPr>
          <p:nvPr>
            <p:ph type="title"/>
          </p:nvPr>
        </p:nvSpPr>
        <p:spPr/>
        <p:txBody>
          <a:bodyPr/>
          <a:lstStyle/>
          <a:p>
            <a:r>
              <a:rPr lang="en-US"/>
              <a:t>Click to edit Master title style</a:t>
            </a:r>
          </a:p>
        </p:txBody>
      </p:sp>
      <p:sp>
        <p:nvSpPr>
          <p:cNvPr id="15" name="Text Placeholder 14">
            <a:extLst>
              <a:ext uri="{FF2B5EF4-FFF2-40B4-BE49-F238E27FC236}">
                <a16:creationId xmlns:a16="http://schemas.microsoft.com/office/drawing/2014/main" id="{D4A77229-CBF9-6820-B23D-BF79ACB6A92F}"/>
              </a:ext>
            </a:extLst>
          </p:cNvPr>
          <p:cNvSpPr>
            <a:spLocks noGrp="1"/>
          </p:cNvSpPr>
          <p:nvPr>
            <p:ph type="body" sz="quarter" idx="29" hasCustomPrompt="1"/>
          </p:nvPr>
        </p:nvSpPr>
        <p:spPr>
          <a:xfrm>
            <a:off x="599758" y="981710"/>
            <a:ext cx="7040562" cy="215444"/>
          </a:xfrm>
        </p:spPr>
        <p:txBody>
          <a:bodyPr/>
          <a:lstStyle>
            <a:lvl1pPr marL="0" indent="0">
              <a:buNone/>
              <a:defRPr sz="1400"/>
            </a:lvl1pPr>
            <a:lvl2pPr marL="155448" indent="0">
              <a:buNone/>
              <a:defRPr/>
            </a:lvl2pPr>
          </a:lstStyle>
          <a:p>
            <a:pPr lvl="0"/>
            <a:r>
              <a:rPr lang="en-US"/>
              <a:t>Click to edit Master subtitle styles</a:t>
            </a:r>
          </a:p>
        </p:txBody>
      </p:sp>
    </p:spTree>
    <p:extLst>
      <p:ext uri="{BB962C8B-B14F-4D97-AF65-F5344CB8AC3E}">
        <p14:creationId xmlns:p14="http://schemas.microsoft.com/office/powerpoint/2010/main" val="10264606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column_Text_subheads">
    <p:bg>
      <p:bgRef idx="1001">
        <a:schemeClr val="bg1"/>
      </p:bgRef>
    </p:bg>
    <p:spTree>
      <p:nvGrpSpPr>
        <p:cNvPr id="1" name=""/>
        <p:cNvGrpSpPr/>
        <p:nvPr/>
      </p:nvGrpSpPr>
      <p:grpSpPr>
        <a:xfrm>
          <a:off x="0" y="0"/>
          <a:ext cx="0" cy="0"/>
          <a:chOff x="0" y="0"/>
          <a:chExt cx="0" cy="0"/>
        </a:xfrm>
      </p:grpSpPr>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435057" y="2743200"/>
            <a:ext cx="2560320" cy="418918"/>
          </a:xfrm>
          <a:prstGeom prst="rect">
            <a:avLst/>
          </a:prstGeom>
        </p:spPr>
        <p:txBody>
          <a:bodyPr anchor="t"/>
          <a:lstStyle>
            <a:lvl1pPr marL="0" indent="0">
              <a:spcBef>
                <a:spcPts val="0"/>
              </a:spcBef>
              <a:buNone/>
              <a:defRPr sz="2000">
                <a:solidFill>
                  <a:schemeClr val="tx1"/>
                </a:solidFill>
                <a:latin typeface="+mn-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438707" y="3566159"/>
            <a:ext cx="2560320" cy="184666"/>
          </a:xfrm>
          <a:prstGeom prst="rect">
            <a:avLst/>
          </a:prstGeom>
        </p:spPr>
        <p:txBody>
          <a:bodyPr wrap="square">
            <a:spAutoFit/>
          </a:bodyPr>
          <a:lstStyle>
            <a:lvl1pPr marL="0" indent="0">
              <a:buFont typeface="Arial" panose="020B0604020202020204" pitchFamily="34" charset="0"/>
              <a:buNone/>
              <a:defRPr sz="1200">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3369130" y="2743199"/>
            <a:ext cx="2560320" cy="418918"/>
          </a:xfrm>
          <a:prstGeom prst="rect">
            <a:avLst/>
          </a:prstGeom>
        </p:spPr>
        <p:txBody>
          <a:bodyPr anchor="t"/>
          <a:lstStyle>
            <a:lvl1pPr marL="0" indent="0">
              <a:spcBef>
                <a:spcPts val="0"/>
              </a:spcBef>
              <a:buNone/>
              <a:defRPr sz="2000">
                <a:solidFill>
                  <a:schemeClr val="tx1"/>
                </a:solidFill>
                <a:latin typeface="+mn-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3371320" y="3566158"/>
            <a:ext cx="2560320" cy="251351"/>
          </a:xfrm>
          <a:prstGeom prst="rect">
            <a:avLst/>
          </a:prstGeom>
        </p:spPr>
        <p:txBody>
          <a:bodyPr wrap="square">
            <a:spAutoFit/>
          </a:bodyPr>
          <a:lstStyle>
            <a:lvl1pPr marL="0" indent="0">
              <a:buFont typeface="Arial" panose="020B0604020202020204" pitchFamily="34" charset="0"/>
              <a:buNone/>
              <a:defRPr sz="1200">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6301743" y="2743199"/>
            <a:ext cx="2560320" cy="418918"/>
          </a:xfrm>
          <a:prstGeom prst="rect">
            <a:avLst/>
          </a:prstGeom>
        </p:spPr>
        <p:txBody>
          <a:bodyPr anchor="t"/>
          <a:lstStyle>
            <a:lvl1pPr marL="0" indent="0">
              <a:spcBef>
                <a:spcPts val="0"/>
              </a:spcBef>
              <a:buNone/>
              <a:defRPr sz="2000">
                <a:solidFill>
                  <a:schemeClr val="tx1"/>
                </a:solidFill>
                <a:latin typeface="+mn-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6303933" y="3566158"/>
            <a:ext cx="2560320" cy="251351"/>
          </a:xfrm>
          <a:prstGeom prst="rect">
            <a:avLst/>
          </a:prstGeom>
        </p:spPr>
        <p:txBody>
          <a:bodyPr wrap="square">
            <a:spAutoFit/>
          </a:bodyPr>
          <a:lstStyle>
            <a:lvl1pPr marL="0" indent="0">
              <a:buFont typeface="Arial" panose="020B0604020202020204" pitchFamily="34" charset="0"/>
              <a:buNone/>
              <a:defRPr sz="1200">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
        <p:nvSpPr>
          <p:cNvPr id="5" name="Text Placeholder 3">
            <a:extLst>
              <a:ext uri="{FF2B5EF4-FFF2-40B4-BE49-F238E27FC236}">
                <a16:creationId xmlns:a16="http://schemas.microsoft.com/office/drawing/2014/main" id="{2269CE39-3016-CD9E-FDFD-E7734F9BDA17}"/>
              </a:ext>
            </a:extLst>
          </p:cNvPr>
          <p:cNvSpPr>
            <a:spLocks noGrp="1"/>
          </p:cNvSpPr>
          <p:nvPr>
            <p:ph type="body" sz="quarter" idx="26"/>
          </p:nvPr>
        </p:nvSpPr>
        <p:spPr>
          <a:xfrm>
            <a:off x="436517" y="4023359"/>
            <a:ext cx="2560320" cy="153888"/>
          </a:xfrm>
          <a:prstGeom prst="rect">
            <a:avLst/>
          </a:prstGeom>
        </p:spPr>
        <p:txBody>
          <a:bodyPr wrap="square">
            <a:spAutoFit/>
          </a:bodyPr>
          <a:lstStyle>
            <a:lvl1pPr marL="0" indent="0">
              <a:buFont typeface="Arial" panose="020B0604020202020204" pitchFamily="34" charset="0"/>
              <a:buNone/>
              <a:defRPr sz="10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6" name="Text Placeholder 3">
            <a:extLst>
              <a:ext uri="{FF2B5EF4-FFF2-40B4-BE49-F238E27FC236}">
                <a16:creationId xmlns:a16="http://schemas.microsoft.com/office/drawing/2014/main" id="{425CBECE-EDDE-67E1-7EC3-7F53FF21D8DC}"/>
              </a:ext>
            </a:extLst>
          </p:cNvPr>
          <p:cNvSpPr>
            <a:spLocks noGrp="1"/>
          </p:cNvSpPr>
          <p:nvPr>
            <p:ph type="body" sz="quarter" idx="27"/>
          </p:nvPr>
        </p:nvSpPr>
        <p:spPr>
          <a:xfrm>
            <a:off x="3369130" y="4023359"/>
            <a:ext cx="2560320" cy="209458"/>
          </a:xfrm>
          <a:prstGeom prst="rect">
            <a:avLst/>
          </a:prstGeom>
        </p:spPr>
        <p:txBody>
          <a:bodyPr wrap="square">
            <a:spAutoFit/>
          </a:bodyPr>
          <a:lstStyle>
            <a:lvl1pPr marL="0" indent="0">
              <a:buFont typeface="Arial" panose="020B0604020202020204" pitchFamily="34" charset="0"/>
              <a:buNone/>
              <a:defRPr sz="10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
        <p:nvSpPr>
          <p:cNvPr id="7" name="Text Placeholder 3">
            <a:extLst>
              <a:ext uri="{FF2B5EF4-FFF2-40B4-BE49-F238E27FC236}">
                <a16:creationId xmlns:a16="http://schemas.microsoft.com/office/drawing/2014/main" id="{D513A133-703C-D321-BB8A-885D27424A56}"/>
              </a:ext>
            </a:extLst>
          </p:cNvPr>
          <p:cNvSpPr>
            <a:spLocks noGrp="1"/>
          </p:cNvSpPr>
          <p:nvPr>
            <p:ph type="body" sz="quarter" idx="28"/>
          </p:nvPr>
        </p:nvSpPr>
        <p:spPr>
          <a:xfrm>
            <a:off x="6301743" y="4023359"/>
            <a:ext cx="2560320" cy="209458"/>
          </a:xfrm>
          <a:prstGeom prst="rect">
            <a:avLst/>
          </a:prstGeom>
        </p:spPr>
        <p:txBody>
          <a:bodyPr wrap="square">
            <a:spAutoFit/>
          </a:bodyPr>
          <a:lstStyle>
            <a:lvl1pPr marL="0" indent="0">
              <a:buFont typeface="Arial" panose="020B0604020202020204" pitchFamily="34" charset="0"/>
              <a:buNone/>
              <a:defRPr sz="10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
        <p:nvSpPr>
          <p:cNvPr id="9" name="Title 8">
            <a:extLst>
              <a:ext uri="{FF2B5EF4-FFF2-40B4-BE49-F238E27FC236}">
                <a16:creationId xmlns:a16="http://schemas.microsoft.com/office/drawing/2014/main" id="{8FA9CF3C-5299-2703-32F5-F1758DD12789}"/>
              </a:ext>
            </a:extLst>
          </p:cNvPr>
          <p:cNvSpPr>
            <a:spLocks noGrp="1"/>
          </p:cNvSpPr>
          <p:nvPr>
            <p:ph type="title"/>
          </p:nvPr>
        </p:nvSpPr>
        <p:spPr/>
        <p:txBody>
          <a:bodyPr/>
          <a:lstStyle/>
          <a:p>
            <a:r>
              <a:rPr lang="en-US"/>
              <a:t>Click to edit Master title style</a:t>
            </a:r>
          </a:p>
        </p:txBody>
      </p:sp>
      <p:sp>
        <p:nvSpPr>
          <p:cNvPr id="15" name="Text Placeholder 14">
            <a:extLst>
              <a:ext uri="{FF2B5EF4-FFF2-40B4-BE49-F238E27FC236}">
                <a16:creationId xmlns:a16="http://schemas.microsoft.com/office/drawing/2014/main" id="{D4A77229-CBF9-6820-B23D-BF79ACB6A92F}"/>
              </a:ext>
            </a:extLst>
          </p:cNvPr>
          <p:cNvSpPr>
            <a:spLocks noGrp="1"/>
          </p:cNvSpPr>
          <p:nvPr>
            <p:ph type="body" sz="quarter" idx="29" hasCustomPrompt="1"/>
          </p:nvPr>
        </p:nvSpPr>
        <p:spPr>
          <a:xfrm>
            <a:off x="599758" y="981710"/>
            <a:ext cx="7040562" cy="215444"/>
          </a:xfrm>
        </p:spPr>
        <p:txBody>
          <a:bodyPr/>
          <a:lstStyle>
            <a:lvl1pPr marL="0" indent="0">
              <a:buNone/>
              <a:defRPr sz="1400"/>
            </a:lvl1pPr>
            <a:lvl2pPr marL="155448" indent="0">
              <a:buNone/>
              <a:defRPr/>
            </a:lvl2pPr>
          </a:lstStyle>
          <a:p>
            <a:pPr lvl="0"/>
            <a:r>
              <a:rPr lang="en-US"/>
              <a:t>Click to edit Master subtitle styles</a:t>
            </a:r>
          </a:p>
        </p:txBody>
      </p:sp>
      <p:sp>
        <p:nvSpPr>
          <p:cNvPr id="2" name="Text Placeholder 11">
            <a:extLst>
              <a:ext uri="{FF2B5EF4-FFF2-40B4-BE49-F238E27FC236}">
                <a16:creationId xmlns:a16="http://schemas.microsoft.com/office/drawing/2014/main" id="{B98D32C1-8CFA-FA11-CF8A-9D3251A7BB85}"/>
              </a:ext>
            </a:extLst>
          </p:cNvPr>
          <p:cNvSpPr>
            <a:spLocks noGrp="1"/>
          </p:cNvSpPr>
          <p:nvPr>
            <p:ph type="body" sz="quarter" idx="30"/>
          </p:nvPr>
        </p:nvSpPr>
        <p:spPr>
          <a:xfrm>
            <a:off x="9234356" y="2743199"/>
            <a:ext cx="2560320" cy="418918"/>
          </a:xfrm>
          <a:prstGeom prst="rect">
            <a:avLst/>
          </a:prstGeom>
        </p:spPr>
        <p:txBody>
          <a:bodyPr anchor="t"/>
          <a:lstStyle>
            <a:lvl1pPr marL="0" indent="0">
              <a:spcBef>
                <a:spcPts val="0"/>
              </a:spcBef>
              <a:buNone/>
              <a:defRPr sz="2000">
                <a:solidFill>
                  <a:schemeClr val="tx1"/>
                </a:solidFill>
                <a:latin typeface="+mn-lt"/>
              </a:defRPr>
            </a:lvl1pPr>
          </a:lstStyle>
          <a:p>
            <a:pPr lvl="0"/>
            <a:r>
              <a:rPr lang="en-US"/>
              <a:t>Click to edit Master text styles</a:t>
            </a:r>
          </a:p>
        </p:txBody>
      </p:sp>
      <p:sp>
        <p:nvSpPr>
          <p:cNvPr id="8" name="Text Placeholder 3">
            <a:extLst>
              <a:ext uri="{FF2B5EF4-FFF2-40B4-BE49-F238E27FC236}">
                <a16:creationId xmlns:a16="http://schemas.microsoft.com/office/drawing/2014/main" id="{12B2090C-5746-DF6B-6039-9AFC49EB33F2}"/>
              </a:ext>
            </a:extLst>
          </p:cNvPr>
          <p:cNvSpPr>
            <a:spLocks noGrp="1"/>
          </p:cNvSpPr>
          <p:nvPr>
            <p:ph type="body" sz="quarter" idx="31"/>
          </p:nvPr>
        </p:nvSpPr>
        <p:spPr>
          <a:xfrm>
            <a:off x="9236546" y="3566158"/>
            <a:ext cx="2560320" cy="251351"/>
          </a:xfrm>
          <a:prstGeom prst="rect">
            <a:avLst/>
          </a:prstGeom>
        </p:spPr>
        <p:txBody>
          <a:bodyPr wrap="square">
            <a:spAutoFit/>
          </a:bodyPr>
          <a:lstStyle>
            <a:lvl1pPr marL="0" indent="0">
              <a:buFont typeface="Arial" panose="020B0604020202020204" pitchFamily="34" charset="0"/>
              <a:buNone/>
              <a:defRPr sz="1200">
                <a:solidFill>
                  <a:schemeClr val="tx1"/>
                </a:solidFill>
                <a:latin typeface="+mj-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
        <p:nvSpPr>
          <p:cNvPr id="10" name="Text Placeholder 3">
            <a:extLst>
              <a:ext uri="{FF2B5EF4-FFF2-40B4-BE49-F238E27FC236}">
                <a16:creationId xmlns:a16="http://schemas.microsoft.com/office/drawing/2014/main" id="{92252A65-046F-9E87-A4D2-DA6F93EEB880}"/>
              </a:ext>
            </a:extLst>
          </p:cNvPr>
          <p:cNvSpPr>
            <a:spLocks noGrp="1"/>
          </p:cNvSpPr>
          <p:nvPr>
            <p:ph type="body" sz="quarter" idx="32"/>
          </p:nvPr>
        </p:nvSpPr>
        <p:spPr>
          <a:xfrm>
            <a:off x="9234356" y="4023359"/>
            <a:ext cx="2560320" cy="209458"/>
          </a:xfrm>
          <a:prstGeom prst="rect">
            <a:avLst/>
          </a:prstGeom>
        </p:spPr>
        <p:txBody>
          <a:bodyPr wrap="square">
            <a:spAutoFit/>
          </a:bodyPr>
          <a:lstStyle>
            <a:lvl1pPr marL="0" indent="0">
              <a:buFont typeface="Arial" panose="020B0604020202020204" pitchFamily="34" charset="0"/>
              <a:buNone/>
              <a:defRPr sz="10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Tree>
    <p:extLst>
      <p:ext uri="{BB962C8B-B14F-4D97-AF65-F5344CB8AC3E}">
        <p14:creationId xmlns:p14="http://schemas.microsoft.com/office/powerpoint/2010/main" val="4812406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column_Text">
    <p:bg>
      <p:bgRef idx="1001">
        <a:schemeClr val="bg1"/>
      </p:bgRef>
    </p:bg>
    <p:spTree>
      <p:nvGrpSpPr>
        <p:cNvPr id="1" name=""/>
        <p:cNvGrpSpPr/>
        <p:nvPr/>
      </p:nvGrpSpPr>
      <p:grpSpPr>
        <a:xfrm>
          <a:off x="0" y="0"/>
          <a:ext cx="0" cy="0"/>
          <a:chOff x="0" y="0"/>
          <a:chExt cx="0" cy="0"/>
        </a:xfrm>
      </p:grpSpPr>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8263" y="2473693"/>
            <a:ext cx="2377440" cy="418918"/>
          </a:xfrm>
          <a:prstGeom prst="rect">
            <a:avLst/>
          </a:prstGeom>
        </p:spPr>
        <p:txBody>
          <a:bodyPr anchor="t"/>
          <a:lstStyle>
            <a:lvl1pPr marL="0" indent="0">
              <a:spcBef>
                <a:spcPts val="0"/>
              </a:spcBef>
              <a:buNone/>
              <a:defRPr sz="2000">
                <a:solidFill>
                  <a:schemeClr val="tx1"/>
                </a:solidFill>
                <a:latin typeface="+mn-lt"/>
              </a:defRPr>
            </a:lvl1pPr>
          </a:lstStyle>
          <a:p>
            <a:pPr lvl="0"/>
            <a:r>
              <a:rPr lang="en-US"/>
              <a:t>Click to edit Master text styles</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3454961" y="2473692"/>
            <a:ext cx="2377440" cy="418918"/>
          </a:xfrm>
          <a:prstGeom prst="rect">
            <a:avLst/>
          </a:prstGeom>
        </p:spPr>
        <p:txBody>
          <a:bodyPr anchor="t"/>
          <a:lstStyle>
            <a:lvl1pPr marL="0" indent="0">
              <a:spcBef>
                <a:spcPts val="0"/>
              </a:spcBef>
              <a:buNone/>
              <a:defRPr sz="2000">
                <a:solidFill>
                  <a:schemeClr val="tx1"/>
                </a:solidFill>
                <a:latin typeface="+mn-lt"/>
              </a:defRPr>
            </a:lvl1pPr>
          </a:lstStyle>
          <a:p>
            <a:pPr lvl="0"/>
            <a:r>
              <a:rPr lang="en-US"/>
              <a:t>Click to edit Master text styles</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6320199" y="2473692"/>
            <a:ext cx="2377440" cy="418918"/>
          </a:xfrm>
          <a:prstGeom prst="rect">
            <a:avLst/>
          </a:prstGeom>
        </p:spPr>
        <p:txBody>
          <a:bodyPr anchor="t"/>
          <a:lstStyle>
            <a:lvl1pPr marL="0" indent="0">
              <a:spcBef>
                <a:spcPts val="0"/>
              </a:spcBef>
              <a:buNone/>
              <a:defRPr sz="2000">
                <a:solidFill>
                  <a:schemeClr val="tx1"/>
                </a:solidFill>
                <a:latin typeface="+mn-lt"/>
              </a:defRPr>
            </a:lvl1pPr>
          </a:lstStyle>
          <a:p>
            <a:pPr lvl="0"/>
            <a:r>
              <a:rPr lang="en-US"/>
              <a:t>Click to edit Master text styles</a:t>
            </a:r>
          </a:p>
        </p:txBody>
      </p:sp>
      <p:sp>
        <p:nvSpPr>
          <p:cNvPr id="5" name="Text Placeholder 3">
            <a:extLst>
              <a:ext uri="{FF2B5EF4-FFF2-40B4-BE49-F238E27FC236}">
                <a16:creationId xmlns:a16="http://schemas.microsoft.com/office/drawing/2014/main" id="{2269CE39-3016-CD9E-FDFD-E7734F9BDA17}"/>
              </a:ext>
            </a:extLst>
          </p:cNvPr>
          <p:cNvSpPr>
            <a:spLocks noGrp="1"/>
          </p:cNvSpPr>
          <p:nvPr>
            <p:ph type="body" sz="quarter" idx="26"/>
          </p:nvPr>
        </p:nvSpPr>
        <p:spPr>
          <a:xfrm>
            <a:off x="589723" y="3705726"/>
            <a:ext cx="2377440" cy="184666"/>
          </a:xfrm>
          <a:prstGeom prst="rect">
            <a:avLst/>
          </a:prstGeom>
        </p:spPr>
        <p:txBody>
          <a:bodyPr wrap="square">
            <a:spAutoFit/>
          </a:bodyPr>
          <a:lstStyle>
            <a:lvl1pPr marL="0" indent="0">
              <a:buFont typeface="Arial" panose="020B0604020202020204" pitchFamily="34" charset="0"/>
              <a:buNone/>
              <a:defRPr sz="12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p:txBody>
      </p:sp>
      <p:sp>
        <p:nvSpPr>
          <p:cNvPr id="6" name="Text Placeholder 3">
            <a:extLst>
              <a:ext uri="{FF2B5EF4-FFF2-40B4-BE49-F238E27FC236}">
                <a16:creationId xmlns:a16="http://schemas.microsoft.com/office/drawing/2014/main" id="{425CBECE-EDDE-67E1-7EC3-7F53FF21D8DC}"/>
              </a:ext>
            </a:extLst>
          </p:cNvPr>
          <p:cNvSpPr>
            <a:spLocks noGrp="1"/>
          </p:cNvSpPr>
          <p:nvPr>
            <p:ph type="body" sz="quarter" idx="27"/>
          </p:nvPr>
        </p:nvSpPr>
        <p:spPr>
          <a:xfrm>
            <a:off x="3454961" y="3705726"/>
            <a:ext cx="2377440" cy="184666"/>
          </a:xfrm>
          <a:prstGeom prst="rect">
            <a:avLst/>
          </a:prstGeom>
        </p:spPr>
        <p:txBody>
          <a:bodyPr wrap="square">
            <a:spAutoFit/>
          </a:bodyPr>
          <a:lstStyle>
            <a:lvl1pPr marL="0" indent="0">
              <a:buFont typeface="Arial" panose="020B0604020202020204" pitchFamily="34" charset="0"/>
              <a:buNone/>
              <a:defRPr sz="12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
        <p:nvSpPr>
          <p:cNvPr id="7" name="Text Placeholder 3">
            <a:extLst>
              <a:ext uri="{FF2B5EF4-FFF2-40B4-BE49-F238E27FC236}">
                <a16:creationId xmlns:a16="http://schemas.microsoft.com/office/drawing/2014/main" id="{D513A133-703C-D321-BB8A-885D27424A56}"/>
              </a:ext>
            </a:extLst>
          </p:cNvPr>
          <p:cNvSpPr>
            <a:spLocks noGrp="1"/>
          </p:cNvSpPr>
          <p:nvPr>
            <p:ph type="body" sz="quarter" idx="28"/>
          </p:nvPr>
        </p:nvSpPr>
        <p:spPr>
          <a:xfrm>
            <a:off x="6320199" y="3705726"/>
            <a:ext cx="2377440" cy="184666"/>
          </a:xfrm>
          <a:prstGeom prst="rect">
            <a:avLst/>
          </a:prstGeom>
        </p:spPr>
        <p:txBody>
          <a:bodyPr wrap="square">
            <a:spAutoFit/>
          </a:bodyPr>
          <a:lstStyle>
            <a:lvl1pPr marL="0" indent="0">
              <a:buFont typeface="Arial" panose="020B0604020202020204" pitchFamily="34" charset="0"/>
              <a:buNone/>
              <a:defRPr sz="12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
        <p:nvSpPr>
          <p:cNvPr id="9" name="Title 8">
            <a:extLst>
              <a:ext uri="{FF2B5EF4-FFF2-40B4-BE49-F238E27FC236}">
                <a16:creationId xmlns:a16="http://schemas.microsoft.com/office/drawing/2014/main" id="{8FA9CF3C-5299-2703-32F5-F1758DD12789}"/>
              </a:ext>
            </a:extLst>
          </p:cNvPr>
          <p:cNvSpPr>
            <a:spLocks noGrp="1"/>
          </p:cNvSpPr>
          <p:nvPr>
            <p:ph type="title"/>
          </p:nvPr>
        </p:nvSpPr>
        <p:spPr/>
        <p:txBody>
          <a:bodyPr/>
          <a:lstStyle/>
          <a:p>
            <a:r>
              <a:rPr lang="en-US"/>
              <a:t>Click to edit Master title style</a:t>
            </a:r>
          </a:p>
        </p:txBody>
      </p:sp>
      <p:sp>
        <p:nvSpPr>
          <p:cNvPr id="15" name="Text Placeholder 14">
            <a:extLst>
              <a:ext uri="{FF2B5EF4-FFF2-40B4-BE49-F238E27FC236}">
                <a16:creationId xmlns:a16="http://schemas.microsoft.com/office/drawing/2014/main" id="{D4A77229-CBF9-6820-B23D-BF79ACB6A92F}"/>
              </a:ext>
            </a:extLst>
          </p:cNvPr>
          <p:cNvSpPr>
            <a:spLocks noGrp="1"/>
          </p:cNvSpPr>
          <p:nvPr>
            <p:ph type="body" sz="quarter" idx="29" hasCustomPrompt="1"/>
          </p:nvPr>
        </p:nvSpPr>
        <p:spPr>
          <a:xfrm>
            <a:off x="599758" y="981710"/>
            <a:ext cx="7040562" cy="215444"/>
          </a:xfrm>
        </p:spPr>
        <p:txBody>
          <a:bodyPr/>
          <a:lstStyle>
            <a:lvl1pPr marL="0" indent="0">
              <a:buNone/>
              <a:defRPr sz="1400"/>
            </a:lvl1pPr>
            <a:lvl2pPr marL="155448" indent="0">
              <a:buNone/>
              <a:defRPr/>
            </a:lvl2pPr>
          </a:lstStyle>
          <a:p>
            <a:pPr lvl="0"/>
            <a:r>
              <a:rPr lang="en-US"/>
              <a:t>Click to edit Master subtitle styles</a:t>
            </a:r>
          </a:p>
        </p:txBody>
      </p:sp>
      <p:sp>
        <p:nvSpPr>
          <p:cNvPr id="2" name="Text Placeholder 11">
            <a:extLst>
              <a:ext uri="{FF2B5EF4-FFF2-40B4-BE49-F238E27FC236}">
                <a16:creationId xmlns:a16="http://schemas.microsoft.com/office/drawing/2014/main" id="{B98D32C1-8CFA-FA11-CF8A-9D3251A7BB85}"/>
              </a:ext>
            </a:extLst>
          </p:cNvPr>
          <p:cNvSpPr>
            <a:spLocks noGrp="1"/>
          </p:cNvSpPr>
          <p:nvPr>
            <p:ph type="body" sz="quarter" idx="30"/>
          </p:nvPr>
        </p:nvSpPr>
        <p:spPr>
          <a:xfrm>
            <a:off x="9185437" y="2473692"/>
            <a:ext cx="2377440" cy="418918"/>
          </a:xfrm>
          <a:prstGeom prst="rect">
            <a:avLst/>
          </a:prstGeom>
        </p:spPr>
        <p:txBody>
          <a:bodyPr anchor="t"/>
          <a:lstStyle>
            <a:lvl1pPr marL="0" indent="0">
              <a:spcBef>
                <a:spcPts val="0"/>
              </a:spcBef>
              <a:buNone/>
              <a:defRPr sz="2000">
                <a:solidFill>
                  <a:schemeClr val="tx1"/>
                </a:solidFill>
                <a:latin typeface="+mn-lt"/>
              </a:defRPr>
            </a:lvl1pPr>
          </a:lstStyle>
          <a:p>
            <a:pPr lvl="0"/>
            <a:r>
              <a:rPr lang="en-US"/>
              <a:t>Click to edit Master text styles</a:t>
            </a:r>
          </a:p>
        </p:txBody>
      </p:sp>
      <p:sp>
        <p:nvSpPr>
          <p:cNvPr id="10" name="Text Placeholder 3">
            <a:extLst>
              <a:ext uri="{FF2B5EF4-FFF2-40B4-BE49-F238E27FC236}">
                <a16:creationId xmlns:a16="http://schemas.microsoft.com/office/drawing/2014/main" id="{92252A65-046F-9E87-A4D2-DA6F93EEB880}"/>
              </a:ext>
            </a:extLst>
          </p:cNvPr>
          <p:cNvSpPr>
            <a:spLocks noGrp="1"/>
          </p:cNvSpPr>
          <p:nvPr>
            <p:ph type="body" sz="quarter" idx="32"/>
          </p:nvPr>
        </p:nvSpPr>
        <p:spPr>
          <a:xfrm>
            <a:off x="9185437" y="3705726"/>
            <a:ext cx="2377440" cy="184666"/>
          </a:xfrm>
          <a:prstGeom prst="rect">
            <a:avLst/>
          </a:prstGeom>
        </p:spPr>
        <p:txBody>
          <a:bodyPr wrap="square">
            <a:spAutoFit/>
          </a:bodyPr>
          <a:lstStyle>
            <a:lvl1pPr marL="0" indent="0">
              <a:buFont typeface="Arial" panose="020B0604020202020204" pitchFamily="34" charset="0"/>
              <a:buNone/>
              <a:defRPr sz="1200">
                <a:solidFill>
                  <a:schemeClr val="tx1"/>
                </a:solidFill>
                <a:latin typeface="+mn-lt"/>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endParaRPr lang="en-US"/>
          </a:p>
        </p:txBody>
      </p:sp>
    </p:spTree>
    <p:extLst>
      <p:ext uri="{BB962C8B-B14F-4D97-AF65-F5344CB8AC3E}">
        <p14:creationId xmlns:p14="http://schemas.microsoft.com/office/powerpoint/2010/main" val="377396702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ummary page_Big headline">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2E59AFC-909D-1098-D672-A384B97467B1}"/>
              </a:ext>
            </a:extLst>
          </p:cNvPr>
          <p:cNvSpPr>
            <a:spLocks noGrp="1"/>
          </p:cNvSpPr>
          <p:nvPr>
            <p:ph type="title" hasCustomPrompt="1"/>
          </p:nvPr>
        </p:nvSpPr>
        <p:spPr>
          <a:xfrm>
            <a:off x="525081" y="2448062"/>
            <a:ext cx="10430257" cy="1015663"/>
          </a:xfrm>
        </p:spPr>
        <p:txBody>
          <a:bodyPr anchor="b" anchorCtr="0"/>
          <a:lstStyle>
            <a:lvl1pPr>
              <a:defRPr sz="6600" spc="-100" baseline="0">
                <a:latin typeface="+mn-lt"/>
              </a:defRPr>
            </a:lvl1pPr>
          </a:lstStyle>
          <a:p>
            <a:r>
              <a:rPr lang="en-US"/>
              <a:t>Big headline</a:t>
            </a:r>
          </a:p>
        </p:txBody>
      </p:sp>
      <p:sp>
        <p:nvSpPr>
          <p:cNvPr id="9" name="Text Placeholder 3">
            <a:extLst>
              <a:ext uri="{FF2B5EF4-FFF2-40B4-BE49-F238E27FC236}">
                <a16:creationId xmlns:a16="http://schemas.microsoft.com/office/drawing/2014/main" id="{EAE3F76B-93DD-2A11-C7C5-3051EECE9777}"/>
              </a:ext>
            </a:extLst>
          </p:cNvPr>
          <p:cNvSpPr>
            <a:spLocks noGrp="1"/>
          </p:cNvSpPr>
          <p:nvPr>
            <p:ph type="body" sz="quarter" idx="15"/>
          </p:nvPr>
        </p:nvSpPr>
        <p:spPr>
          <a:xfrm>
            <a:off x="586389" y="4278313"/>
            <a:ext cx="5055459"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7477A8E4-EDF0-DDB3-8098-28D44E2342D6}"/>
              </a:ext>
            </a:extLst>
          </p:cNvPr>
          <p:cNvSpPr>
            <a:spLocks noGrp="1"/>
          </p:cNvSpPr>
          <p:nvPr>
            <p:ph type="body" sz="quarter" idx="16"/>
          </p:nvPr>
        </p:nvSpPr>
        <p:spPr>
          <a:xfrm>
            <a:off x="6246409" y="4278313"/>
            <a:ext cx="5055459"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532640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68">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36">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column_Text_with Subheads">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3" name="Text Placeholder 11">
            <a:extLst>
              <a:ext uri="{FF2B5EF4-FFF2-40B4-BE49-F238E27FC236}">
                <a16:creationId xmlns:a16="http://schemas.microsoft.com/office/drawing/2014/main" id="{4759A57E-BDDC-1596-6959-BA7696DE9B08}"/>
              </a:ext>
            </a:extLst>
          </p:cNvPr>
          <p:cNvSpPr>
            <a:spLocks noGrp="1"/>
          </p:cNvSpPr>
          <p:nvPr>
            <p:ph type="body" sz="quarter" idx="24"/>
          </p:nvPr>
        </p:nvSpPr>
        <p:spPr>
          <a:xfrm>
            <a:off x="8130894"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4" name="Text Placeholder 3">
            <a:extLst>
              <a:ext uri="{FF2B5EF4-FFF2-40B4-BE49-F238E27FC236}">
                <a16:creationId xmlns:a16="http://schemas.microsoft.com/office/drawing/2014/main" id="{CDA52B45-289B-E4AF-9D79-083305995111}"/>
              </a:ext>
            </a:extLst>
          </p:cNvPr>
          <p:cNvSpPr>
            <a:spLocks noGrp="1"/>
          </p:cNvSpPr>
          <p:nvPr>
            <p:ph type="body" sz="quarter" idx="25"/>
          </p:nvPr>
        </p:nvSpPr>
        <p:spPr>
          <a:xfrm>
            <a:off x="8133084" y="2286000"/>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565275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4">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_with_subhead">
    <p:bg>
      <p:bgRef idx="1001">
        <a:schemeClr val="bg1"/>
      </p:bgRef>
    </p:bg>
    <p:spTree>
      <p:nvGrpSpPr>
        <p:cNvPr id="1" name=""/>
        <p:cNvGrpSpPr/>
        <p:nvPr/>
      </p:nvGrpSpPr>
      <p:grpSpPr>
        <a:xfrm>
          <a:off x="0" y="0"/>
          <a:ext cx="0" cy="0"/>
          <a:chOff x="0" y="0"/>
          <a:chExt cx="0" cy="0"/>
        </a:xfrm>
      </p:grpSpPr>
      <p:sp>
        <p:nvSpPr>
          <p:cNvPr id="12" name="Title 8">
            <a:extLst>
              <a:ext uri="{FF2B5EF4-FFF2-40B4-BE49-F238E27FC236}">
                <a16:creationId xmlns:a16="http://schemas.microsoft.com/office/drawing/2014/main" id="{A330AEB7-0108-308D-3322-D1243A22EDFF}"/>
              </a:ext>
            </a:extLst>
          </p:cNvPr>
          <p:cNvSpPr>
            <a:spLocks noGrp="1"/>
          </p:cNvSpPr>
          <p:nvPr>
            <p:ph type="title"/>
          </p:nvPr>
        </p:nvSpPr>
        <p:spPr>
          <a:xfrm>
            <a:off x="588263" y="585216"/>
            <a:ext cx="10430257" cy="307777"/>
          </a:xfrm>
        </p:spPr>
        <p:txBody>
          <a:bodyPr/>
          <a:lstStyle/>
          <a:p>
            <a:r>
              <a:rPr lang="en-US"/>
              <a:t>Click to edit Master title style</a:t>
            </a:r>
          </a:p>
        </p:txBody>
      </p:sp>
      <p:sp>
        <p:nvSpPr>
          <p:cNvPr id="13" name="Text Placeholder 14">
            <a:extLst>
              <a:ext uri="{FF2B5EF4-FFF2-40B4-BE49-F238E27FC236}">
                <a16:creationId xmlns:a16="http://schemas.microsoft.com/office/drawing/2014/main" id="{8B77DA5A-F743-4B5D-1234-62763B304580}"/>
              </a:ext>
            </a:extLst>
          </p:cNvPr>
          <p:cNvSpPr>
            <a:spLocks noGrp="1"/>
          </p:cNvSpPr>
          <p:nvPr>
            <p:ph type="body" sz="quarter" idx="29" hasCustomPrompt="1"/>
          </p:nvPr>
        </p:nvSpPr>
        <p:spPr>
          <a:xfrm>
            <a:off x="599758" y="981710"/>
            <a:ext cx="7040562" cy="215444"/>
          </a:xfrm>
        </p:spPr>
        <p:txBody>
          <a:bodyPr/>
          <a:lstStyle>
            <a:lvl1pPr marL="0" indent="0">
              <a:buNone/>
              <a:defRPr sz="1400"/>
            </a:lvl1pPr>
            <a:lvl2pPr marL="155448" indent="0">
              <a:buNone/>
              <a:defRPr/>
            </a:lvl2pPr>
          </a:lstStyle>
          <a:p>
            <a:pPr lvl="0"/>
            <a:r>
              <a:rPr lang="en-US"/>
              <a:t>Click to edit Master subtitle styles</a:t>
            </a:r>
          </a:p>
        </p:txBody>
      </p:sp>
    </p:spTree>
    <p:extLst>
      <p:ext uri="{BB962C8B-B14F-4D97-AF65-F5344CB8AC3E}">
        <p14:creationId xmlns:p14="http://schemas.microsoft.com/office/powerpoint/2010/main" val="11175987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_with Hea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6336ABC-5472-BB4C-ED17-6DA67A219C94}"/>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73401090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6207823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5244083"/>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Blank_with Head_dar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5939915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82952"/>
            <a:ext cx="9144000" cy="553998"/>
          </a:xfrm>
          <a:noFill/>
        </p:spPr>
        <p:txBody>
          <a:bodyPr lIns="0" tIns="0" rIns="0" bIns="0" anchor="b" anchorCtr="0">
            <a:spAutoFit/>
          </a:bodyPr>
          <a:lstStyle>
            <a:lvl1pPr algn="l">
              <a:defRPr sz="3600" spc="-50" baseline="0">
                <a:solidFill>
                  <a:schemeClr val="accent2">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13634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8954"/>
            <a:ext cx="5271593" cy="1107996"/>
          </a:xfrm>
          <a:noFill/>
        </p:spPr>
        <p:txBody>
          <a:bodyPr wrap="square" lIns="0" tIns="0" rIns="0" bIns="0" anchor="b" anchorCtr="0">
            <a:spAutoFit/>
          </a:bodyPr>
          <a:lstStyle>
            <a:lvl1pPr algn="l">
              <a:defRPr sz="3600" spc="-50" baseline="0">
                <a:solidFill>
                  <a:schemeClr val="accent2">
                    <a:lumMod val="60000"/>
                    <a:lumOff val="40000"/>
                  </a:schemeClr>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575301"/>
            <a:ext cx="5344261"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2" name="Picture 1">
            <a:extLst>
              <a:ext uri="{FF2B5EF4-FFF2-40B4-BE49-F238E27FC236}">
                <a16:creationId xmlns:a16="http://schemas.microsoft.com/office/drawing/2014/main" id="{D91670EB-60AE-453D-9BE5-98C5EC262A2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112582" y="1648100"/>
            <a:ext cx="6278047" cy="3965511"/>
          </a:xfrm>
          <a:prstGeom prst="rect">
            <a:avLst/>
          </a:prstGeom>
        </p:spPr>
      </p:pic>
    </p:spTree>
    <p:extLst>
      <p:ext uri="{BB962C8B-B14F-4D97-AF65-F5344CB8AC3E}">
        <p14:creationId xmlns:p14="http://schemas.microsoft.com/office/powerpoint/2010/main" val="244931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8954"/>
            <a:ext cx="5271593" cy="1107996"/>
          </a:xfrm>
          <a:noFill/>
        </p:spPr>
        <p:txBody>
          <a:bodyPr wrap="square" lIns="0" tIns="0" rIns="0" bIns="0" anchor="b" anchorCtr="0">
            <a:spAutoFit/>
          </a:bodyPr>
          <a:lstStyle>
            <a:lvl1pPr algn="l">
              <a:defRPr sz="3600" spc="-50" baseline="0">
                <a:solidFill>
                  <a:schemeClr val="accent2">
                    <a:lumMod val="60000"/>
                    <a:lumOff val="40000"/>
                  </a:schemeClr>
                </a:solidFill>
                <a:latin typeface="+mj-lt"/>
                <a:cs typeface="Segoe UI" panose="020B0502040204020203" pitchFamily="34" charset="0"/>
              </a:defRPr>
            </a:lvl1pPr>
          </a:lstStyle>
          <a:p>
            <a:r>
              <a:rPr lang="en-US"/>
              <a:t>Event name or presentation title </a:t>
            </a:r>
          </a:p>
        </p:txBody>
      </p:sp>
      <p:pic>
        <p:nvPicPr>
          <p:cNvPr id="2" name="Picture 1">
            <a:extLst>
              <a:ext uri="{FF2B5EF4-FFF2-40B4-BE49-F238E27FC236}">
                <a16:creationId xmlns:a16="http://schemas.microsoft.com/office/drawing/2014/main" id="{D91670EB-60AE-453D-9BE5-98C5EC262A2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112582" y="1648100"/>
            <a:ext cx="6278047" cy="3965511"/>
          </a:xfrm>
          <a:prstGeom prst="rect">
            <a:avLst/>
          </a:prstGeom>
        </p:spPr>
      </p:pic>
    </p:spTree>
    <p:extLst>
      <p:ext uri="{BB962C8B-B14F-4D97-AF65-F5344CB8AC3E}">
        <p14:creationId xmlns:p14="http://schemas.microsoft.com/office/powerpoint/2010/main" val="233320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1218671" y="2936557"/>
            <a:ext cx="5210351" cy="492443"/>
          </a:xfrm>
        </p:spPr>
        <p:txBody>
          <a:bodyPr/>
          <a:lstStyle>
            <a:lvl1pPr algn="l">
              <a:defRPr/>
            </a:lvl1pPr>
          </a:lstStyle>
          <a:p>
            <a:r>
              <a:rPr lang="en-US"/>
              <a:t>Click to edit Master title style</a:t>
            </a:r>
          </a:p>
        </p:txBody>
      </p:sp>
      <p:sp>
        <p:nvSpPr>
          <p:cNvPr id="14" name="Text Placeholder 13">
            <a:extLst>
              <a:ext uri="{FF2B5EF4-FFF2-40B4-BE49-F238E27FC236}">
                <a16:creationId xmlns:a16="http://schemas.microsoft.com/office/drawing/2014/main" id="{A2A5EB77-EA4D-9C41-7C6D-57ECBBDEE89E}"/>
              </a:ext>
            </a:extLst>
          </p:cNvPr>
          <p:cNvSpPr>
            <a:spLocks noGrp="1"/>
          </p:cNvSpPr>
          <p:nvPr>
            <p:ph type="body" sz="quarter" idx="33"/>
          </p:nvPr>
        </p:nvSpPr>
        <p:spPr>
          <a:xfrm>
            <a:off x="7422445" y="1433513"/>
            <a:ext cx="3469674" cy="535531"/>
          </a:xfrm>
        </p:spPr>
        <p:txBody>
          <a:bodyPr/>
          <a:lstStyle>
            <a:lvl1pPr>
              <a:defRPr sz="1800"/>
            </a:lvl1pPr>
            <a:lvl2pPr>
              <a:defRPr sz="1400"/>
            </a:lvl2pPr>
            <a:lvl3pPr>
              <a:defRPr sz="1050"/>
            </a:lvl3pPr>
            <a:lvl4pPr>
              <a:defRPr sz="1000"/>
            </a:lvl4pPr>
            <a:lvl5pPr>
              <a:defRPr sz="1000"/>
            </a:lvl5pPr>
          </a:lstStyle>
          <a:p>
            <a:pPr lvl="0"/>
            <a:r>
              <a:rPr lang="en-US"/>
              <a:t>Click to edit Master text styles</a:t>
            </a:r>
          </a:p>
          <a:p>
            <a:pPr lvl="1"/>
            <a:r>
              <a:rPr lang="en-US"/>
              <a:t>Second level</a:t>
            </a:r>
          </a:p>
        </p:txBody>
      </p:sp>
      <p:sp>
        <p:nvSpPr>
          <p:cNvPr id="15" name="Text Placeholder 13">
            <a:extLst>
              <a:ext uri="{FF2B5EF4-FFF2-40B4-BE49-F238E27FC236}">
                <a16:creationId xmlns:a16="http://schemas.microsoft.com/office/drawing/2014/main" id="{B0B65BC3-67DE-CE61-136D-F46B67F7A824}"/>
              </a:ext>
            </a:extLst>
          </p:cNvPr>
          <p:cNvSpPr>
            <a:spLocks noGrp="1"/>
          </p:cNvSpPr>
          <p:nvPr>
            <p:ph type="body" sz="quarter" idx="34"/>
          </p:nvPr>
        </p:nvSpPr>
        <p:spPr>
          <a:xfrm>
            <a:off x="7422445" y="2913327"/>
            <a:ext cx="3469674" cy="535531"/>
          </a:xfrm>
        </p:spPr>
        <p:txBody>
          <a:bodyPr/>
          <a:lstStyle>
            <a:lvl1pPr>
              <a:defRPr sz="1800"/>
            </a:lvl1pPr>
            <a:lvl2pPr>
              <a:defRPr sz="1400"/>
            </a:lvl2pPr>
            <a:lvl3pPr>
              <a:defRPr sz="1050"/>
            </a:lvl3pPr>
            <a:lvl4pPr>
              <a:defRPr sz="1000"/>
            </a:lvl4pPr>
            <a:lvl5pPr>
              <a:defRPr sz="1000"/>
            </a:lvl5pPr>
          </a:lstStyle>
          <a:p>
            <a:pPr lvl="0"/>
            <a:r>
              <a:rPr lang="en-US"/>
              <a:t>Click to edit Master text styles</a:t>
            </a:r>
          </a:p>
          <a:p>
            <a:pPr lvl="1"/>
            <a:r>
              <a:rPr lang="en-US"/>
              <a:t>Second level</a:t>
            </a:r>
          </a:p>
        </p:txBody>
      </p:sp>
      <p:sp>
        <p:nvSpPr>
          <p:cNvPr id="16" name="Text Placeholder 13">
            <a:extLst>
              <a:ext uri="{FF2B5EF4-FFF2-40B4-BE49-F238E27FC236}">
                <a16:creationId xmlns:a16="http://schemas.microsoft.com/office/drawing/2014/main" id="{718FD695-614D-1BBE-607B-49B7015B4D0F}"/>
              </a:ext>
            </a:extLst>
          </p:cNvPr>
          <p:cNvSpPr>
            <a:spLocks noGrp="1"/>
          </p:cNvSpPr>
          <p:nvPr>
            <p:ph type="body" sz="quarter" idx="35"/>
          </p:nvPr>
        </p:nvSpPr>
        <p:spPr>
          <a:xfrm>
            <a:off x="7422445" y="4460874"/>
            <a:ext cx="3469674" cy="535531"/>
          </a:xfrm>
        </p:spPr>
        <p:txBody>
          <a:bodyPr/>
          <a:lstStyle>
            <a:lvl1pPr>
              <a:defRPr sz="1800"/>
            </a:lvl1pPr>
            <a:lvl2pPr>
              <a:defRPr sz="1400"/>
            </a:lvl2pPr>
            <a:lvl3pPr>
              <a:defRPr sz="1050"/>
            </a:lvl3pPr>
            <a:lvl4pPr>
              <a:defRPr sz="1000"/>
            </a:lvl4pPr>
            <a:lvl5pPr>
              <a:defRPr sz="1000"/>
            </a:lvl5pPr>
          </a:lstStyle>
          <a:p>
            <a:pPr lvl="0"/>
            <a:r>
              <a:rPr lang="en-US"/>
              <a:t>Click to edit Master text styles</a:t>
            </a:r>
          </a:p>
          <a:p>
            <a:pPr lvl="1"/>
            <a:r>
              <a:rPr lang="en-US"/>
              <a:t>Second level</a:t>
            </a:r>
          </a:p>
        </p:txBody>
      </p:sp>
      <p:sp>
        <p:nvSpPr>
          <p:cNvPr id="17" name="Text Placeholder 13">
            <a:extLst>
              <a:ext uri="{FF2B5EF4-FFF2-40B4-BE49-F238E27FC236}">
                <a16:creationId xmlns:a16="http://schemas.microsoft.com/office/drawing/2014/main" id="{6D16E62E-1242-3197-A09B-081FABC7D9D2}"/>
              </a:ext>
            </a:extLst>
          </p:cNvPr>
          <p:cNvSpPr>
            <a:spLocks noGrp="1"/>
          </p:cNvSpPr>
          <p:nvPr>
            <p:ph type="body" sz="quarter" idx="36"/>
          </p:nvPr>
        </p:nvSpPr>
        <p:spPr>
          <a:xfrm>
            <a:off x="7224888" y="6269038"/>
            <a:ext cx="4515556" cy="138499"/>
          </a:xfrm>
        </p:spPr>
        <p:txBody>
          <a:bodyPr/>
          <a:lstStyle>
            <a:lvl1pPr marL="169863" indent="-169863">
              <a:spcBef>
                <a:spcPts val="0"/>
              </a:spcBef>
              <a:buFont typeface="+mj-lt"/>
              <a:buAutoNum type="arabicPeriod"/>
              <a:defRPr sz="900"/>
            </a:lvl1pPr>
            <a:lvl2pPr>
              <a:defRPr sz="1600"/>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12451003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FB489EA-4790-F829-D42A-77C6CAC0611D}"/>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469565" y="3369811"/>
            <a:ext cx="2468880" cy="3534642"/>
          </a:xfrm>
          <a:prstGeom prst="rect">
            <a:avLst/>
          </a:prstGeom>
        </p:spPr>
      </p:pic>
      <p:pic>
        <p:nvPicPr>
          <p:cNvPr id="15" name="Picture 6">
            <a:extLst>
              <a:ext uri="{FF2B5EF4-FFF2-40B4-BE49-F238E27FC236}">
                <a16:creationId xmlns:a16="http://schemas.microsoft.com/office/drawing/2014/main" id="{8EBA192C-EBFD-47A7-87DF-80C6D2D4BF3A}"/>
              </a:ext>
              <a:ext uri="{C183D7F6-B498-43B3-948B-1728B52AA6E4}">
                <adec:decorative xmlns:adec="http://schemas.microsoft.com/office/drawing/2017/decorative" val="1"/>
              </a:ext>
            </a:extLst>
          </p:cNvPr>
          <p:cNvPicPr>
            <a:picLocks noChangeAspect="1" noChangeArrowheads="1"/>
          </p:cNvPicPr>
          <p:nvPr userDrawn="1"/>
        </p:nvPicPr>
        <p:blipFill rotWithShape="1">
          <a:blip r:embed="rId3">
            <a:extLst>
              <a:ext uri="{28A0092B-C50C-407E-A947-70E740481C1C}">
                <a14:useLocalDpi xmlns:a14="http://schemas.microsoft.com/office/drawing/2010/main"/>
              </a:ext>
            </a:extLst>
          </a:blip>
          <a:srcRect/>
          <a:stretch/>
        </p:blipFill>
        <p:spPr bwMode="auto">
          <a:xfrm>
            <a:off x="0" y="3369812"/>
            <a:ext cx="2468880" cy="359820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a:extLst>
              <a:ext uri="{FF2B5EF4-FFF2-40B4-BE49-F238E27FC236}">
                <a16:creationId xmlns:a16="http://schemas.microsoft.com/office/drawing/2014/main" id="{D276CA62-26D5-6158-E2D1-B70F78A025E2}"/>
              </a:ext>
              <a:ext uri="{C183D7F6-B498-43B3-948B-1728B52AA6E4}">
                <adec:decorative xmlns:adec="http://schemas.microsoft.com/office/drawing/2017/decorative" val="1"/>
              </a:ext>
            </a:extLst>
          </p:cNvPr>
          <p:cNvPicPr>
            <a:picLocks noChangeAspect="1" noChangeArrowheads="1"/>
          </p:cNvPicPr>
          <p:nvPr userDrawn="1"/>
        </p:nvPicPr>
        <p:blipFill rotWithShape="1">
          <a:blip r:embed="rId4">
            <a:extLst>
              <a:ext uri="{28A0092B-C50C-407E-A947-70E740481C1C}">
                <a14:useLocalDpi xmlns:a14="http://schemas.microsoft.com/office/drawing/2010/main"/>
              </a:ext>
            </a:extLst>
          </a:blip>
          <a:srcRect/>
          <a:stretch/>
        </p:blipFill>
        <p:spPr bwMode="auto">
          <a:xfrm>
            <a:off x="7408695" y="3370612"/>
            <a:ext cx="2468880" cy="348738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4">
            <a:extLst>
              <a:ext uri="{FF2B5EF4-FFF2-40B4-BE49-F238E27FC236}">
                <a16:creationId xmlns:a16="http://schemas.microsoft.com/office/drawing/2014/main" id="{27C2964D-E07F-70A8-5AF7-2EE08AEB45BD}"/>
              </a:ext>
              <a:ext uri="{C183D7F6-B498-43B3-948B-1728B52AA6E4}">
                <adec:decorative xmlns:adec="http://schemas.microsoft.com/office/drawing/2017/decorative" val="1"/>
              </a:ext>
            </a:extLst>
          </p:cNvPr>
          <p:cNvPicPr>
            <a:picLocks noChangeAspect="1" noChangeArrowheads="1"/>
          </p:cNvPicPr>
          <p:nvPr userDrawn="1"/>
        </p:nvPicPr>
        <p:blipFill rotWithShape="1">
          <a:blip r:embed="rId5">
            <a:extLst>
              <a:ext uri="{28A0092B-C50C-407E-A947-70E740481C1C}">
                <a14:useLocalDpi xmlns:a14="http://schemas.microsoft.com/office/drawing/2010/main"/>
              </a:ext>
            </a:extLst>
          </a:blip>
          <a:srcRect/>
          <a:stretch/>
        </p:blipFill>
        <p:spPr bwMode="auto">
          <a:xfrm>
            <a:off x="4939130" y="3360227"/>
            <a:ext cx="2468880" cy="349777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6">
            <a:extLst>
              <a:ext uri="{FF2B5EF4-FFF2-40B4-BE49-F238E27FC236}">
                <a16:creationId xmlns:a16="http://schemas.microsoft.com/office/drawing/2014/main" id="{740A5470-034D-2AAF-AD84-3CB2B86F7439}"/>
              </a:ext>
              <a:ext uri="{C183D7F6-B498-43B3-948B-1728B52AA6E4}">
                <adec:decorative xmlns:adec="http://schemas.microsoft.com/office/drawing/2017/decorative" val="1"/>
              </a:ext>
            </a:extLst>
          </p:cNvPr>
          <p:cNvPicPr>
            <a:picLocks noChangeAspect="1" noChangeArrowheads="1"/>
          </p:cNvPicPr>
          <p:nvPr userDrawn="1"/>
        </p:nvPicPr>
        <p:blipFill rotWithShape="1">
          <a:blip r:embed="rId6">
            <a:extLst>
              <a:ext uri="{28A0092B-C50C-407E-A947-70E740481C1C}">
                <a14:useLocalDpi xmlns:a14="http://schemas.microsoft.com/office/drawing/2010/main"/>
              </a:ext>
            </a:extLst>
          </a:blip>
          <a:srcRect/>
          <a:stretch/>
        </p:blipFill>
        <p:spPr bwMode="auto">
          <a:xfrm>
            <a:off x="9878261" y="3355971"/>
            <a:ext cx="2468880" cy="349777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a:extLst>
              <a:ext uri="{FF2B5EF4-FFF2-40B4-BE49-F238E27FC236}">
                <a16:creationId xmlns:a16="http://schemas.microsoft.com/office/drawing/2014/main" id="{1E10750C-B960-49DF-258D-17D2A729C944}"/>
              </a:ext>
              <a:ext uri="{C183D7F6-B498-43B3-948B-1728B52AA6E4}">
                <adec:decorative xmlns:adec="http://schemas.microsoft.com/office/drawing/2017/decorative" val="1"/>
              </a:ext>
            </a:extLst>
          </p:cNvPr>
          <p:cNvPicPr>
            <a:picLocks noChangeAspect="1" noChangeArrowheads="1"/>
          </p:cNvPicPr>
          <p:nvPr userDrawn="1"/>
        </p:nvPicPr>
        <p:blipFill rotWithShape="1">
          <a:blip r:embed="rId7">
            <a:clrChange>
              <a:clrFrom>
                <a:srgbClr val="191919"/>
              </a:clrFrom>
              <a:clrTo>
                <a:srgbClr val="191919">
                  <a:alpha val="0"/>
                </a:srgbClr>
              </a:clrTo>
            </a:clrChange>
            <a:alphaModFix amt="65000"/>
            <a:duotone>
              <a:prstClr val="black"/>
              <a:schemeClr val="accent2">
                <a:tint val="45000"/>
                <a:satMod val="400000"/>
              </a:schemeClr>
            </a:duotone>
            <a:extLst>
              <a:ext uri="{BEBA8EAE-BF5A-486C-A8C5-ECC9F3942E4B}">
                <a14:imgProps xmlns:a14="http://schemas.microsoft.com/office/drawing/2010/main">
                  <a14:imgLayer r:embed="rId8">
                    <a14:imgEffect>
                      <a14:brightnessContrast bright="31000" contrast="34000"/>
                    </a14:imgEffect>
                  </a14:imgLayer>
                </a14:imgProps>
              </a:ext>
              <a:ext uri="{28A0092B-C50C-407E-A947-70E740481C1C}">
                <a14:useLocalDpi xmlns:a14="http://schemas.microsoft.com/office/drawing/2010/main"/>
              </a:ext>
            </a:extLst>
          </a:blip>
          <a:srcRect/>
          <a:stretch/>
        </p:blipFill>
        <p:spPr bwMode="auto">
          <a:xfrm>
            <a:off x="-200" y="1716913"/>
            <a:ext cx="12192000" cy="1742873"/>
          </a:xfrm>
          <a:prstGeom prst="rect">
            <a:avLst/>
          </a:prstGeom>
          <a:solidFill>
            <a:schemeClr val="bg1"/>
          </a:solidFill>
        </p:spPr>
      </p:pic>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22" name="Text Placeholder 16">
            <a:extLst>
              <a:ext uri="{FF2B5EF4-FFF2-40B4-BE49-F238E27FC236}">
                <a16:creationId xmlns:a16="http://schemas.microsoft.com/office/drawing/2014/main" id="{9E09207B-315B-CD41-1A26-A2A4AE7845AC}"/>
              </a:ext>
            </a:extLst>
          </p:cNvPr>
          <p:cNvSpPr>
            <a:spLocks noGrp="1"/>
          </p:cNvSpPr>
          <p:nvPr>
            <p:ph type="body" sz="quarter" idx="26" hasCustomPrompt="1"/>
          </p:nvPr>
        </p:nvSpPr>
        <p:spPr>
          <a:xfrm>
            <a:off x="3138444" y="2021045"/>
            <a:ext cx="1143695"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Redmond WA</a:t>
            </a:r>
          </a:p>
        </p:txBody>
      </p:sp>
      <p:sp>
        <p:nvSpPr>
          <p:cNvPr id="25" name="Text Placeholder 16">
            <a:extLst>
              <a:ext uri="{FF2B5EF4-FFF2-40B4-BE49-F238E27FC236}">
                <a16:creationId xmlns:a16="http://schemas.microsoft.com/office/drawing/2014/main" id="{1E8C4C33-84BE-E627-6A69-62586F9FB58D}"/>
              </a:ext>
            </a:extLst>
          </p:cNvPr>
          <p:cNvSpPr>
            <a:spLocks noGrp="1"/>
          </p:cNvSpPr>
          <p:nvPr>
            <p:ph type="body" sz="quarter" idx="28" hasCustomPrompt="1"/>
          </p:nvPr>
        </p:nvSpPr>
        <p:spPr>
          <a:xfrm>
            <a:off x="4315101" y="2080457"/>
            <a:ext cx="814325"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Montreal </a:t>
            </a:r>
            <a:r>
              <a:rPr lang="en-US" sz="1000" err="1">
                <a:solidFill>
                  <a:schemeClr val="accent2">
                    <a:lumMod val="60000"/>
                    <a:lumOff val="40000"/>
                  </a:schemeClr>
                </a:solidFill>
                <a:latin typeface="Segoe UI Semibold"/>
                <a:ea typeface="MS PGothic" charset="0"/>
              </a:rPr>
              <a:t>QB</a:t>
            </a:r>
            <a:endPar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endParaRPr>
          </a:p>
        </p:txBody>
      </p:sp>
      <p:sp>
        <p:nvSpPr>
          <p:cNvPr id="23" name="Text Placeholder 16">
            <a:extLst>
              <a:ext uri="{FF2B5EF4-FFF2-40B4-BE49-F238E27FC236}">
                <a16:creationId xmlns:a16="http://schemas.microsoft.com/office/drawing/2014/main" id="{B180CC2A-9180-8F2C-7C9D-369A7C836215}"/>
              </a:ext>
            </a:extLst>
          </p:cNvPr>
          <p:cNvSpPr>
            <a:spLocks noGrp="1"/>
          </p:cNvSpPr>
          <p:nvPr>
            <p:ph type="body" sz="quarter" idx="27" hasCustomPrompt="1"/>
          </p:nvPr>
        </p:nvSpPr>
        <p:spPr>
          <a:xfrm>
            <a:off x="3944109" y="2580436"/>
            <a:ext cx="852655"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New York NY</a:t>
            </a:r>
          </a:p>
        </p:txBody>
      </p:sp>
      <p:sp>
        <p:nvSpPr>
          <p:cNvPr id="26" name="Text Placeholder 16">
            <a:extLst>
              <a:ext uri="{FF2B5EF4-FFF2-40B4-BE49-F238E27FC236}">
                <a16:creationId xmlns:a16="http://schemas.microsoft.com/office/drawing/2014/main" id="{4D60EFF1-41A8-400B-58F7-F21D327E39E6}"/>
              </a:ext>
            </a:extLst>
          </p:cNvPr>
          <p:cNvSpPr>
            <a:spLocks noGrp="1"/>
          </p:cNvSpPr>
          <p:nvPr>
            <p:ph type="body" sz="quarter" idx="29" hasCustomPrompt="1"/>
          </p:nvPr>
        </p:nvSpPr>
        <p:spPr>
          <a:xfrm>
            <a:off x="4952105" y="2479886"/>
            <a:ext cx="743793"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Boston MA</a:t>
            </a:r>
          </a:p>
        </p:txBody>
      </p:sp>
      <p:sp>
        <p:nvSpPr>
          <p:cNvPr id="27" name="Text Placeholder 16">
            <a:extLst>
              <a:ext uri="{FF2B5EF4-FFF2-40B4-BE49-F238E27FC236}">
                <a16:creationId xmlns:a16="http://schemas.microsoft.com/office/drawing/2014/main" id="{AD7AFC13-F8C9-0499-7DAB-785D8552119F}"/>
              </a:ext>
            </a:extLst>
          </p:cNvPr>
          <p:cNvSpPr>
            <a:spLocks noGrp="1"/>
          </p:cNvSpPr>
          <p:nvPr>
            <p:ph type="body" sz="quarter" idx="30" hasCustomPrompt="1"/>
          </p:nvPr>
        </p:nvSpPr>
        <p:spPr>
          <a:xfrm>
            <a:off x="5578411" y="2104235"/>
            <a:ext cx="934932"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Cambridge, UK</a:t>
            </a:r>
          </a:p>
        </p:txBody>
      </p:sp>
      <p:sp>
        <p:nvSpPr>
          <p:cNvPr id="28" name="Text Placeholder 16">
            <a:extLst>
              <a:ext uri="{FF2B5EF4-FFF2-40B4-BE49-F238E27FC236}">
                <a16:creationId xmlns:a16="http://schemas.microsoft.com/office/drawing/2014/main" id="{304AF950-7315-BE37-9ABF-29F42E6AB433}"/>
              </a:ext>
            </a:extLst>
          </p:cNvPr>
          <p:cNvSpPr>
            <a:spLocks noGrp="1"/>
          </p:cNvSpPr>
          <p:nvPr>
            <p:ph type="body" sz="quarter" idx="31" hasCustomPrompt="1"/>
          </p:nvPr>
        </p:nvSpPr>
        <p:spPr>
          <a:xfrm>
            <a:off x="6935834" y="2609416"/>
            <a:ext cx="372501"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India</a:t>
            </a:r>
          </a:p>
        </p:txBody>
      </p:sp>
      <p:sp>
        <p:nvSpPr>
          <p:cNvPr id="29" name="Text Placeholder 16">
            <a:extLst>
              <a:ext uri="{FF2B5EF4-FFF2-40B4-BE49-F238E27FC236}">
                <a16:creationId xmlns:a16="http://schemas.microsoft.com/office/drawing/2014/main" id="{1A25394B-ED25-C474-36F4-A161B382C4BA}"/>
              </a:ext>
            </a:extLst>
          </p:cNvPr>
          <p:cNvSpPr>
            <a:spLocks noGrp="1"/>
          </p:cNvSpPr>
          <p:nvPr>
            <p:ph type="body" sz="quarter" idx="32" hasCustomPrompt="1"/>
          </p:nvPr>
        </p:nvSpPr>
        <p:spPr>
          <a:xfrm>
            <a:off x="7806126" y="2034985"/>
            <a:ext cx="1002007" cy="122943"/>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Beijing, China</a:t>
            </a:r>
          </a:p>
        </p:txBody>
      </p:sp>
      <p:sp>
        <p:nvSpPr>
          <p:cNvPr id="30" name="Text Placeholder 16">
            <a:extLst>
              <a:ext uri="{FF2B5EF4-FFF2-40B4-BE49-F238E27FC236}">
                <a16:creationId xmlns:a16="http://schemas.microsoft.com/office/drawing/2014/main" id="{7C4547F5-C573-63D1-5B60-BDC14DEC4B7F}"/>
              </a:ext>
            </a:extLst>
          </p:cNvPr>
          <p:cNvSpPr>
            <a:spLocks noGrp="1"/>
          </p:cNvSpPr>
          <p:nvPr>
            <p:ph type="body" sz="quarter" idx="33" hasCustomPrompt="1"/>
          </p:nvPr>
        </p:nvSpPr>
        <p:spPr>
          <a:xfrm>
            <a:off x="7981903" y="2460444"/>
            <a:ext cx="1002007" cy="138499"/>
          </a:xfrm>
        </p:spPr>
        <p:txBody>
          <a:bodyPr anchor="ctr"/>
          <a:lstStyle>
            <a:lvl1pPr algn="l">
              <a:defRPr kumimoji="0" lang="en-US" sz="1000" b="0" i="0" u="none" strike="noStrike" kern="1200" cap="none" spc="0" normalizeH="0" baseline="0" dirty="0">
                <a:ln>
                  <a:noFill/>
                </a:ln>
                <a:solidFill>
                  <a:schemeClr val="accent2">
                    <a:lumMod val="60000"/>
                    <a:lumOff val="40000"/>
                  </a:schemeClr>
                </a:solidFill>
                <a:effectLst/>
                <a:uLnTx/>
                <a:uFillTx/>
                <a:latin typeface="Segoe UI Semibold"/>
                <a:ea typeface="MS PGothic" charset="0"/>
                <a:cs typeface="+mn-cs"/>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l" defTabSz="914016"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chemeClr val="accent2">
                    <a:lumMod val="60000"/>
                    <a:lumOff val="40000"/>
                  </a:schemeClr>
                </a:solidFill>
                <a:effectLst/>
                <a:uLnTx/>
                <a:uFillTx/>
                <a:latin typeface="Segoe UI Semibold"/>
                <a:ea typeface="MS PGothic" charset="0"/>
                <a:cs typeface="+mn-cs"/>
              </a:rPr>
              <a:t>Shanghai, China</a:t>
            </a:r>
          </a:p>
        </p:txBody>
      </p:sp>
      <p:sp>
        <p:nvSpPr>
          <p:cNvPr id="8" name="Text Placeholder 16">
            <a:extLst>
              <a:ext uri="{FF2B5EF4-FFF2-40B4-BE49-F238E27FC236}">
                <a16:creationId xmlns:a16="http://schemas.microsoft.com/office/drawing/2014/main" id="{CFBC4B62-488A-C843-48B4-593D3C2DE83B}"/>
              </a:ext>
            </a:extLst>
          </p:cNvPr>
          <p:cNvSpPr>
            <a:spLocks noGrp="1"/>
          </p:cNvSpPr>
          <p:nvPr>
            <p:ph type="body" sz="quarter" idx="21"/>
          </p:nvPr>
        </p:nvSpPr>
        <p:spPr>
          <a:xfrm>
            <a:off x="214532"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9" name="Text Placeholder 16">
            <a:extLst>
              <a:ext uri="{FF2B5EF4-FFF2-40B4-BE49-F238E27FC236}">
                <a16:creationId xmlns:a16="http://schemas.microsoft.com/office/drawing/2014/main" id="{2BC3DD05-86FB-888A-671F-0811DD343112}"/>
              </a:ext>
            </a:extLst>
          </p:cNvPr>
          <p:cNvSpPr>
            <a:spLocks noGrp="1"/>
          </p:cNvSpPr>
          <p:nvPr>
            <p:ph type="body" sz="quarter" idx="22"/>
          </p:nvPr>
        </p:nvSpPr>
        <p:spPr>
          <a:xfrm>
            <a:off x="2520662"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0" name="Text Placeholder 16">
            <a:extLst>
              <a:ext uri="{FF2B5EF4-FFF2-40B4-BE49-F238E27FC236}">
                <a16:creationId xmlns:a16="http://schemas.microsoft.com/office/drawing/2014/main" id="{EE17FFC2-280B-9E27-FE70-58CBA622AC04}"/>
              </a:ext>
            </a:extLst>
          </p:cNvPr>
          <p:cNvSpPr>
            <a:spLocks noGrp="1"/>
          </p:cNvSpPr>
          <p:nvPr>
            <p:ph type="body" sz="quarter" idx="23"/>
          </p:nvPr>
        </p:nvSpPr>
        <p:spPr>
          <a:xfrm>
            <a:off x="5008298"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1" name="Text Placeholder 16">
            <a:extLst>
              <a:ext uri="{FF2B5EF4-FFF2-40B4-BE49-F238E27FC236}">
                <a16:creationId xmlns:a16="http://schemas.microsoft.com/office/drawing/2014/main" id="{2F03A867-6C1B-37F0-059D-671A663EA9BE}"/>
              </a:ext>
            </a:extLst>
          </p:cNvPr>
          <p:cNvSpPr>
            <a:spLocks noGrp="1"/>
          </p:cNvSpPr>
          <p:nvPr>
            <p:ph type="body" sz="quarter" idx="24"/>
          </p:nvPr>
        </p:nvSpPr>
        <p:spPr>
          <a:xfrm>
            <a:off x="7635640"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2" name="Text Placeholder 16">
            <a:extLst>
              <a:ext uri="{FF2B5EF4-FFF2-40B4-BE49-F238E27FC236}">
                <a16:creationId xmlns:a16="http://schemas.microsoft.com/office/drawing/2014/main" id="{EF98120D-AEE1-0D5F-5D29-F4D97BC151F5}"/>
              </a:ext>
            </a:extLst>
          </p:cNvPr>
          <p:cNvSpPr>
            <a:spLocks noGrp="1"/>
          </p:cNvSpPr>
          <p:nvPr>
            <p:ph type="body" sz="quarter" idx="25"/>
          </p:nvPr>
        </p:nvSpPr>
        <p:spPr>
          <a:xfrm>
            <a:off x="10090756" y="3863446"/>
            <a:ext cx="1901952" cy="1415772"/>
          </a:xfrm>
        </p:spPr>
        <p:txBody>
          <a:bodyPr/>
          <a:lstStyle>
            <a:lvl1pPr algn="ctr">
              <a:defRPr lang="en-US" sz="7200" kern="1200" spc="-50" dirty="0">
                <a:gradFill flip="none" rotWithShape="1">
                  <a:gsLst>
                    <a:gs pos="0">
                      <a:srgbClr val="50E6FF"/>
                    </a:gs>
                    <a:gs pos="100000">
                      <a:srgbClr val="8661C5"/>
                    </a:gs>
                  </a:gsLst>
                  <a:lin ang="2700000" scaled="1"/>
                  <a:tileRect/>
                </a:gradFill>
                <a:latin typeface="Segoe UI Semibold"/>
                <a:ea typeface="Segoe UI" pitchFamily="34" charset="0"/>
                <a:cs typeface="Segoe UI" pitchFamily="34" charset="0"/>
              </a:defRPr>
            </a:lvl1pPr>
            <a:lvl2pPr algn="ctr">
              <a:defRPr kumimoji="0" lang="en-US" sz="2000" b="0" i="0" u="none" strike="noStrike" kern="1200" cap="none" spc="0" normalizeH="0" baseline="0" dirty="0">
                <a:ln>
                  <a:noFill/>
                </a:ln>
                <a:solidFill>
                  <a:prstClr val="white"/>
                </a:solidFill>
                <a:effectLst/>
                <a:uLnTx/>
                <a:uFillTx/>
                <a:latin typeface="Segoe UI"/>
                <a:ea typeface="+mn-ea"/>
                <a:cs typeface="+mn-cs"/>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Tree>
    <p:extLst>
      <p:ext uri="{BB962C8B-B14F-4D97-AF65-F5344CB8AC3E}">
        <p14:creationId xmlns:p14="http://schemas.microsoft.com/office/powerpoint/2010/main" val="36789189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a:xfrm>
            <a:off x="526738" y="2813824"/>
            <a:ext cx="4481825" cy="738664"/>
          </a:xfrm>
        </p:spPr>
        <p:txBody>
          <a:bodyPr/>
          <a:lstStyle>
            <a:lvl1pPr algn="l">
              <a:defRPr kumimoji="0" lang="en-US" sz="4800" b="0" i="0" u="none" strike="noStrike" kern="1200" cap="none" spc="0" normalizeH="0" baseline="0" dirty="0">
                <a:ln>
                  <a:noFill/>
                </a:ln>
                <a:gradFill>
                  <a:gsLst>
                    <a:gs pos="100000">
                      <a:srgbClr val="50E6FF"/>
                    </a:gs>
                    <a:gs pos="0">
                      <a:srgbClr val="0078D4"/>
                    </a:gs>
                  </a:gsLst>
                  <a:lin ang="18600000" scaled="0"/>
                </a:gradFill>
                <a:effectLst/>
                <a:uLnTx/>
                <a:uFillTx/>
                <a:latin typeface="Segoe UI Semibold"/>
                <a:ea typeface="+mn-ea"/>
                <a:cs typeface="+mn-cs"/>
              </a:defRPr>
            </a:lvl1pPr>
          </a:lstStyle>
          <a:p>
            <a:r>
              <a:rPr lang="en-US"/>
              <a:t>Click to edit</a:t>
            </a:r>
          </a:p>
        </p:txBody>
      </p:sp>
      <p:sp>
        <p:nvSpPr>
          <p:cNvPr id="10" name="Text Placeholder 9">
            <a:extLst>
              <a:ext uri="{FF2B5EF4-FFF2-40B4-BE49-F238E27FC236}">
                <a16:creationId xmlns:a16="http://schemas.microsoft.com/office/drawing/2014/main" id="{23DB5E85-8CD8-F693-3055-92ECCAE9BFA5}"/>
              </a:ext>
            </a:extLst>
          </p:cNvPr>
          <p:cNvSpPr>
            <a:spLocks noGrp="1"/>
          </p:cNvSpPr>
          <p:nvPr>
            <p:ph type="body" sz="quarter" idx="27" hasCustomPrompt="1"/>
          </p:nvPr>
        </p:nvSpPr>
        <p:spPr>
          <a:xfrm>
            <a:off x="6771900" y="585788"/>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1" name="Text Placeholder 9">
            <a:extLst>
              <a:ext uri="{FF2B5EF4-FFF2-40B4-BE49-F238E27FC236}">
                <a16:creationId xmlns:a16="http://schemas.microsoft.com/office/drawing/2014/main" id="{A71F5B08-9946-F306-86E5-F8E85C834609}"/>
              </a:ext>
            </a:extLst>
          </p:cNvPr>
          <p:cNvSpPr>
            <a:spLocks noGrp="1"/>
          </p:cNvSpPr>
          <p:nvPr>
            <p:ph type="body" sz="quarter" idx="28"/>
          </p:nvPr>
        </p:nvSpPr>
        <p:spPr>
          <a:xfrm>
            <a:off x="7876517" y="585788"/>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2" name="Text Placeholder 9">
            <a:extLst>
              <a:ext uri="{FF2B5EF4-FFF2-40B4-BE49-F238E27FC236}">
                <a16:creationId xmlns:a16="http://schemas.microsoft.com/office/drawing/2014/main" id="{ACE8100B-D02A-75E4-B25B-001C98B68B26}"/>
              </a:ext>
            </a:extLst>
          </p:cNvPr>
          <p:cNvSpPr>
            <a:spLocks noGrp="1"/>
          </p:cNvSpPr>
          <p:nvPr>
            <p:ph type="body" sz="quarter" idx="29" hasCustomPrompt="1"/>
          </p:nvPr>
        </p:nvSpPr>
        <p:spPr>
          <a:xfrm>
            <a:off x="6771900" y="1448583"/>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3" name="Text Placeholder 9">
            <a:extLst>
              <a:ext uri="{FF2B5EF4-FFF2-40B4-BE49-F238E27FC236}">
                <a16:creationId xmlns:a16="http://schemas.microsoft.com/office/drawing/2014/main" id="{1A54FBBF-FE78-2D3A-84D5-110F2C231CF1}"/>
              </a:ext>
            </a:extLst>
          </p:cNvPr>
          <p:cNvSpPr>
            <a:spLocks noGrp="1"/>
          </p:cNvSpPr>
          <p:nvPr>
            <p:ph type="body" sz="quarter" idx="30"/>
          </p:nvPr>
        </p:nvSpPr>
        <p:spPr>
          <a:xfrm>
            <a:off x="7876517" y="1448583"/>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4" name="Text Placeholder 9">
            <a:extLst>
              <a:ext uri="{FF2B5EF4-FFF2-40B4-BE49-F238E27FC236}">
                <a16:creationId xmlns:a16="http://schemas.microsoft.com/office/drawing/2014/main" id="{C8A2AC46-C625-6B03-31BB-20C9EC7503C9}"/>
              </a:ext>
            </a:extLst>
          </p:cNvPr>
          <p:cNvSpPr>
            <a:spLocks noGrp="1"/>
          </p:cNvSpPr>
          <p:nvPr>
            <p:ph type="body" sz="quarter" idx="31" hasCustomPrompt="1"/>
          </p:nvPr>
        </p:nvSpPr>
        <p:spPr>
          <a:xfrm>
            <a:off x="6771900" y="2311378"/>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5" name="Text Placeholder 9">
            <a:extLst>
              <a:ext uri="{FF2B5EF4-FFF2-40B4-BE49-F238E27FC236}">
                <a16:creationId xmlns:a16="http://schemas.microsoft.com/office/drawing/2014/main" id="{4FC08D7F-6A17-A1EF-F11D-264C9694E06C}"/>
              </a:ext>
            </a:extLst>
          </p:cNvPr>
          <p:cNvSpPr>
            <a:spLocks noGrp="1"/>
          </p:cNvSpPr>
          <p:nvPr>
            <p:ph type="body" sz="quarter" idx="32"/>
          </p:nvPr>
        </p:nvSpPr>
        <p:spPr>
          <a:xfrm>
            <a:off x="7876517" y="2311378"/>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6" name="Text Placeholder 9">
            <a:extLst>
              <a:ext uri="{FF2B5EF4-FFF2-40B4-BE49-F238E27FC236}">
                <a16:creationId xmlns:a16="http://schemas.microsoft.com/office/drawing/2014/main" id="{E0D77732-8393-DB98-A163-310544858AC5}"/>
              </a:ext>
            </a:extLst>
          </p:cNvPr>
          <p:cNvSpPr>
            <a:spLocks noGrp="1"/>
          </p:cNvSpPr>
          <p:nvPr>
            <p:ph type="body" sz="quarter" idx="33" hasCustomPrompt="1"/>
          </p:nvPr>
        </p:nvSpPr>
        <p:spPr>
          <a:xfrm>
            <a:off x="6771900" y="3174173"/>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7" name="Text Placeholder 9">
            <a:extLst>
              <a:ext uri="{FF2B5EF4-FFF2-40B4-BE49-F238E27FC236}">
                <a16:creationId xmlns:a16="http://schemas.microsoft.com/office/drawing/2014/main" id="{E2C8DD62-6020-AB05-9D46-5AF774548AE4}"/>
              </a:ext>
            </a:extLst>
          </p:cNvPr>
          <p:cNvSpPr>
            <a:spLocks noGrp="1"/>
          </p:cNvSpPr>
          <p:nvPr>
            <p:ph type="body" sz="quarter" idx="34"/>
          </p:nvPr>
        </p:nvSpPr>
        <p:spPr>
          <a:xfrm>
            <a:off x="7876517" y="3174173"/>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18" name="Text Placeholder 9">
            <a:extLst>
              <a:ext uri="{FF2B5EF4-FFF2-40B4-BE49-F238E27FC236}">
                <a16:creationId xmlns:a16="http://schemas.microsoft.com/office/drawing/2014/main" id="{664401AC-6152-01D2-09FF-B70432AF126B}"/>
              </a:ext>
            </a:extLst>
          </p:cNvPr>
          <p:cNvSpPr>
            <a:spLocks noGrp="1"/>
          </p:cNvSpPr>
          <p:nvPr>
            <p:ph type="body" sz="quarter" idx="35" hasCustomPrompt="1"/>
          </p:nvPr>
        </p:nvSpPr>
        <p:spPr>
          <a:xfrm>
            <a:off x="6771900" y="4036968"/>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19" name="Text Placeholder 9">
            <a:extLst>
              <a:ext uri="{FF2B5EF4-FFF2-40B4-BE49-F238E27FC236}">
                <a16:creationId xmlns:a16="http://schemas.microsoft.com/office/drawing/2014/main" id="{3808B516-0349-9AE4-9246-9C27DC379F41}"/>
              </a:ext>
            </a:extLst>
          </p:cNvPr>
          <p:cNvSpPr>
            <a:spLocks noGrp="1"/>
          </p:cNvSpPr>
          <p:nvPr>
            <p:ph type="body" sz="quarter" idx="36"/>
          </p:nvPr>
        </p:nvSpPr>
        <p:spPr>
          <a:xfrm>
            <a:off x="7876517" y="4036968"/>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20" name="Text Placeholder 9">
            <a:extLst>
              <a:ext uri="{FF2B5EF4-FFF2-40B4-BE49-F238E27FC236}">
                <a16:creationId xmlns:a16="http://schemas.microsoft.com/office/drawing/2014/main" id="{F20E56C6-E78B-D5FE-3F47-09C2613A17E7}"/>
              </a:ext>
            </a:extLst>
          </p:cNvPr>
          <p:cNvSpPr>
            <a:spLocks noGrp="1"/>
          </p:cNvSpPr>
          <p:nvPr>
            <p:ph type="body" sz="quarter" idx="37" hasCustomPrompt="1"/>
          </p:nvPr>
        </p:nvSpPr>
        <p:spPr>
          <a:xfrm>
            <a:off x="6771900" y="4899763"/>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21" name="Text Placeholder 9">
            <a:extLst>
              <a:ext uri="{FF2B5EF4-FFF2-40B4-BE49-F238E27FC236}">
                <a16:creationId xmlns:a16="http://schemas.microsoft.com/office/drawing/2014/main" id="{D6F2C2D3-D1F8-78F6-8B32-67BCE4B38774}"/>
              </a:ext>
            </a:extLst>
          </p:cNvPr>
          <p:cNvSpPr>
            <a:spLocks noGrp="1"/>
          </p:cNvSpPr>
          <p:nvPr>
            <p:ph type="body" sz="quarter" idx="38"/>
          </p:nvPr>
        </p:nvSpPr>
        <p:spPr>
          <a:xfrm>
            <a:off x="7876517" y="4899763"/>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sp>
        <p:nvSpPr>
          <p:cNvPr id="22" name="Text Placeholder 9">
            <a:extLst>
              <a:ext uri="{FF2B5EF4-FFF2-40B4-BE49-F238E27FC236}">
                <a16:creationId xmlns:a16="http://schemas.microsoft.com/office/drawing/2014/main" id="{AC8FA40B-94C7-CB5C-F3A7-CA06D63305FF}"/>
              </a:ext>
            </a:extLst>
          </p:cNvPr>
          <p:cNvSpPr>
            <a:spLocks noGrp="1"/>
          </p:cNvSpPr>
          <p:nvPr>
            <p:ph type="body" sz="quarter" idx="39" hasCustomPrompt="1"/>
          </p:nvPr>
        </p:nvSpPr>
        <p:spPr>
          <a:xfrm>
            <a:off x="6771900" y="5762559"/>
            <a:ext cx="512961" cy="276999"/>
          </a:xfrm>
        </p:spPr>
        <p:txBody>
          <a:bodyPr wrap="none"/>
          <a:lstStyle>
            <a:lvl1pPr>
              <a:defRPr kumimoji="0" lang="en-US" sz="1800" b="0" i="0" u="none" strike="noStrike" kern="1200" cap="none" spc="0" normalizeH="0" baseline="0" smtClean="0">
                <a:ln w="3175">
                  <a:noFill/>
                </a:ln>
                <a:solidFill>
                  <a:schemeClr val="accent2">
                    <a:lumMod val="60000"/>
                    <a:lumOff val="40000"/>
                  </a:schemeClr>
                </a:solidFill>
                <a:effectLst/>
                <a:uLnTx/>
                <a:uFillTx/>
                <a:latin typeface="Segoe UI Semibold"/>
                <a:ea typeface="+mn-ea"/>
                <a:cs typeface="Segoe UI" panose="020B0502040204020203" pitchFamily="34" charset="0"/>
              </a:defRPr>
            </a:lvl1pPr>
          </a:lstStyle>
          <a:p>
            <a:pPr lvl="0"/>
            <a:r>
              <a:rPr lang="en-US"/>
              <a:t>2000</a:t>
            </a:r>
          </a:p>
        </p:txBody>
      </p:sp>
      <p:sp>
        <p:nvSpPr>
          <p:cNvPr id="23" name="Text Placeholder 9">
            <a:extLst>
              <a:ext uri="{FF2B5EF4-FFF2-40B4-BE49-F238E27FC236}">
                <a16:creationId xmlns:a16="http://schemas.microsoft.com/office/drawing/2014/main" id="{C7CD0B27-39F1-6E9E-D0B2-A90446C68540}"/>
              </a:ext>
            </a:extLst>
          </p:cNvPr>
          <p:cNvSpPr>
            <a:spLocks noGrp="1"/>
          </p:cNvSpPr>
          <p:nvPr>
            <p:ph type="body" sz="quarter" idx="40"/>
          </p:nvPr>
        </p:nvSpPr>
        <p:spPr>
          <a:xfrm>
            <a:off x="7876517" y="5762559"/>
            <a:ext cx="4021796" cy="506479"/>
          </a:xfrm>
        </p:spPr>
        <p:txBody>
          <a:bodyPr/>
          <a:lstStyle>
            <a:lvl1pPr>
              <a:defRPr kumimoji="0" lang="en-US" sz="1800" b="0" i="0" u="none" strike="noStrike" kern="1200" cap="none" spc="0" normalizeH="0" baseline="0" dirty="0" smtClean="0">
                <a:ln w="3175">
                  <a:noFill/>
                </a:ln>
                <a:gradFill>
                  <a:gsLst>
                    <a:gs pos="20000">
                      <a:srgbClr val="FFFFFF"/>
                    </a:gs>
                    <a:gs pos="32632">
                      <a:srgbClr val="FFFFFF"/>
                    </a:gs>
                  </a:gsLst>
                  <a:lin ang="5400000" scaled="0"/>
                </a:gradFill>
                <a:effectLst/>
                <a:uLnTx/>
                <a:uFillTx/>
                <a:latin typeface="Segoe UI Semibold"/>
                <a:ea typeface="+mn-ea"/>
                <a:cs typeface="Segoe UI" panose="020B0502040204020203" pitchFamily="34" charset="0"/>
              </a:defRPr>
            </a:lvl1pPr>
            <a:lvl2pPr>
              <a:defRPr sz="1400"/>
            </a:lvl2pPr>
          </a:lstStyle>
          <a:p>
            <a:pPr lvl="0"/>
            <a:r>
              <a:rPr lang="en-US"/>
              <a:t>Click to edit Master text styles</a:t>
            </a:r>
          </a:p>
          <a:p>
            <a:pPr lvl="1"/>
            <a:r>
              <a:rPr lang="en-US"/>
              <a:t>Second level</a:t>
            </a:r>
          </a:p>
        </p:txBody>
      </p:sp>
      <p:cxnSp>
        <p:nvCxnSpPr>
          <p:cNvPr id="24" name="Straight Connector 23">
            <a:extLst>
              <a:ext uri="{FF2B5EF4-FFF2-40B4-BE49-F238E27FC236}">
                <a16:creationId xmlns:a16="http://schemas.microsoft.com/office/drawing/2014/main" id="{B1F689CB-AA25-75B1-027D-70F6837505AD}"/>
              </a:ext>
              <a:ext uri="{C183D7F6-B498-43B3-948B-1728B52AA6E4}">
                <adec:decorative xmlns:adec="http://schemas.microsoft.com/office/drawing/2017/decorative" val="1"/>
              </a:ext>
            </a:extLst>
          </p:cNvPr>
          <p:cNvCxnSpPr>
            <a:cxnSpLocks/>
          </p:cNvCxnSpPr>
          <p:nvPr userDrawn="1"/>
        </p:nvCxnSpPr>
        <p:spPr>
          <a:xfrm>
            <a:off x="7502314" y="847"/>
            <a:ext cx="0" cy="6856307"/>
          </a:xfrm>
          <a:prstGeom prst="line">
            <a:avLst/>
          </a:prstGeom>
          <a:ln w="9525">
            <a:solidFill>
              <a:schemeClr val="tx1">
                <a:alpha val="51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4053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100"/>
                                  </p:stCondLst>
                                  <p:childTnLst>
                                    <p:set>
                                      <p:cBhvr>
                                        <p:cTn id="6" dur="1" fill="hold">
                                          <p:stCondLst>
                                            <p:cond delay="0"/>
                                          </p:stCondLst>
                                        </p:cTn>
                                        <p:tgtEl>
                                          <p:spTgt spid="24"/>
                                        </p:tgtEl>
                                        <p:attrNameLst>
                                          <p:attrName>style.visibility</p:attrName>
                                        </p:attrNameLst>
                                      </p:cBhvr>
                                      <p:to>
                                        <p:strVal val="visible"/>
                                      </p:to>
                                    </p:set>
                                    <p:animEffect transition="in" filter="wipe(up)">
                                      <p:cBhvr>
                                        <p:cTn id="7" dur="7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4">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36">
          <p15:clr>
            <a:srgbClr val="A4A3A4"/>
          </p15:clr>
        </p15:guide>
        <p15:guide id="22" pos="5529">
          <p15:clr>
            <a:srgbClr val="A4A3A4"/>
          </p15:clr>
        </p15:guide>
        <p15:guide id="23" pos="5712">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 uri="{C183D7F6-B498-43B3-948B-1728B52AA6E4}">
                <adec:decorative xmlns:adec="http://schemas.microsoft.com/office/drawing/2017/decorative" val="1"/>
              </a:ext>
            </a:extLst>
          </p:cNvPr>
          <p:cNvSpPr>
            <a:spLocks noGrp="1"/>
          </p:cNvSpPr>
          <p:nvPr>
            <p:ph type="title"/>
          </p:nvPr>
        </p:nvSpPr>
        <p:spPr>
          <a:xfrm>
            <a:off x="590868" y="-937967"/>
            <a:ext cx="11018520" cy="492443"/>
          </a:xfrm>
        </p:spPr>
        <p:txBody>
          <a:bodyPr/>
          <a:lstStyle/>
          <a:p>
            <a:r>
              <a:rPr lang="en-US"/>
              <a:t>Click to edit Master title style</a:t>
            </a:r>
          </a:p>
        </p:txBody>
      </p:sp>
      <p:sp>
        <p:nvSpPr>
          <p:cNvPr id="12" name="Text Placeholder 11">
            <a:extLst>
              <a:ext uri="{FF2B5EF4-FFF2-40B4-BE49-F238E27FC236}">
                <a16:creationId xmlns:a16="http://schemas.microsoft.com/office/drawing/2014/main" id="{CE55023A-CA81-D032-837F-649BF68F7F25}"/>
              </a:ext>
            </a:extLst>
          </p:cNvPr>
          <p:cNvSpPr>
            <a:spLocks noGrp="1"/>
          </p:cNvSpPr>
          <p:nvPr>
            <p:ph type="body" sz="quarter" idx="10"/>
          </p:nvPr>
        </p:nvSpPr>
        <p:spPr>
          <a:xfrm>
            <a:off x="584200" y="1146229"/>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13" name="Text Placeholder 11">
            <a:extLst>
              <a:ext uri="{FF2B5EF4-FFF2-40B4-BE49-F238E27FC236}">
                <a16:creationId xmlns:a16="http://schemas.microsoft.com/office/drawing/2014/main" id="{4A7C7C16-207C-022D-46F5-672B7AF30965}"/>
              </a:ext>
            </a:extLst>
          </p:cNvPr>
          <p:cNvSpPr>
            <a:spLocks noGrp="1"/>
          </p:cNvSpPr>
          <p:nvPr>
            <p:ph type="body" sz="quarter" idx="11"/>
          </p:nvPr>
        </p:nvSpPr>
        <p:spPr>
          <a:xfrm>
            <a:off x="584200" y="1869969"/>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14" name="Text Placeholder 11">
            <a:extLst>
              <a:ext uri="{FF2B5EF4-FFF2-40B4-BE49-F238E27FC236}">
                <a16:creationId xmlns:a16="http://schemas.microsoft.com/office/drawing/2014/main" id="{CC7A6D18-3C8C-A5C5-36EA-19B9701B2B77}"/>
              </a:ext>
            </a:extLst>
          </p:cNvPr>
          <p:cNvSpPr>
            <a:spLocks noGrp="1"/>
          </p:cNvSpPr>
          <p:nvPr>
            <p:ph type="body" sz="quarter" idx="12"/>
          </p:nvPr>
        </p:nvSpPr>
        <p:spPr>
          <a:xfrm>
            <a:off x="584200" y="2593709"/>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2" name="Text Placeholder 11">
            <a:extLst>
              <a:ext uri="{FF2B5EF4-FFF2-40B4-BE49-F238E27FC236}">
                <a16:creationId xmlns:a16="http://schemas.microsoft.com/office/drawing/2014/main" id="{15E56730-99C6-23CC-299A-F92BC4B5681A}"/>
              </a:ext>
            </a:extLst>
          </p:cNvPr>
          <p:cNvSpPr>
            <a:spLocks noGrp="1"/>
          </p:cNvSpPr>
          <p:nvPr>
            <p:ph type="body" sz="quarter" idx="35"/>
          </p:nvPr>
        </p:nvSpPr>
        <p:spPr>
          <a:xfrm>
            <a:off x="897996" y="3646660"/>
            <a:ext cx="1653293" cy="388620"/>
          </a:xfrm>
          <a:prstGeom prst="rect">
            <a:avLst/>
          </a:prstGeom>
          <a:ln>
            <a:noFill/>
          </a:ln>
        </p:spPr>
        <p:txBody>
          <a:bodyPr lIns="91440" rIns="91440" anchor="ctr">
            <a:noAutofit/>
          </a:bodyPr>
          <a:lstStyle>
            <a:lvl1pPr>
              <a:defRPr kumimoji="0" lang="en-US" sz="16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15" name="Text Placeholder 11">
            <a:extLst>
              <a:ext uri="{FF2B5EF4-FFF2-40B4-BE49-F238E27FC236}">
                <a16:creationId xmlns:a16="http://schemas.microsoft.com/office/drawing/2014/main" id="{8B794651-5FA8-92B5-C891-E891DB66947A}"/>
              </a:ext>
            </a:extLst>
          </p:cNvPr>
          <p:cNvSpPr>
            <a:spLocks noGrp="1"/>
          </p:cNvSpPr>
          <p:nvPr>
            <p:ph type="body" sz="quarter" idx="13"/>
          </p:nvPr>
        </p:nvSpPr>
        <p:spPr>
          <a:xfrm>
            <a:off x="584200" y="4065043"/>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16" name="Text Placeholder 11">
            <a:extLst>
              <a:ext uri="{FF2B5EF4-FFF2-40B4-BE49-F238E27FC236}">
                <a16:creationId xmlns:a16="http://schemas.microsoft.com/office/drawing/2014/main" id="{02A80BE9-B0AB-B02B-94D5-FDD5DFE6ABE0}"/>
              </a:ext>
            </a:extLst>
          </p:cNvPr>
          <p:cNvSpPr>
            <a:spLocks noGrp="1"/>
          </p:cNvSpPr>
          <p:nvPr>
            <p:ph type="body" sz="quarter" idx="14"/>
          </p:nvPr>
        </p:nvSpPr>
        <p:spPr>
          <a:xfrm>
            <a:off x="584200" y="4788783"/>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17" name="Text Placeholder 11">
            <a:extLst>
              <a:ext uri="{FF2B5EF4-FFF2-40B4-BE49-F238E27FC236}">
                <a16:creationId xmlns:a16="http://schemas.microsoft.com/office/drawing/2014/main" id="{F9EA64A1-6089-6D12-1FAE-CA259A773A08}"/>
              </a:ext>
            </a:extLst>
          </p:cNvPr>
          <p:cNvSpPr>
            <a:spLocks noGrp="1"/>
          </p:cNvSpPr>
          <p:nvPr>
            <p:ph type="body" sz="quarter" idx="15"/>
          </p:nvPr>
        </p:nvSpPr>
        <p:spPr>
          <a:xfrm>
            <a:off x="584200" y="5512523"/>
            <a:ext cx="2300130" cy="664213"/>
          </a:xfrm>
          <a:prstGeom prst="roundRect">
            <a:avLst/>
          </a:prstGeom>
          <a:ln w="3175">
            <a:solidFill>
              <a:schemeClr val="accent2">
                <a:lumMod val="60000"/>
                <a:lumOff val="40000"/>
              </a:schemeClr>
            </a:solidFill>
          </a:ln>
        </p:spPr>
        <p:txBody>
          <a:bodyPr lIns="91440" rIns="91440" anchor="ctr">
            <a:noAutofit/>
          </a:bodyPr>
          <a:lstStyle>
            <a:lvl1pPr>
              <a:defRPr kumimoji="0" lang="en-US" sz="1600" b="0" i="0" u="none" strike="noStrike" kern="1200" cap="none" spc="0" normalizeH="0" baseline="0" smtClean="0">
                <a:ln>
                  <a:noFill/>
                </a:ln>
                <a:solidFill>
                  <a:srgbClr val="0078D4">
                    <a:lumMod val="60000"/>
                    <a:lumOff val="40000"/>
                  </a:srgb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a:p>
            <a:pPr lvl="1"/>
            <a:r>
              <a:rPr lang="en-US"/>
              <a:t>Second level</a:t>
            </a:r>
          </a:p>
        </p:txBody>
      </p:sp>
      <p:sp>
        <p:nvSpPr>
          <p:cNvPr id="36" name="Text Placeholder 11">
            <a:extLst>
              <a:ext uri="{FF2B5EF4-FFF2-40B4-BE49-F238E27FC236}">
                <a16:creationId xmlns:a16="http://schemas.microsoft.com/office/drawing/2014/main" id="{833475A4-4D5F-318A-DFAF-3AAC82410FFE}"/>
              </a:ext>
            </a:extLst>
          </p:cNvPr>
          <p:cNvSpPr>
            <a:spLocks noGrp="1"/>
          </p:cNvSpPr>
          <p:nvPr>
            <p:ph type="body" sz="quarter" idx="33"/>
          </p:nvPr>
        </p:nvSpPr>
        <p:spPr>
          <a:xfrm>
            <a:off x="3413125" y="2871137"/>
            <a:ext cx="1885950" cy="1542340"/>
          </a:xfrm>
          <a:prstGeom prst="rect">
            <a:avLst/>
          </a:prstGeom>
          <a:ln>
            <a:noFill/>
          </a:ln>
        </p:spPr>
        <p:txBody>
          <a:bodyPr lIns="91440" rIns="91440" anchor="ctr">
            <a:noAutofit/>
          </a:bodyPr>
          <a:lstStyle>
            <a:lvl1pPr>
              <a:defRPr kumimoji="0" lang="en-US" sz="2800" b="0" i="0" u="none" strike="noStrike" kern="1200" cap="none" spc="0" normalizeH="0" baseline="0" dirty="0" smtClean="0">
                <a:ln>
                  <a:noFill/>
                </a:ln>
                <a:solidFill>
                  <a:schemeClr val="accent2">
                    <a:lumMod val="60000"/>
                    <a:lumOff val="40000"/>
                  </a:schemeClr>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18" name="Text Placeholder 11">
            <a:extLst>
              <a:ext uri="{FF2B5EF4-FFF2-40B4-BE49-F238E27FC236}">
                <a16:creationId xmlns:a16="http://schemas.microsoft.com/office/drawing/2014/main" id="{B530745C-D3A3-344B-6632-271BCB2133FD}"/>
              </a:ext>
            </a:extLst>
          </p:cNvPr>
          <p:cNvSpPr>
            <a:spLocks noGrp="1"/>
          </p:cNvSpPr>
          <p:nvPr>
            <p:ph type="body" sz="quarter" idx="16"/>
          </p:nvPr>
        </p:nvSpPr>
        <p:spPr>
          <a:xfrm>
            <a:off x="6238194" y="1068047"/>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19" name="Text Placeholder 11">
            <a:extLst>
              <a:ext uri="{FF2B5EF4-FFF2-40B4-BE49-F238E27FC236}">
                <a16:creationId xmlns:a16="http://schemas.microsoft.com/office/drawing/2014/main" id="{FE3D72A4-1767-65EB-B091-7ED2147912B5}"/>
              </a:ext>
            </a:extLst>
          </p:cNvPr>
          <p:cNvSpPr>
            <a:spLocks noGrp="1"/>
          </p:cNvSpPr>
          <p:nvPr>
            <p:ph type="body" sz="quarter" idx="17"/>
          </p:nvPr>
        </p:nvSpPr>
        <p:spPr>
          <a:xfrm>
            <a:off x="6238194" y="1539537"/>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0" name="Text Placeholder 11">
            <a:extLst>
              <a:ext uri="{FF2B5EF4-FFF2-40B4-BE49-F238E27FC236}">
                <a16:creationId xmlns:a16="http://schemas.microsoft.com/office/drawing/2014/main" id="{EB60F7D2-8F3E-59BA-4C71-D0396CCA49C9}"/>
              </a:ext>
            </a:extLst>
          </p:cNvPr>
          <p:cNvSpPr>
            <a:spLocks noGrp="1"/>
          </p:cNvSpPr>
          <p:nvPr>
            <p:ph type="body" sz="quarter" idx="18"/>
          </p:nvPr>
        </p:nvSpPr>
        <p:spPr>
          <a:xfrm>
            <a:off x="6238194" y="2011027"/>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1" name="Text Placeholder 11">
            <a:extLst>
              <a:ext uri="{FF2B5EF4-FFF2-40B4-BE49-F238E27FC236}">
                <a16:creationId xmlns:a16="http://schemas.microsoft.com/office/drawing/2014/main" id="{0F9EA336-5E1C-7C7E-3E9C-F9C3229164D7}"/>
              </a:ext>
            </a:extLst>
          </p:cNvPr>
          <p:cNvSpPr>
            <a:spLocks noGrp="1"/>
          </p:cNvSpPr>
          <p:nvPr>
            <p:ph type="body" sz="quarter" idx="19"/>
          </p:nvPr>
        </p:nvSpPr>
        <p:spPr>
          <a:xfrm>
            <a:off x="6238194" y="2482517"/>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2" name="Text Placeholder 11">
            <a:extLst>
              <a:ext uri="{FF2B5EF4-FFF2-40B4-BE49-F238E27FC236}">
                <a16:creationId xmlns:a16="http://schemas.microsoft.com/office/drawing/2014/main" id="{C45D8A03-96AF-FEE0-C43D-C10E9C5190EB}"/>
              </a:ext>
            </a:extLst>
          </p:cNvPr>
          <p:cNvSpPr>
            <a:spLocks noGrp="1"/>
          </p:cNvSpPr>
          <p:nvPr>
            <p:ph type="body" sz="quarter" idx="20"/>
          </p:nvPr>
        </p:nvSpPr>
        <p:spPr>
          <a:xfrm>
            <a:off x="6238194" y="2954005"/>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3" name="Text Placeholder 11">
            <a:extLst>
              <a:ext uri="{FF2B5EF4-FFF2-40B4-BE49-F238E27FC236}">
                <a16:creationId xmlns:a16="http://schemas.microsoft.com/office/drawing/2014/main" id="{F210D29E-488F-E6D9-26AD-B2F855BA93D4}"/>
              </a:ext>
            </a:extLst>
          </p:cNvPr>
          <p:cNvSpPr>
            <a:spLocks noGrp="1"/>
          </p:cNvSpPr>
          <p:nvPr>
            <p:ph type="body" sz="quarter" idx="21"/>
          </p:nvPr>
        </p:nvSpPr>
        <p:spPr>
          <a:xfrm>
            <a:off x="6238194" y="3990661"/>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4" name="Text Placeholder 11">
            <a:extLst>
              <a:ext uri="{FF2B5EF4-FFF2-40B4-BE49-F238E27FC236}">
                <a16:creationId xmlns:a16="http://schemas.microsoft.com/office/drawing/2014/main" id="{7CB309DB-B6A4-05F5-A048-AC5B5CC0BE8F}"/>
              </a:ext>
            </a:extLst>
          </p:cNvPr>
          <p:cNvSpPr>
            <a:spLocks noGrp="1"/>
          </p:cNvSpPr>
          <p:nvPr>
            <p:ph type="body" sz="quarter" idx="22"/>
          </p:nvPr>
        </p:nvSpPr>
        <p:spPr>
          <a:xfrm>
            <a:off x="6238194" y="4462151"/>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5" name="Text Placeholder 11">
            <a:extLst>
              <a:ext uri="{FF2B5EF4-FFF2-40B4-BE49-F238E27FC236}">
                <a16:creationId xmlns:a16="http://schemas.microsoft.com/office/drawing/2014/main" id="{7918A51B-35B6-A1B9-CCB3-78EFC59A05A4}"/>
              </a:ext>
            </a:extLst>
          </p:cNvPr>
          <p:cNvSpPr>
            <a:spLocks noGrp="1"/>
          </p:cNvSpPr>
          <p:nvPr>
            <p:ph type="body" sz="quarter" idx="23"/>
          </p:nvPr>
        </p:nvSpPr>
        <p:spPr>
          <a:xfrm>
            <a:off x="6238194" y="4933641"/>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6" name="Text Placeholder 11">
            <a:extLst>
              <a:ext uri="{FF2B5EF4-FFF2-40B4-BE49-F238E27FC236}">
                <a16:creationId xmlns:a16="http://schemas.microsoft.com/office/drawing/2014/main" id="{2B098070-BE8B-9486-7855-7F0734A4E35A}"/>
              </a:ext>
            </a:extLst>
          </p:cNvPr>
          <p:cNvSpPr>
            <a:spLocks noGrp="1"/>
          </p:cNvSpPr>
          <p:nvPr>
            <p:ph type="body" sz="quarter" idx="24"/>
          </p:nvPr>
        </p:nvSpPr>
        <p:spPr>
          <a:xfrm>
            <a:off x="6238194" y="5405131"/>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7" name="Text Placeholder 11">
            <a:extLst>
              <a:ext uri="{FF2B5EF4-FFF2-40B4-BE49-F238E27FC236}">
                <a16:creationId xmlns:a16="http://schemas.microsoft.com/office/drawing/2014/main" id="{A18D668D-2E6D-7C7C-F1E4-EE6DCC479593}"/>
              </a:ext>
            </a:extLst>
          </p:cNvPr>
          <p:cNvSpPr>
            <a:spLocks noGrp="1"/>
          </p:cNvSpPr>
          <p:nvPr>
            <p:ph type="body" sz="quarter" idx="25"/>
          </p:nvPr>
        </p:nvSpPr>
        <p:spPr>
          <a:xfrm>
            <a:off x="6238194" y="5876619"/>
            <a:ext cx="1737360" cy="388620"/>
          </a:xfrm>
          <a:prstGeom prst="roundRect">
            <a:avLst/>
          </a:prstGeom>
          <a:ln w="3175">
            <a:solidFill>
              <a:schemeClr val="accent2">
                <a:lumMod val="60000"/>
                <a:lumOff val="40000"/>
              </a:schemeClr>
            </a:solid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8" name="Text Placeholder 11">
            <a:extLst>
              <a:ext uri="{FF2B5EF4-FFF2-40B4-BE49-F238E27FC236}">
                <a16:creationId xmlns:a16="http://schemas.microsoft.com/office/drawing/2014/main" id="{6684B30A-AFB2-BE6D-24EC-D666744DA0E7}"/>
              </a:ext>
            </a:extLst>
          </p:cNvPr>
          <p:cNvSpPr>
            <a:spLocks noGrp="1"/>
          </p:cNvSpPr>
          <p:nvPr>
            <p:ph type="body" sz="quarter" idx="26"/>
          </p:nvPr>
        </p:nvSpPr>
        <p:spPr>
          <a:xfrm>
            <a:off x="9720263" y="1214158"/>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29" name="Text Placeholder 11">
            <a:extLst>
              <a:ext uri="{FF2B5EF4-FFF2-40B4-BE49-F238E27FC236}">
                <a16:creationId xmlns:a16="http://schemas.microsoft.com/office/drawing/2014/main" id="{B17E1CCE-29C2-DDBD-562C-CB008597274A}"/>
              </a:ext>
            </a:extLst>
          </p:cNvPr>
          <p:cNvSpPr>
            <a:spLocks noGrp="1"/>
          </p:cNvSpPr>
          <p:nvPr>
            <p:ph type="body" sz="quarter" idx="27"/>
          </p:nvPr>
        </p:nvSpPr>
        <p:spPr>
          <a:xfrm>
            <a:off x="9720263" y="1887404"/>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1" name="Text Placeholder 11">
            <a:extLst>
              <a:ext uri="{FF2B5EF4-FFF2-40B4-BE49-F238E27FC236}">
                <a16:creationId xmlns:a16="http://schemas.microsoft.com/office/drawing/2014/main" id="{C8038F32-7B27-7267-3EEA-2DE3CE625662}"/>
              </a:ext>
            </a:extLst>
          </p:cNvPr>
          <p:cNvSpPr>
            <a:spLocks noGrp="1"/>
          </p:cNvSpPr>
          <p:nvPr>
            <p:ph type="body" sz="quarter" idx="28"/>
          </p:nvPr>
        </p:nvSpPr>
        <p:spPr>
          <a:xfrm>
            <a:off x="9720263" y="2489457"/>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2" name="Text Placeholder 11">
            <a:extLst>
              <a:ext uri="{FF2B5EF4-FFF2-40B4-BE49-F238E27FC236}">
                <a16:creationId xmlns:a16="http://schemas.microsoft.com/office/drawing/2014/main" id="{ECC83F27-6F68-11FD-B2A2-4B06427DC54A}"/>
              </a:ext>
            </a:extLst>
          </p:cNvPr>
          <p:cNvSpPr>
            <a:spLocks noGrp="1"/>
          </p:cNvSpPr>
          <p:nvPr>
            <p:ph type="body" sz="quarter" idx="29"/>
          </p:nvPr>
        </p:nvSpPr>
        <p:spPr>
          <a:xfrm>
            <a:off x="9720263" y="3108232"/>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3" name="Text Placeholder 11">
            <a:extLst>
              <a:ext uri="{FF2B5EF4-FFF2-40B4-BE49-F238E27FC236}">
                <a16:creationId xmlns:a16="http://schemas.microsoft.com/office/drawing/2014/main" id="{D66AC1D2-F953-4977-B6F6-E858A86A0789}"/>
              </a:ext>
            </a:extLst>
          </p:cNvPr>
          <p:cNvSpPr>
            <a:spLocks noGrp="1"/>
          </p:cNvSpPr>
          <p:nvPr>
            <p:ph type="body" sz="quarter" idx="30"/>
          </p:nvPr>
        </p:nvSpPr>
        <p:spPr>
          <a:xfrm>
            <a:off x="9720263" y="3817216"/>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4" name="Text Placeholder 11">
            <a:extLst>
              <a:ext uri="{FF2B5EF4-FFF2-40B4-BE49-F238E27FC236}">
                <a16:creationId xmlns:a16="http://schemas.microsoft.com/office/drawing/2014/main" id="{2BBBB2EF-59F3-1D2C-7DC6-5DBED36AF569}"/>
              </a:ext>
            </a:extLst>
          </p:cNvPr>
          <p:cNvSpPr>
            <a:spLocks noGrp="1"/>
          </p:cNvSpPr>
          <p:nvPr>
            <p:ph type="body" sz="quarter" idx="31"/>
          </p:nvPr>
        </p:nvSpPr>
        <p:spPr>
          <a:xfrm>
            <a:off x="9720263" y="4470167"/>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35" name="Text Placeholder 11">
            <a:extLst>
              <a:ext uri="{FF2B5EF4-FFF2-40B4-BE49-F238E27FC236}">
                <a16:creationId xmlns:a16="http://schemas.microsoft.com/office/drawing/2014/main" id="{24F7D4F1-8C12-ACEE-164A-F96662940391}"/>
              </a:ext>
            </a:extLst>
          </p:cNvPr>
          <p:cNvSpPr>
            <a:spLocks noGrp="1"/>
          </p:cNvSpPr>
          <p:nvPr>
            <p:ph type="body" sz="quarter" idx="32"/>
          </p:nvPr>
        </p:nvSpPr>
        <p:spPr>
          <a:xfrm>
            <a:off x="9720263" y="5129826"/>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
        <p:nvSpPr>
          <p:cNvPr id="45" name="Text Placeholder 11">
            <a:extLst>
              <a:ext uri="{FF2B5EF4-FFF2-40B4-BE49-F238E27FC236}">
                <a16:creationId xmlns:a16="http://schemas.microsoft.com/office/drawing/2014/main" id="{6B263287-90F1-AB40-51D0-E19DAFE80D52}"/>
              </a:ext>
            </a:extLst>
          </p:cNvPr>
          <p:cNvSpPr>
            <a:spLocks noGrp="1"/>
          </p:cNvSpPr>
          <p:nvPr>
            <p:ph type="body" sz="quarter" idx="34"/>
          </p:nvPr>
        </p:nvSpPr>
        <p:spPr>
          <a:xfrm>
            <a:off x="9720263" y="5763234"/>
            <a:ext cx="2354661" cy="388620"/>
          </a:xfrm>
          <a:prstGeom prst="rect">
            <a:avLst/>
          </a:prstGeom>
          <a:ln>
            <a:noFill/>
          </a:ln>
        </p:spPr>
        <p:txBody>
          <a:bodyPr lIns="91440" rIns="91440" anchor="ctr">
            <a:noAutofit/>
          </a:bodyPr>
          <a:lstStyle>
            <a:lvl1pPr>
              <a:defRPr kumimoji="0" lang="en-US" sz="1200" b="0" i="0" u="none" strike="noStrike" kern="1200" cap="none" spc="0" normalizeH="0" baseline="0" dirty="0" smtClean="0">
                <a:ln>
                  <a:noFill/>
                </a:ln>
                <a:solidFill>
                  <a:prstClr val="white"/>
                </a:solidFill>
                <a:effectLst/>
                <a:uLnTx/>
                <a:uFillTx/>
                <a:latin typeface="Segoe UI Semibold"/>
                <a:ea typeface="+mn-ea"/>
                <a:cs typeface="+mn-cs"/>
              </a:defRPr>
            </a:lvl1pPr>
            <a:lvl2pPr>
              <a:defRPr kumimoji="0" lang="en-US" sz="1000" b="0" i="0" u="none" strike="noStrike" kern="1200" cap="none" spc="0" normalizeH="0" baseline="0" dirty="0" smtClean="0">
                <a:ln>
                  <a:noFill/>
                </a:ln>
                <a:solidFill>
                  <a:prstClr val="white"/>
                </a:solidFill>
                <a:effectLst/>
                <a:uLnTx/>
                <a:uFillTx/>
                <a:latin typeface="Segoe UI Semibold"/>
                <a:ea typeface="+mn-ea"/>
                <a:cs typeface="+mn-cs"/>
              </a:defRPr>
            </a:lvl2pPr>
          </a:lstStyle>
          <a:p>
            <a:pPr lvl="0"/>
            <a:r>
              <a:rPr lang="en-US"/>
              <a:t>Click</a:t>
            </a:r>
          </a:p>
        </p:txBody>
      </p:sp>
    </p:spTree>
    <p:extLst>
      <p:ext uri="{BB962C8B-B14F-4D97-AF65-F5344CB8AC3E}">
        <p14:creationId xmlns:p14="http://schemas.microsoft.com/office/powerpoint/2010/main" val="4794338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TITLE &amp; SUB">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20FDFCD-0298-821A-A9B9-B151412B533D}"/>
              </a:ext>
              <a:ext uri="{C183D7F6-B498-43B3-948B-1728B52AA6E4}">
                <adec:decorative xmlns:adec="http://schemas.microsoft.com/office/drawing/2017/decorative" val="1"/>
              </a:ext>
            </a:extLst>
          </p:cNvPr>
          <p:cNvSpPr>
            <a:spLocks noGrp="1"/>
          </p:cNvSpPr>
          <p:nvPr>
            <p:ph type="pic" sz="quarter" idx="32"/>
          </p:nvPr>
        </p:nvSpPr>
        <p:spPr>
          <a:xfrm>
            <a:off x="584200" y="2497783"/>
            <a:ext cx="3722688" cy="3014663"/>
          </a:xfrm>
        </p:spPr>
        <p:txBody>
          <a:bodyPr/>
          <a:lstStyle/>
          <a:p>
            <a:endParaRPr lang="en-US"/>
          </a:p>
        </p:txBody>
      </p:sp>
      <p:sp>
        <p:nvSpPr>
          <p:cNvPr id="24" name="Picture Placeholder 22">
            <a:extLst>
              <a:ext uri="{FF2B5EF4-FFF2-40B4-BE49-F238E27FC236}">
                <a16:creationId xmlns:a16="http://schemas.microsoft.com/office/drawing/2014/main" id="{A6639641-47C5-5C6A-4CE6-474982CC3162}"/>
              </a:ext>
              <a:ext uri="{C183D7F6-B498-43B3-948B-1728B52AA6E4}">
                <adec:decorative xmlns:adec="http://schemas.microsoft.com/office/drawing/2017/decorative" val="1"/>
              </a:ext>
            </a:extLst>
          </p:cNvPr>
          <p:cNvSpPr>
            <a:spLocks noGrp="1"/>
          </p:cNvSpPr>
          <p:nvPr>
            <p:ph type="pic" sz="quarter" idx="33"/>
          </p:nvPr>
        </p:nvSpPr>
        <p:spPr>
          <a:xfrm>
            <a:off x="4455229" y="2497783"/>
            <a:ext cx="3722688" cy="3014663"/>
          </a:xfrm>
        </p:spPr>
        <p:txBody>
          <a:bodyPr/>
          <a:lstStyle/>
          <a:p>
            <a:endParaRPr lang="en-US"/>
          </a:p>
        </p:txBody>
      </p:sp>
      <p:sp>
        <p:nvSpPr>
          <p:cNvPr id="25" name="Picture Placeholder 22">
            <a:extLst>
              <a:ext uri="{FF2B5EF4-FFF2-40B4-BE49-F238E27FC236}">
                <a16:creationId xmlns:a16="http://schemas.microsoft.com/office/drawing/2014/main" id="{2D4B0243-4BAE-92E2-4702-1B5B90AF5250}"/>
              </a:ext>
              <a:ext uri="{C183D7F6-B498-43B3-948B-1728B52AA6E4}">
                <adec:decorative xmlns:adec="http://schemas.microsoft.com/office/drawing/2017/decorative" val="1"/>
              </a:ext>
            </a:extLst>
          </p:cNvPr>
          <p:cNvSpPr>
            <a:spLocks noGrp="1"/>
          </p:cNvSpPr>
          <p:nvPr>
            <p:ph type="pic" sz="quarter" idx="34"/>
          </p:nvPr>
        </p:nvSpPr>
        <p:spPr>
          <a:xfrm>
            <a:off x="8326258" y="2497783"/>
            <a:ext cx="3722688" cy="3014663"/>
          </a:xfrm>
        </p:spPr>
        <p:txBody>
          <a:bodyPr/>
          <a:lstStyle/>
          <a:p>
            <a:endParaRPr lang="en-US"/>
          </a:p>
        </p:txBody>
      </p:sp>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5217" y="1035986"/>
            <a:ext cx="11014075" cy="307777"/>
          </a:xfrm>
        </p:spPr>
        <p:txBody>
          <a:bodyPr/>
          <a:lstStyle>
            <a:lvl1pPr algn="ctr">
              <a:defRPr sz="2000">
                <a:solidFill>
                  <a:schemeClr val="accent2">
                    <a:lumMod val="60000"/>
                    <a:lumOff val="40000"/>
                  </a:schemeClr>
                </a:solidFill>
              </a:defRPr>
            </a:lvl1pPr>
            <a:lvl2pPr algn="ctr">
              <a:defRPr/>
            </a:lvl2pPr>
            <a:lvl3pPr algn="ctr">
              <a:defRPr/>
            </a:lvl3pPr>
            <a:lvl4pPr algn="ctr">
              <a:defRPr/>
            </a:lvl4pPr>
            <a:lvl5pPr algn="ctr">
              <a:defRPr/>
            </a:lvl5pPr>
          </a:lstStyle>
          <a:p>
            <a:pPr lvl="0"/>
            <a:r>
              <a:rPr lang="en-US"/>
              <a:t>Click to edit Master text styles</a:t>
            </a:r>
          </a:p>
        </p:txBody>
      </p:sp>
      <p:sp>
        <p:nvSpPr>
          <p:cNvPr id="9" name="Text Placeholder 16">
            <a:extLst>
              <a:ext uri="{FF2B5EF4-FFF2-40B4-BE49-F238E27FC236}">
                <a16:creationId xmlns:a16="http://schemas.microsoft.com/office/drawing/2014/main" id="{E4DA4BF9-A43B-E725-FE89-1F15C7CA4903}"/>
              </a:ext>
            </a:extLst>
          </p:cNvPr>
          <p:cNvSpPr>
            <a:spLocks noGrp="1"/>
          </p:cNvSpPr>
          <p:nvPr>
            <p:ph type="body" sz="quarter" idx="21" hasCustomPrompt="1"/>
          </p:nvPr>
        </p:nvSpPr>
        <p:spPr>
          <a:xfrm>
            <a:off x="1093236" y="3697338"/>
            <a:ext cx="2704616" cy="615553"/>
          </a:xfrm>
        </p:spPr>
        <p:txBody>
          <a:bodyPr/>
          <a:lstStyle>
            <a:lvl1pPr algn="ctr">
              <a:defRPr kumimoji="0" lang="en-US" sz="4400" b="0" i="0" u="none" strike="noStrike" kern="0" cap="none" spc="-150" normalizeH="0" baseline="0" dirty="0">
                <a:ln>
                  <a:noFill/>
                </a:ln>
                <a:solidFill>
                  <a:prstClr val="white"/>
                </a:solidFill>
                <a:effectLst/>
                <a:uLnTx/>
                <a:uFillTx/>
                <a:latin typeface="Segoe UI Semibold"/>
                <a:ea typeface="+mn-ea"/>
                <a:cs typeface="+mn-cs"/>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r</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2" name="Text Placeholder 16">
            <a:extLst>
              <a:ext uri="{FF2B5EF4-FFF2-40B4-BE49-F238E27FC236}">
                <a16:creationId xmlns:a16="http://schemas.microsoft.com/office/drawing/2014/main" id="{D49C57A8-31EC-89F8-58D8-6CF07FE6B47A}"/>
              </a:ext>
            </a:extLst>
          </p:cNvPr>
          <p:cNvSpPr>
            <a:spLocks noGrp="1"/>
          </p:cNvSpPr>
          <p:nvPr>
            <p:ph type="body" sz="quarter" idx="23"/>
          </p:nvPr>
        </p:nvSpPr>
        <p:spPr>
          <a:xfrm>
            <a:off x="3714227" y="5897510"/>
            <a:ext cx="5063061" cy="718786"/>
          </a:xfrm>
          <a:prstGeom prst="round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lvl1pPr>
              <a:defRPr lang="en-US" sz="2000" dirty="0">
                <a:solidFill>
                  <a:schemeClr val="tx1"/>
                </a:solidFill>
                <a:cs typeface="Segoe UI" pitchFamily="34" charset="0"/>
              </a:defRPr>
            </a:lvl1pPr>
          </a:lstStyle>
          <a:p>
            <a:pPr lvl="0" algn="ctr" defTabSz="932472" fontAlgn="base">
              <a:spcBef>
                <a:spcPct val="0"/>
              </a:spcBef>
              <a:spcAft>
                <a:spcPct val="0"/>
              </a:spcAft>
            </a:pPr>
            <a:r>
              <a:rPr lang="en-US"/>
              <a:t>Click to edit Master</a:t>
            </a:r>
          </a:p>
        </p:txBody>
      </p:sp>
      <p:sp>
        <p:nvSpPr>
          <p:cNvPr id="14" name="Text Placeholder 16">
            <a:extLst>
              <a:ext uri="{FF2B5EF4-FFF2-40B4-BE49-F238E27FC236}">
                <a16:creationId xmlns:a16="http://schemas.microsoft.com/office/drawing/2014/main" id="{45D7B140-0653-BB30-7AB2-97EA2F05FD74}"/>
              </a:ext>
            </a:extLst>
          </p:cNvPr>
          <p:cNvSpPr>
            <a:spLocks noGrp="1"/>
          </p:cNvSpPr>
          <p:nvPr>
            <p:ph type="body" sz="quarter" idx="25" hasCustomPrompt="1"/>
          </p:nvPr>
        </p:nvSpPr>
        <p:spPr>
          <a:xfrm>
            <a:off x="4955702" y="3697338"/>
            <a:ext cx="2704616" cy="615553"/>
          </a:xfrm>
        </p:spPr>
        <p:txBody>
          <a:bodyPr/>
          <a:lstStyle>
            <a:lvl1pPr algn="ctr">
              <a:defRPr kumimoji="0" lang="en-US" sz="4400" b="0" i="0" u="none" strike="noStrike" kern="0" cap="none" spc="-150" normalizeH="0" baseline="0" dirty="0">
                <a:ln>
                  <a:noFill/>
                </a:ln>
                <a:solidFill>
                  <a:prstClr val="white"/>
                </a:solidFill>
                <a:effectLst/>
                <a:uLnTx/>
                <a:uFillTx/>
                <a:latin typeface="Segoe UI Semibold"/>
                <a:ea typeface="+mn-ea"/>
                <a:cs typeface="+mn-cs"/>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r</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
        <p:nvSpPr>
          <p:cNvPr id="18" name="Text Placeholder 16">
            <a:extLst>
              <a:ext uri="{FF2B5EF4-FFF2-40B4-BE49-F238E27FC236}">
                <a16:creationId xmlns:a16="http://schemas.microsoft.com/office/drawing/2014/main" id="{D12D4667-32C2-CF92-9114-7F05BB48D80F}"/>
              </a:ext>
            </a:extLst>
          </p:cNvPr>
          <p:cNvSpPr>
            <a:spLocks noGrp="1"/>
          </p:cNvSpPr>
          <p:nvPr>
            <p:ph type="body" sz="quarter" idx="29" hasCustomPrompt="1"/>
          </p:nvPr>
        </p:nvSpPr>
        <p:spPr>
          <a:xfrm>
            <a:off x="8818169" y="3697338"/>
            <a:ext cx="2704616" cy="615553"/>
          </a:xfrm>
        </p:spPr>
        <p:txBody>
          <a:bodyPr/>
          <a:lstStyle>
            <a:lvl1pPr algn="ctr">
              <a:defRPr kumimoji="0" lang="en-US" sz="4400" b="0" i="0" u="none" strike="noStrike" kern="0" cap="none" spc="-150" normalizeH="0" baseline="0" dirty="0">
                <a:ln>
                  <a:noFill/>
                </a:ln>
                <a:solidFill>
                  <a:prstClr val="white"/>
                </a:solidFill>
                <a:effectLst/>
                <a:uLnTx/>
                <a:uFillTx/>
                <a:latin typeface="Segoe UI Semibold"/>
                <a:ea typeface="+mn-ea"/>
                <a:cs typeface="+mn-cs"/>
              </a:defRPr>
            </a:lvl1pPr>
            <a:lvl2pPr algn="ctr">
              <a:defRPr sz="1600">
                <a:solidFill>
                  <a:schemeClr val="tx1"/>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Click to er</a:t>
            </a:r>
          </a:p>
          <a:p>
            <a:pPr marL="0" marR="0" lvl="1" indent="0" algn="ctr" defTabSz="914400" rtl="0" eaLnBrk="1" fontAlgn="auto" latinLnBrk="0" hangingPunct="1">
              <a:lnSpc>
                <a:spcPct val="100000"/>
              </a:lnSpc>
              <a:spcBef>
                <a:spcPts val="0"/>
              </a:spcBef>
              <a:spcAft>
                <a:spcPts val="0"/>
              </a:spcAft>
              <a:buClrTx/>
              <a:buSzTx/>
              <a:buFontTx/>
              <a:buNone/>
              <a:tabLst/>
              <a:defRPr/>
            </a:pPr>
            <a:r>
              <a:rPr lang="en-US"/>
              <a:t>second</a:t>
            </a:r>
          </a:p>
        </p:txBody>
      </p:sp>
    </p:spTree>
    <p:extLst>
      <p:ext uri="{BB962C8B-B14F-4D97-AF65-F5344CB8AC3E}">
        <p14:creationId xmlns:p14="http://schemas.microsoft.com/office/powerpoint/2010/main" val="39173957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5.xml"/><Relationship Id="rId21" Type="http://schemas.openxmlformats.org/officeDocument/2006/relationships/slideLayout" Target="../slideLayouts/slideLayout30.xml"/><Relationship Id="rId42" Type="http://schemas.openxmlformats.org/officeDocument/2006/relationships/slideLayout" Target="../slideLayouts/slideLayout51.xml"/><Relationship Id="rId47" Type="http://schemas.openxmlformats.org/officeDocument/2006/relationships/slideLayout" Target="../slideLayouts/slideLayout56.xml"/><Relationship Id="rId63" Type="http://schemas.openxmlformats.org/officeDocument/2006/relationships/slideLayout" Target="../slideLayouts/slideLayout72.xml"/><Relationship Id="rId68" Type="http://schemas.openxmlformats.org/officeDocument/2006/relationships/image" Target="../media/image4.png"/><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9" Type="http://schemas.openxmlformats.org/officeDocument/2006/relationships/slideLayout" Target="../slideLayouts/slideLayout38.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53" Type="http://schemas.openxmlformats.org/officeDocument/2006/relationships/slideLayout" Target="../slideLayouts/slideLayout62.xml"/><Relationship Id="rId58" Type="http://schemas.openxmlformats.org/officeDocument/2006/relationships/slideLayout" Target="../slideLayouts/slideLayout67.xml"/><Relationship Id="rId66" Type="http://schemas.openxmlformats.org/officeDocument/2006/relationships/oleObject" Target="../embeddings/oleObject1.bin"/><Relationship Id="rId5" Type="http://schemas.openxmlformats.org/officeDocument/2006/relationships/slideLayout" Target="../slideLayouts/slideLayout14.xml"/><Relationship Id="rId61" Type="http://schemas.openxmlformats.org/officeDocument/2006/relationships/slideLayout" Target="../slideLayouts/slideLayout70.xml"/><Relationship Id="rId19" Type="http://schemas.openxmlformats.org/officeDocument/2006/relationships/slideLayout" Target="../slideLayouts/slideLayout2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slideLayout" Target="../slideLayouts/slideLayout52.xml"/><Relationship Id="rId48" Type="http://schemas.openxmlformats.org/officeDocument/2006/relationships/slideLayout" Target="../slideLayouts/slideLayout57.xml"/><Relationship Id="rId56" Type="http://schemas.openxmlformats.org/officeDocument/2006/relationships/slideLayout" Target="../slideLayouts/slideLayout65.xml"/><Relationship Id="rId64" Type="http://schemas.openxmlformats.org/officeDocument/2006/relationships/theme" Target="../theme/theme2.xml"/><Relationship Id="rId69" Type="http://schemas.openxmlformats.org/officeDocument/2006/relationships/image" Target="../media/image5.svg"/><Relationship Id="rId8" Type="http://schemas.openxmlformats.org/officeDocument/2006/relationships/slideLayout" Target="../slideLayouts/slideLayout17.xml"/><Relationship Id="rId51" Type="http://schemas.openxmlformats.org/officeDocument/2006/relationships/slideLayout" Target="../slideLayouts/slideLayout60.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46" Type="http://schemas.openxmlformats.org/officeDocument/2006/relationships/slideLayout" Target="../slideLayouts/slideLayout55.xml"/><Relationship Id="rId59" Type="http://schemas.openxmlformats.org/officeDocument/2006/relationships/slideLayout" Target="../slideLayouts/slideLayout68.xml"/><Relationship Id="rId67" Type="http://schemas.openxmlformats.org/officeDocument/2006/relationships/image" Target="../media/image3.emf"/><Relationship Id="rId20" Type="http://schemas.openxmlformats.org/officeDocument/2006/relationships/slideLayout" Target="../slideLayouts/slideLayout29.xml"/><Relationship Id="rId41" Type="http://schemas.openxmlformats.org/officeDocument/2006/relationships/slideLayout" Target="../slideLayouts/slideLayout50.xml"/><Relationship Id="rId54" Type="http://schemas.openxmlformats.org/officeDocument/2006/relationships/slideLayout" Target="../slideLayouts/slideLayout63.xml"/><Relationship Id="rId62" Type="http://schemas.openxmlformats.org/officeDocument/2006/relationships/slideLayout" Target="../slideLayouts/slideLayout7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49" Type="http://schemas.openxmlformats.org/officeDocument/2006/relationships/slideLayout" Target="../slideLayouts/slideLayout58.xml"/><Relationship Id="rId57" Type="http://schemas.openxmlformats.org/officeDocument/2006/relationships/slideLayout" Target="../slideLayouts/slideLayout66.xml"/><Relationship Id="rId10" Type="http://schemas.openxmlformats.org/officeDocument/2006/relationships/slideLayout" Target="../slideLayouts/slideLayout19.xml"/><Relationship Id="rId31" Type="http://schemas.openxmlformats.org/officeDocument/2006/relationships/slideLayout" Target="../slideLayouts/slideLayout40.xml"/><Relationship Id="rId44" Type="http://schemas.openxmlformats.org/officeDocument/2006/relationships/slideLayout" Target="../slideLayouts/slideLayout53.xml"/><Relationship Id="rId52" Type="http://schemas.openxmlformats.org/officeDocument/2006/relationships/slideLayout" Target="../slideLayouts/slideLayout61.xml"/><Relationship Id="rId60" Type="http://schemas.openxmlformats.org/officeDocument/2006/relationships/slideLayout" Target="../slideLayouts/slideLayout69.xml"/><Relationship Id="rId65" Type="http://schemas.openxmlformats.org/officeDocument/2006/relationships/tags" Target="../tags/tag1.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9" Type="http://schemas.openxmlformats.org/officeDocument/2006/relationships/slideLayout" Target="../slideLayouts/slideLayout48.xml"/><Relationship Id="rId34" Type="http://schemas.openxmlformats.org/officeDocument/2006/relationships/slideLayout" Target="../slideLayouts/slideLayout43.xml"/><Relationship Id="rId50" Type="http://schemas.openxmlformats.org/officeDocument/2006/relationships/slideLayout" Target="../slideLayouts/slideLayout59.xml"/><Relationship Id="rId55"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21" Type="http://schemas.openxmlformats.org/officeDocument/2006/relationships/image" Target="../media/image4.png"/><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theme" Target="../theme/theme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image" Target="../media/image5.svg"/></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17.xml"/><Relationship Id="rId21" Type="http://schemas.openxmlformats.org/officeDocument/2006/relationships/slideLayout" Target="../slideLayouts/slideLayout112.xml"/><Relationship Id="rId42" Type="http://schemas.openxmlformats.org/officeDocument/2006/relationships/slideLayout" Target="../slideLayouts/slideLayout133.xml"/><Relationship Id="rId47" Type="http://schemas.openxmlformats.org/officeDocument/2006/relationships/slideLayout" Target="../slideLayouts/slideLayout138.xml"/><Relationship Id="rId63" Type="http://schemas.openxmlformats.org/officeDocument/2006/relationships/slideLayout" Target="../slideLayouts/slideLayout154.xml"/><Relationship Id="rId68" Type="http://schemas.openxmlformats.org/officeDocument/2006/relationships/slideLayout" Target="../slideLayouts/slideLayout159.xml"/><Relationship Id="rId7" Type="http://schemas.openxmlformats.org/officeDocument/2006/relationships/slideLayout" Target="../slideLayouts/slideLayout98.xml"/><Relationship Id="rId71" Type="http://schemas.openxmlformats.org/officeDocument/2006/relationships/theme" Target="../theme/theme4.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9" Type="http://schemas.openxmlformats.org/officeDocument/2006/relationships/slideLayout" Target="../slideLayouts/slideLayout120.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slideLayout" Target="../slideLayouts/slideLayout128.xml"/><Relationship Id="rId40" Type="http://schemas.openxmlformats.org/officeDocument/2006/relationships/slideLayout" Target="../slideLayouts/slideLayout131.xml"/><Relationship Id="rId45" Type="http://schemas.openxmlformats.org/officeDocument/2006/relationships/slideLayout" Target="../slideLayouts/slideLayout136.xml"/><Relationship Id="rId53" Type="http://schemas.openxmlformats.org/officeDocument/2006/relationships/slideLayout" Target="../slideLayouts/slideLayout144.xml"/><Relationship Id="rId58" Type="http://schemas.openxmlformats.org/officeDocument/2006/relationships/slideLayout" Target="../slideLayouts/slideLayout149.xml"/><Relationship Id="rId66" Type="http://schemas.openxmlformats.org/officeDocument/2006/relationships/slideLayout" Target="../slideLayouts/slideLayout157.xml"/><Relationship Id="rId5" Type="http://schemas.openxmlformats.org/officeDocument/2006/relationships/slideLayout" Target="../slideLayouts/slideLayout96.xml"/><Relationship Id="rId61" Type="http://schemas.openxmlformats.org/officeDocument/2006/relationships/slideLayout" Target="../slideLayouts/slideLayout152.xml"/><Relationship Id="rId19" Type="http://schemas.openxmlformats.org/officeDocument/2006/relationships/slideLayout" Target="../slideLayouts/slideLayout11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slideLayout" Target="../slideLayouts/slideLayout126.xml"/><Relationship Id="rId43" Type="http://schemas.openxmlformats.org/officeDocument/2006/relationships/slideLayout" Target="../slideLayouts/slideLayout134.xml"/><Relationship Id="rId48" Type="http://schemas.openxmlformats.org/officeDocument/2006/relationships/slideLayout" Target="../slideLayouts/slideLayout139.xml"/><Relationship Id="rId56" Type="http://schemas.openxmlformats.org/officeDocument/2006/relationships/slideLayout" Target="../slideLayouts/slideLayout147.xml"/><Relationship Id="rId64" Type="http://schemas.openxmlformats.org/officeDocument/2006/relationships/slideLayout" Target="../slideLayouts/slideLayout155.xml"/><Relationship Id="rId69" Type="http://schemas.openxmlformats.org/officeDocument/2006/relationships/slideLayout" Target="../slideLayouts/slideLayout160.xml"/><Relationship Id="rId8" Type="http://schemas.openxmlformats.org/officeDocument/2006/relationships/slideLayout" Target="../slideLayouts/slideLayout99.xml"/><Relationship Id="rId51" Type="http://schemas.openxmlformats.org/officeDocument/2006/relationships/slideLayout" Target="../slideLayouts/slideLayout142.xml"/><Relationship Id="rId72" Type="http://schemas.openxmlformats.org/officeDocument/2006/relationships/image" Target="../media/image36.emf"/><Relationship Id="rId3" Type="http://schemas.openxmlformats.org/officeDocument/2006/relationships/slideLayout" Target="../slideLayouts/slideLayout94.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slideLayout" Target="../slideLayouts/slideLayout129.xml"/><Relationship Id="rId46" Type="http://schemas.openxmlformats.org/officeDocument/2006/relationships/slideLayout" Target="../slideLayouts/slideLayout137.xml"/><Relationship Id="rId59" Type="http://schemas.openxmlformats.org/officeDocument/2006/relationships/slideLayout" Target="../slideLayouts/slideLayout150.xml"/><Relationship Id="rId67" Type="http://schemas.openxmlformats.org/officeDocument/2006/relationships/slideLayout" Target="../slideLayouts/slideLayout158.xml"/><Relationship Id="rId20" Type="http://schemas.openxmlformats.org/officeDocument/2006/relationships/slideLayout" Target="../slideLayouts/slideLayout111.xml"/><Relationship Id="rId41" Type="http://schemas.openxmlformats.org/officeDocument/2006/relationships/slideLayout" Target="../slideLayouts/slideLayout132.xml"/><Relationship Id="rId54" Type="http://schemas.openxmlformats.org/officeDocument/2006/relationships/slideLayout" Target="../slideLayouts/slideLayout145.xml"/><Relationship Id="rId62" Type="http://schemas.openxmlformats.org/officeDocument/2006/relationships/slideLayout" Target="../slideLayouts/slideLayout153.xml"/><Relationship Id="rId70" Type="http://schemas.openxmlformats.org/officeDocument/2006/relationships/slideLayout" Target="../slideLayouts/slideLayout16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slideLayout" Target="../slideLayouts/slideLayout127.xml"/><Relationship Id="rId49" Type="http://schemas.openxmlformats.org/officeDocument/2006/relationships/slideLayout" Target="../slideLayouts/slideLayout140.xml"/><Relationship Id="rId57" Type="http://schemas.openxmlformats.org/officeDocument/2006/relationships/slideLayout" Target="../slideLayouts/slideLayout148.xml"/><Relationship Id="rId10" Type="http://schemas.openxmlformats.org/officeDocument/2006/relationships/slideLayout" Target="../slideLayouts/slideLayout101.xml"/><Relationship Id="rId31" Type="http://schemas.openxmlformats.org/officeDocument/2006/relationships/slideLayout" Target="../slideLayouts/slideLayout122.xml"/><Relationship Id="rId44" Type="http://schemas.openxmlformats.org/officeDocument/2006/relationships/slideLayout" Target="../slideLayouts/slideLayout135.xml"/><Relationship Id="rId52" Type="http://schemas.openxmlformats.org/officeDocument/2006/relationships/slideLayout" Target="../slideLayouts/slideLayout143.xml"/><Relationship Id="rId60" Type="http://schemas.openxmlformats.org/officeDocument/2006/relationships/slideLayout" Target="../slideLayouts/slideLayout151.xml"/><Relationship Id="rId65" Type="http://schemas.openxmlformats.org/officeDocument/2006/relationships/slideLayout" Target="../slideLayouts/slideLayout156.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9" Type="http://schemas.openxmlformats.org/officeDocument/2006/relationships/slideLayout" Target="../slideLayouts/slideLayout130.xml"/><Relationship Id="rId34" Type="http://schemas.openxmlformats.org/officeDocument/2006/relationships/slideLayout" Target="../slideLayouts/slideLayout125.xml"/><Relationship Id="rId50" Type="http://schemas.openxmlformats.org/officeDocument/2006/relationships/slideLayout" Target="../slideLayouts/slideLayout141.xml"/><Relationship Id="rId55"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D46DC0AB-5CB4-1A98-CD5F-F67562096F6F}"/>
              </a:ext>
            </a:extLst>
          </p:cNvPr>
          <p:cNvSpPr/>
          <p:nvPr userDrawn="1"/>
        </p:nvSpPr>
        <p:spPr bwMode="auto">
          <a:xfrm>
            <a:off x="2497459" y="-1936240"/>
            <a:ext cx="9694541" cy="1498091"/>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a:extLst>
              <a:ext uri="{FF2B5EF4-FFF2-40B4-BE49-F238E27FC236}">
                <a16:creationId xmlns:a16="http://schemas.microsoft.com/office/drawing/2014/main" id="{BEAA32E7-A1D7-1242-A7D8-B384957245E6}"/>
              </a:ext>
            </a:extLst>
          </p:cNvPr>
          <p:cNvSpPr txBox="1">
            <a:spLocks/>
          </p:cNvSpPr>
          <p:nvPr userDrawn="1"/>
        </p:nvSpPr>
        <p:spPr>
          <a:xfrm rot="5400000">
            <a:off x="11564361" y="729487"/>
            <a:ext cx="1828305" cy="369332"/>
          </a:xfrm>
          <a:prstGeom prst="rect">
            <a:avLst/>
          </a:prstGeom>
          <a:noFill/>
        </p:spPr>
        <p:txBody>
          <a:bodyPr wrap="square" lIns="0" tIns="0" rIns="0" bIns="0">
            <a:spAutoFit/>
          </a:bodyPr>
          <a:lstStyle>
            <a:lvl1pPr marL="0" marR="0" indent="0" algn="l" defTabSz="932742" rtl="0" eaLnBrk="1" fontAlgn="auto" latinLnBrk="0" hangingPunct="1">
              <a:lnSpc>
                <a:spcPct val="100000"/>
              </a:lnSpc>
              <a:spcBef>
                <a:spcPct val="0"/>
              </a:spcBef>
              <a:spcAft>
                <a:spcPts val="1200"/>
              </a:spcAft>
              <a:buClrTx/>
              <a:buSzTx/>
              <a:buFont typeface="Wingdings" panose="05000000000000000000" pitchFamily="2" charset="2"/>
              <a:buNone/>
              <a:tabLst/>
              <a:defRPr lang="en-US" sz="2400" b="0" kern="1200" cap="none" spc="0" baseline="0" dirty="0">
                <a:ln w="3175">
                  <a:noFill/>
                </a:ln>
                <a:gradFill flip="none" rotWithShape="1">
                  <a:gsLst>
                    <a:gs pos="12000">
                      <a:srgbClr val="D59ED7"/>
                    </a:gs>
                    <a:gs pos="86000">
                      <a:srgbClr val="8DC8E8"/>
                    </a:gs>
                  </a:gsLst>
                  <a:lin ang="10800000" scaled="1"/>
                  <a:tileRect/>
                </a:gradFill>
                <a:effectLst/>
                <a:latin typeface="+mj-lt"/>
                <a:ea typeface="+mj-ea"/>
                <a:cs typeface="+mj-cs"/>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ubtitle text</a:t>
            </a:r>
          </a:p>
        </p:txBody>
      </p:sp>
      <p:sp>
        <p:nvSpPr>
          <p:cNvPr id="6" name="Text Placeholder 4">
            <a:extLst>
              <a:ext uri="{FF2B5EF4-FFF2-40B4-BE49-F238E27FC236}">
                <a16:creationId xmlns:a16="http://schemas.microsoft.com/office/drawing/2014/main" id="{0BE3EAB6-D450-FB84-0511-72931D9E86B3}"/>
              </a:ext>
            </a:extLst>
          </p:cNvPr>
          <p:cNvSpPr txBox="1">
            <a:spLocks/>
          </p:cNvSpPr>
          <p:nvPr userDrawn="1"/>
        </p:nvSpPr>
        <p:spPr>
          <a:xfrm rot="5400000">
            <a:off x="11551661" y="2724551"/>
            <a:ext cx="1828305" cy="246221"/>
          </a:xfrm>
          <a:prstGeom prst="rect">
            <a:avLst/>
          </a:prstGeom>
          <a:noFill/>
        </p:spPr>
        <p:txBody>
          <a:bodyPr wrap="square" lIns="0" tIns="0" rIns="0" bIns="0">
            <a:spAutoFit/>
          </a:bodyPr>
          <a:lstStyle>
            <a:lvl1pPr marL="0" marR="0" indent="0" algn="l" defTabSz="932742" rtl="0" eaLnBrk="1" fontAlgn="auto" latinLnBrk="0" hangingPunct="1">
              <a:lnSpc>
                <a:spcPct val="100000"/>
              </a:lnSpc>
              <a:spcBef>
                <a:spcPct val="0"/>
              </a:spcBef>
              <a:spcAft>
                <a:spcPts val="1200"/>
              </a:spcAft>
              <a:buClrTx/>
              <a:buSzTx/>
              <a:buFont typeface="Wingdings" panose="05000000000000000000" pitchFamily="2" charset="2"/>
              <a:buNone/>
              <a:tabLst/>
              <a:defRPr lang="en-US" sz="2400" b="0" kern="1200" cap="none" spc="0" baseline="0" dirty="0">
                <a:ln w="3175">
                  <a:noFill/>
                </a:ln>
                <a:gradFill flip="none" rotWithShape="1">
                  <a:gsLst>
                    <a:gs pos="12000">
                      <a:srgbClr val="D59ED7"/>
                    </a:gs>
                    <a:gs pos="86000">
                      <a:srgbClr val="8DC8E8"/>
                    </a:gs>
                  </a:gsLst>
                  <a:lin ang="10800000" scaled="1"/>
                  <a:tileRect/>
                </a:gradFill>
                <a:effectLst/>
                <a:latin typeface="+mj-lt"/>
                <a:ea typeface="+mj-ea"/>
                <a:cs typeface="+mj-cs"/>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a:latin typeface="+mn-lt"/>
              </a:rPr>
              <a:t>Subtitle text</a:t>
            </a:r>
          </a:p>
        </p:txBody>
      </p:sp>
      <p:sp>
        <p:nvSpPr>
          <p:cNvPr id="64" name="Rectangle: Rounded Corners 63">
            <a:extLst>
              <a:ext uri="{FF2B5EF4-FFF2-40B4-BE49-F238E27FC236}">
                <a16:creationId xmlns:a16="http://schemas.microsoft.com/office/drawing/2014/main" id="{1E3A32F0-F2E8-467C-D624-9E7F5CAE9C97}"/>
              </a:ext>
              <a:ext uri="{C183D7F6-B498-43B3-948B-1728B52AA6E4}">
                <adec:decorative xmlns:adec="http://schemas.microsoft.com/office/drawing/2017/decorative" val="1"/>
              </a:ext>
            </a:extLst>
          </p:cNvPr>
          <p:cNvSpPr>
            <a:spLocks/>
          </p:cNvSpPr>
          <p:nvPr userDrawn="1"/>
        </p:nvSpPr>
        <p:spPr bwMode="auto">
          <a:xfrm>
            <a:off x="5450092" y="-1639835"/>
            <a:ext cx="3520538" cy="973088"/>
          </a:xfrm>
          <a:prstGeom prst="roundRect">
            <a:avLst>
              <a:gd name="adj" fmla="val 21734"/>
            </a:avLst>
          </a:prstGeom>
          <a:solidFill>
            <a:srgbClr val="0D2B3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ts val="600"/>
              </a:spcAft>
            </a:pPr>
            <a:endParaRPr lang="en-US">
              <a:solidFill>
                <a:srgbClr val="FFFFFF"/>
              </a:solidFill>
              <a:latin typeface="Segoe Sans Display"/>
            </a:endParaRPr>
          </a:p>
        </p:txBody>
      </p:sp>
      <p:sp>
        <p:nvSpPr>
          <p:cNvPr id="65" name="Rectangle: Rounded Corners 64">
            <a:extLst>
              <a:ext uri="{FF2B5EF4-FFF2-40B4-BE49-F238E27FC236}">
                <a16:creationId xmlns:a16="http://schemas.microsoft.com/office/drawing/2014/main" id="{F16D27F7-792C-231A-2087-5F8003AACC09}"/>
              </a:ext>
              <a:ext uri="{C183D7F6-B498-43B3-948B-1728B52AA6E4}">
                <adec:decorative xmlns:adec="http://schemas.microsoft.com/office/drawing/2017/decorative" val="1"/>
              </a:ext>
            </a:extLst>
          </p:cNvPr>
          <p:cNvSpPr>
            <a:spLocks/>
          </p:cNvSpPr>
          <p:nvPr userDrawn="1"/>
        </p:nvSpPr>
        <p:spPr bwMode="auto">
          <a:xfrm>
            <a:off x="2889377" y="-1410614"/>
            <a:ext cx="1079342" cy="514646"/>
          </a:xfrm>
          <a:prstGeom prst="roundRect">
            <a:avLst>
              <a:gd name="adj" fmla="val 50000"/>
            </a:avLst>
          </a:prstGeom>
          <a:solidFill>
            <a:srgbClr val="0D2B3D"/>
          </a:solidFill>
          <a:ln w="12700" cap="rnd">
            <a:solidFill>
              <a:srgbClr val="8DC8E8"/>
            </a:solidFill>
            <a:headEnd type="none" w="lg" len="sm"/>
            <a:tailEnd type="none" w="lg" len="sm"/>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73" rtl="0" eaLnBrk="1" fontAlgn="base" latinLnBrk="0" hangingPunct="1">
              <a:lnSpc>
                <a:spcPct val="100000"/>
              </a:lnSpc>
              <a:spcBef>
                <a:spcPct val="0"/>
              </a:spcBef>
              <a:spcAft>
                <a:spcPts val="1200"/>
              </a:spcAft>
              <a:buClrTx/>
              <a:buSzPct val="90000"/>
              <a:buFontTx/>
              <a:buNone/>
              <a:tabLst>
                <a:tab pos="1371710" algn="l"/>
              </a:tabLst>
              <a:defRPr/>
            </a:pPr>
            <a:r>
              <a:rPr kumimoji="0" lang="en-US" sz="1200" b="0" i="0" u="none" strike="noStrike" kern="0" cap="none" spc="0" normalizeH="0" baseline="0" noProof="0">
                <a:ln w="3175">
                  <a:noFill/>
                </a:ln>
                <a:solidFill>
                  <a:srgbClr val="FFFFFF"/>
                </a:solidFill>
                <a:effectLst/>
                <a:uLnTx/>
                <a:uFillTx/>
                <a:latin typeface="Segoe UI Semibold"/>
                <a:ea typeface="+mn-ea"/>
                <a:cs typeface="+mn-cs"/>
              </a:rPr>
              <a:t>Text</a:t>
            </a:r>
          </a:p>
        </p:txBody>
      </p:sp>
      <p:sp>
        <p:nvSpPr>
          <p:cNvPr id="66" name="Rectangle: Rounded Corners 65">
            <a:extLst>
              <a:ext uri="{FF2B5EF4-FFF2-40B4-BE49-F238E27FC236}">
                <a16:creationId xmlns:a16="http://schemas.microsoft.com/office/drawing/2014/main" id="{AFE99980-7718-1D6A-43A1-2E747062A3A6}"/>
              </a:ext>
              <a:ext uri="{C183D7F6-B498-43B3-948B-1728B52AA6E4}">
                <adec:decorative xmlns:adec="http://schemas.microsoft.com/office/drawing/2017/decorative" val="1"/>
              </a:ext>
            </a:extLst>
          </p:cNvPr>
          <p:cNvSpPr>
            <a:spLocks/>
          </p:cNvSpPr>
          <p:nvPr userDrawn="1"/>
        </p:nvSpPr>
        <p:spPr bwMode="auto">
          <a:xfrm>
            <a:off x="4236169" y="-1410614"/>
            <a:ext cx="1079342" cy="514646"/>
          </a:xfrm>
          <a:prstGeom prst="roundRect">
            <a:avLst>
              <a:gd name="adj" fmla="val 50000"/>
            </a:avLst>
          </a:prstGeom>
          <a:solidFill>
            <a:srgbClr val="0D2B3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ts val="600"/>
              </a:spcAft>
            </a:pPr>
            <a:r>
              <a:rPr lang="en-US" sz="1200">
                <a:solidFill>
                  <a:srgbClr val="FFFFFF"/>
                </a:solidFill>
                <a:latin typeface="Segoe UI Semibold"/>
              </a:rPr>
              <a:t>Text</a:t>
            </a:r>
          </a:p>
        </p:txBody>
      </p:sp>
      <p:sp>
        <p:nvSpPr>
          <p:cNvPr id="67" name="Rectangle: Rounded Corners 66">
            <a:extLst>
              <a:ext uri="{FF2B5EF4-FFF2-40B4-BE49-F238E27FC236}">
                <a16:creationId xmlns:a16="http://schemas.microsoft.com/office/drawing/2014/main" id="{72192615-CFC0-5B26-F6E8-AB9C13474A95}"/>
              </a:ext>
              <a:ext uri="{C183D7F6-B498-43B3-948B-1728B52AA6E4}">
                <adec:decorative xmlns:adec="http://schemas.microsoft.com/office/drawing/2017/decorative" val="1"/>
              </a:ext>
            </a:extLst>
          </p:cNvPr>
          <p:cNvSpPr>
            <a:spLocks/>
          </p:cNvSpPr>
          <p:nvPr userDrawn="1"/>
        </p:nvSpPr>
        <p:spPr bwMode="auto">
          <a:xfrm>
            <a:off x="5582961" y="-1410614"/>
            <a:ext cx="1079342" cy="514646"/>
          </a:xfrm>
          <a:prstGeom prst="roundRect">
            <a:avLst>
              <a:gd name="adj" fmla="val 50000"/>
            </a:avLst>
          </a:prstGeom>
          <a:solidFill>
            <a:srgbClr val="091F2C"/>
          </a:solidFill>
          <a:ln>
            <a:solidFill>
              <a:srgbClr val="091F2C">
                <a:lumMod val="75000"/>
                <a:lumOff val="25000"/>
              </a:srgbClr>
            </a:solid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kern="0">
                <a:solidFill>
                  <a:srgbClr val="FFFFFF"/>
                </a:solidFill>
                <a:latin typeface="Segoe UI Semibold"/>
                <a:cs typeface="Segoe UI" pitchFamily="34" charset="0"/>
              </a:rPr>
              <a:t>Text</a:t>
            </a:r>
          </a:p>
        </p:txBody>
      </p:sp>
      <p:sp>
        <p:nvSpPr>
          <p:cNvPr id="73" name="Rectangle: Rounded Corners 72">
            <a:extLst>
              <a:ext uri="{FF2B5EF4-FFF2-40B4-BE49-F238E27FC236}">
                <a16:creationId xmlns:a16="http://schemas.microsoft.com/office/drawing/2014/main" id="{EA8ABCD8-03FC-C367-73B4-D0AD28FF551E}"/>
              </a:ext>
              <a:ext uri="{C183D7F6-B498-43B3-948B-1728B52AA6E4}">
                <adec:decorative xmlns:adec="http://schemas.microsoft.com/office/drawing/2017/decorative" val="1"/>
              </a:ext>
            </a:extLst>
          </p:cNvPr>
          <p:cNvSpPr>
            <a:spLocks/>
          </p:cNvSpPr>
          <p:nvPr userDrawn="1"/>
        </p:nvSpPr>
        <p:spPr bwMode="auto">
          <a:xfrm>
            <a:off x="6842898" y="-1565757"/>
            <a:ext cx="1967732" cy="824932"/>
          </a:xfrm>
          <a:prstGeom prst="roundRect">
            <a:avLst>
              <a:gd name="adj" fmla="val 21734"/>
            </a:avLst>
          </a:prstGeom>
          <a:solidFill>
            <a:srgbClr val="06162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ts val="600"/>
              </a:spcAft>
            </a:pPr>
            <a:endParaRPr lang="en-US">
              <a:solidFill>
                <a:srgbClr val="FFFFFF"/>
              </a:solidFill>
              <a:latin typeface="Segoe Sans Display"/>
            </a:endParaRPr>
          </a:p>
        </p:txBody>
      </p:sp>
      <p:sp>
        <p:nvSpPr>
          <p:cNvPr id="83" name="Oval 82">
            <a:extLst>
              <a:ext uri="{FF2B5EF4-FFF2-40B4-BE49-F238E27FC236}">
                <a16:creationId xmlns:a16="http://schemas.microsoft.com/office/drawing/2014/main" id="{49A01F9F-A970-5D3E-8766-F6D78C61B9FB}"/>
              </a:ext>
              <a:ext uri="{C183D7F6-B498-43B3-948B-1728B52AA6E4}">
                <adec:decorative xmlns:adec="http://schemas.microsoft.com/office/drawing/2017/decorative" val="1"/>
              </a:ext>
            </a:extLst>
          </p:cNvPr>
          <p:cNvSpPr>
            <a:spLocks/>
          </p:cNvSpPr>
          <p:nvPr userDrawn="1"/>
        </p:nvSpPr>
        <p:spPr bwMode="auto">
          <a:xfrm>
            <a:off x="7088363" y="-1447497"/>
            <a:ext cx="588413" cy="588413"/>
          </a:xfrm>
          <a:prstGeom prst="ellipse">
            <a:avLst/>
          </a:prstGeom>
          <a:gradFill flip="none" rotWithShape="1">
            <a:gsLst>
              <a:gs pos="77000">
                <a:srgbClr val="091F2C"/>
              </a:gs>
              <a:gs pos="0">
                <a:srgbClr val="253741"/>
              </a:gs>
            </a:gsLst>
            <a:path path="circle">
              <a:fillToRect l="100000" t="100000"/>
            </a:path>
            <a:tileRect r="-100000" b="-100000"/>
          </a:gradFill>
          <a:ln w="12700">
            <a:solidFill>
              <a:srgbClr val="1C628B">
                <a:alpha val="50000"/>
              </a:srgbClr>
            </a:solidFill>
          </a:ln>
          <a:effectLst>
            <a:outerShdw blurRad="44450" dist="13970" dir="2700000" algn="tl" rotWithShape="0">
              <a:prstClr val="black">
                <a:alpha val="45000"/>
              </a:prstClr>
            </a:outerShdw>
          </a:effectLst>
        </p:spPr>
        <p:txBody>
          <a:bodyPr wrap="square" lIns="0" tIns="0" rIns="0" bIns="0" anchor="ctr" anchorCtr="0">
            <a:noAutofit/>
          </a:bodyPr>
          <a:lstStyle/>
          <a:p>
            <a:pPr marL="0" marR="0" lvl="0" indent="0" algn="ctr" defTabSz="914367"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w="3175">
                <a:noFill/>
              </a:ln>
              <a:gradFill>
                <a:gsLst>
                  <a:gs pos="55747">
                    <a:srgbClr val="000000"/>
                  </a:gs>
                  <a:gs pos="37000">
                    <a:srgbClr val="000000"/>
                  </a:gs>
                </a:gsLst>
                <a:lin ang="5400000" scaled="1"/>
              </a:gradFill>
              <a:effectLst/>
              <a:uLnTx/>
              <a:uFillTx/>
              <a:latin typeface="Segoe UI Semibold"/>
              <a:cs typeface="Segoe UI" pitchFamily="34" charset="0"/>
            </a:endParaRPr>
          </a:p>
        </p:txBody>
      </p:sp>
      <p:sp>
        <p:nvSpPr>
          <p:cNvPr id="84" name="Graphic 11">
            <a:extLst>
              <a:ext uri="{FF2B5EF4-FFF2-40B4-BE49-F238E27FC236}">
                <a16:creationId xmlns:a16="http://schemas.microsoft.com/office/drawing/2014/main" id="{3E1B36DB-348D-AA94-427E-6F16AFB9EA75}"/>
              </a:ext>
              <a:ext uri="{C183D7F6-B498-43B3-948B-1728B52AA6E4}">
                <adec:decorative xmlns:adec="http://schemas.microsoft.com/office/drawing/2017/decorative" val="1"/>
              </a:ext>
            </a:extLst>
          </p:cNvPr>
          <p:cNvSpPr>
            <a:spLocks/>
          </p:cNvSpPr>
          <p:nvPr userDrawn="1"/>
        </p:nvSpPr>
        <p:spPr>
          <a:xfrm>
            <a:off x="7255990" y="-1273825"/>
            <a:ext cx="253158" cy="241068"/>
          </a:xfrm>
          <a:custGeom>
            <a:avLst/>
            <a:gdLst>
              <a:gd name="connsiteX0" fmla="*/ 14288 w 190500"/>
              <a:gd name="connsiteY0" fmla="*/ 104775 h 180975"/>
              <a:gd name="connsiteX1" fmla="*/ 109538 w 190500"/>
              <a:gd name="connsiteY1" fmla="*/ 104785 h 180975"/>
              <a:gd name="connsiteX2" fmla="*/ 123758 w 190500"/>
              <a:gd name="connsiteY2" fmla="*/ 117700 h 180975"/>
              <a:gd name="connsiteX3" fmla="*/ 123825 w 190500"/>
              <a:gd name="connsiteY3" fmla="*/ 119063 h 180975"/>
              <a:gd name="connsiteX4" fmla="*/ 123825 w 190500"/>
              <a:gd name="connsiteY4" fmla="*/ 138113 h 180975"/>
              <a:gd name="connsiteX5" fmla="*/ 61913 w 190500"/>
              <a:gd name="connsiteY5" fmla="*/ 180975 h 180975"/>
              <a:gd name="connsiteX6" fmla="*/ 48 w 190500"/>
              <a:gd name="connsiteY6" fmla="*/ 140303 h 180975"/>
              <a:gd name="connsiteX7" fmla="*/ 0 w 190500"/>
              <a:gd name="connsiteY7" fmla="*/ 138113 h 180975"/>
              <a:gd name="connsiteX8" fmla="*/ 0 w 190500"/>
              <a:gd name="connsiteY8" fmla="*/ 119063 h 180975"/>
              <a:gd name="connsiteX9" fmla="*/ 12916 w 190500"/>
              <a:gd name="connsiteY9" fmla="*/ 104842 h 180975"/>
              <a:gd name="connsiteX10" fmla="*/ 14288 w 190500"/>
              <a:gd name="connsiteY10" fmla="*/ 104775 h 180975"/>
              <a:gd name="connsiteX11" fmla="*/ 128473 w 190500"/>
              <a:gd name="connsiteY11" fmla="*/ 104775 h 180975"/>
              <a:gd name="connsiteX12" fmla="*/ 176213 w 190500"/>
              <a:gd name="connsiteY12" fmla="*/ 104775 h 180975"/>
              <a:gd name="connsiteX13" fmla="*/ 190433 w 190500"/>
              <a:gd name="connsiteY13" fmla="*/ 117681 h 180975"/>
              <a:gd name="connsiteX14" fmla="*/ 190500 w 190500"/>
              <a:gd name="connsiteY14" fmla="*/ 119063 h 180975"/>
              <a:gd name="connsiteX15" fmla="*/ 190500 w 190500"/>
              <a:gd name="connsiteY15" fmla="*/ 133350 h 180975"/>
              <a:gd name="connsiteX16" fmla="*/ 142875 w 190500"/>
              <a:gd name="connsiteY16" fmla="*/ 171450 h 180975"/>
              <a:gd name="connsiteX17" fmla="*/ 122492 w 190500"/>
              <a:gd name="connsiteY17" fmla="*/ 168383 h 180975"/>
              <a:gd name="connsiteX18" fmla="*/ 133283 w 190500"/>
              <a:gd name="connsiteY18" fmla="*/ 140780 h 180975"/>
              <a:gd name="connsiteX19" fmla="*/ 133350 w 190500"/>
              <a:gd name="connsiteY19" fmla="*/ 138113 h 180975"/>
              <a:gd name="connsiteX20" fmla="*/ 133350 w 190500"/>
              <a:gd name="connsiteY20" fmla="*/ 119063 h 180975"/>
              <a:gd name="connsiteX21" fmla="*/ 129550 w 190500"/>
              <a:gd name="connsiteY21" fmla="*/ 106318 h 180975"/>
              <a:gd name="connsiteX22" fmla="*/ 128473 w 190500"/>
              <a:gd name="connsiteY22" fmla="*/ 104775 h 180975"/>
              <a:gd name="connsiteX23" fmla="*/ 176213 w 190500"/>
              <a:gd name="connsiteY23" fmla="*/ 104775 h 180975"/>
              <a:gd name="connsiteX24" fmla="*/ 128473 w 190500"/>
              <a:gd name="connsiteY24" fmla="*/ 104775 h 180975"/>
              <a:gd name="connsiteX25" fmla="*/ 61913 w 190500"/>
              <a:gd name="connsiteY25" fmla="*/ 0 h 180975"/>
              <a:gd name="connsiteX26" fmla="*/ 104775 w 190500"/>
              <a:gd name="connsiteY26" fmla="*/ 42863 h 180975"/>
              <a:gd name="connsiteX27" fmla="*/ 61913 w 190500"/>
              <a:gd name="connsiteY27" fmla="*/ 85725 h 180975"/>
              <a:gd name="connsiteX28" fmla="*/ 19050 w 190500"/>
              <a:gd name="connsiteY28" fmla="*/ 42863 h 180975"/>
              <a:gd name="connsiteX29" fmla="*/ 61913 w 190500"/>
              <a:gd name="connsiteY29" fmla="*/ 0 h 180975"/>
              <a:gd name="connsiteX30" fmla="*/ 147638 w 190500"/>
              <a:gd name="connsiteY30" fmla="*/ 19050 h 180975"/>
              <a:gd name="connsiteX31" fmla="*/ 180975 w 190500"/>
              <a:gd name="connsiteY31" fmla="*/ 52388 h 180975"/>
              <a:gd name="connsiteX32" fmla="*/ 147638 w 190500"/>
              <a:gd name="connsiteY32" fmla="*/ 85725 h 180975"/>
              <a:gd name="connsiteX33" fmla="*/ 114300 w 190500"/>
              <a:gd name="connsiteY33" fmla="*/ 52388 h 180975"/>
              <a:gd name="connsiteX34" fmla="*/ 147638 w 190500"/>
              <a:gd name="connsiteY34" fmla="*/ 1905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0500" h="180975">
                <a:moveTo>
                  <a:pt x="14288" y="104775"/>
                </a:moveTo>
                <a:lnTo>
                  <a:pt x="109538" y="104785"/>
                </a:lnTo>
                <a:cubicBezTo>
                  <a:pt x="116897" y="104785"/>
                  <a:pt x="123052" y="110375"/>
                  <a:pt x="123758" y="117700"/>
                </a:cubicBezTo>
                <a:lnTo>
                  <a:pt x="123825" y="119063"/>
                </a:lnTo>
                <a:lnTo>
                  <a:pt x="123825" y="138113"/>
                </a:lnTo>
                <a:cubicBezTo>
                  <a:pt x="123815" y="171450"/>
                  <a:pt x="88430" y="180975"/>
                  <a:pt x="61913" y="180975"/>
                </a:cubicBezTo>
                <a:cubicBezTo>
                  <a:pt x="35985" y="180975"/>
                  <a:pt x="1572" y="171869"/>
                  <a:pt x="48" y="140303"/>
                </a:cubicBezTo>
                <a:lnTo>
                  <a:pt x="0" y="138113"/>
                </a:lnTo>
                <a:lnTo>
                  <a:pt x="0" y="119063"/>
                </a:lnTo>
                <a:cubicBezTo>
                  <a:pt x="0" y="111703"/>
                  <a:pt x="5591" y="105548"/>
                  <a:pt x="12916" y="104842"/>
                </a:cubicBezTo>
                <a:lnTo>
                  <a:pt x="14288" y="104775"/>
                </a:lnTo>
                <a:close/>
                <a:moveTo>
                  <a:pt x="128473" y="104775"/>
                </a:moveTo>
                <a:lnTo>
                  <a:pt x="176213" y="104775"/>
                </a:lnTo>
                <a:cubicBezTo>
                  <a:pt x="183569" y="104775"/>
                  <a:pt x="189722" y="110360"/>
                  <a:pt x="190433" y="117681"/>
                </a:cubicBezTo>
                <a:lnTo>
                  <a:pt x="190500" y="119063"/>
                </a:lnTo>
                <a:lnTo>
                  <a:pt x="190500" y="133350"/>
                </a:lnTo>
                <a:cubicBezTo>
                  <a:pt x="190490" y="162516"/>
                  <a:pt x="163278" y="171450"/>
                  <a:pt x="142875" y="171450"/>
                </a:cubicBezTo>
                <a:cubicBezTo>
                  <a:pt x="135965" y="171466"/>
                  <a:pt x="129091" y="170432"/>
                  <a:pt x="122492" y="168383"/>
                </a:cubicBezTo>
                <a:cubicBezTo>
                  <a:pt x="128711" y="161239"/>
                  <a:pt x="132740" y="152162"/>
                  <a:pt x="133283" y="140780"/>
                </a:cubicBezTo>
                <a:lnTo>
                  <a:pt x="133350" y="138113"/>
                </a:lnTo>
                <a:lnTo>
                  <a:pt x="133350" y="119063"/>
                </a:lnTo>
                <a:cubicBezTo>
                  <a:pt x="133350" y="114357"/>
                  <a:pt x="131921" y="110004"/>
                  <a:pt x="129550" y="106318"/>
                </a:cubicBezTo>
                <a:lnTo>
                  <a:pt x="128473" y="104775"/>
                </a:lnTo>
                <a:lnTo>
                  <a:pt x="176213" y="104775"/>
                </a:lnTo>
                <a:lnTo>
                  <a:pt x="128473" y="104775"/>
                </a:lnTo>
                <a:close/>
                <a:moveTo>
                  <a:pt x="61913" y="0"/>
                </a:moveTo>
                <a:cubicBezTo>
                  <a:pt x="85585" y="0"/>
                  <a:pt x="104775" y="19190"/>
                  <a:pt x="104775" y="42863"/>
                </a:cubicBezTo>
                <a:cubicBezTo>
                  <a:pt x="104775" y="66535"/>
                  <a:pt x="85585" y="85725"/>
                  <a:pt x="61913" y="85725"/>
                </a:cubicBezTo>
                <a:cubicBezTo>
                  <a:pt x="38240" y="85725"/>
                  <a:pt x="19050" y="66535"/>
                  <a:pt x="19050" y="42863"/>
                </a:cubicBezTo>
                <a:cubicBezTo>
                  <a:pt x="19050" y="19190"/>
                  <a:pt x="38240" y="0"/>
                  <a:pt x="61913" y="0"/>
                </a:cubicBezTo>
                <a:close/>
                <a:moveTo>
                  <a:pt x="147638" y="19050"/>
                </a:moveTo>
                <a:cubicBezTo>
                  <a:pt x="166049" y="19050"/>
                  <a:pt x="180975" y="33976"/>
                  <a:pt x="180975" y="52388"/>
                </a:cubicBezTo>
                <a:cubicBezTo>
                  <a:pt x="180975" y="70799"/>
                  <a:pt x="166049" y="85725"/>
                  <a:pt x="147638" y="85725"/>
                </a:cubicBezTo>
                <a:cubicBezTo>
                  <a:pt x="129226" y="85725"/>
                  <a:pt x="114300" y="70799"/>
                  <a:pt x="114300" y="52388"/>
                </a:cubicBezTo>
                <a:cubicBezTo>
                  <a:pt x="114300" y="33976"/>
                  <a:pt x="129226" y="19050"/>
                  <a:pt x="147638" y="19050"/>
                </a:cubicBezTo>
                <a:close/>
              </a:path>
            </a:pathLst>
          </a:custGeom>
          <a:gradFill flip="none" rotWithShape="1">
            <a:gsLst>
              <a:gs pos="0">
                <a:srgbClr val="8DC8E8"/>
              </a:gs>
              <a:gs pos="100000">
                <a:srgbClr val="D59ED7"/>
              </a:gs>
            </a:gsLst>
            <a:lin ang="2700000" scaled="1"/>
            <a:tileRect/>
          </a:gradFill>
          <a:ln w="9525" cap="flat" cmpd="sng" algn="ctr">
            <a:noFill/>
            <a:prstDash val="solid"/>
            <a:headEnd type="none" w="med" len="med"/>
            <a:tailEnd type="none" w="med" len="med"/>
          </a:ln>
          <a:effectLst>
            <a:outerShdw blurRad="63500" dist="127000" dir="2700000" algn="tl" rotWithShape="0">
              <a:srgbClr val="000000">
                <a:alpha val="5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spcBef>
                <a:spcPct val="0"/>
              </a:spcBef>
              <a:spcAft>
                <a:spcPct val="0"/>
              </a:spcAft>
            </a:pPr>
            <a:endParaRPr lang="en-US" sz="1600" b="1" kern="0">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sp>
        <p:nvSpPr>
          <p:cNvPr id="86" name="Rectangle: Rounded Corners 85">
            <a:extLst>
              <a:ext uri="{FF2B5EF4-FFF2-40B4-BE49-F238E27FC236}">
                <a16:creationId xmlns:a16="http://schemas.microsoft.com/office/drawing/2014/main" id="{050271C8-DF62-7678-31A3-BF6950130019}"/>
              </a:ext>
              <a:ext uri="{C183D7F6-B498-43B3-948B-1728B52AA6E4}">
                <adec:decorative xmlns:adec="http://schemas.microsoft.com/office/drawing/2017/decorative" val="1"/>
              </a:ext>
            </a:extLst>
          </p:cNvPr>
          <p:cNvSpPr>
            <a:spLocks/>
          </p:cNvSpPr>
          <p:nvPr userDrawn="1"/>
        </p:nvSpPr>
        <p:spPr bwMode="auto">
          <a:xfrm>
            <a:off x="9284311" y="-1410614"/>
            <a:ext cx="1079342" cy="514646"/>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ln w="44450" cap="rnd" cmpd="sng" algn="ctr">
            <a:noFill/>
            <a:prstDash val="solid"/>
            <a:headEnd type="none" w="lg" len="med"/>
            <a:tailEnd type="none" w="lg"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ts val="600"/>
              </a:spcAft>
            </a:pPr>
            <a:r>
              <a:rPr lang="en-US" sz="1200">
                <a:solidFill>
                  <a:srgbClr val="FFFFFF"/>
                </a:solidFill>
                <a:latin typeface="Segoe UI Semibold"/>
              </a:rPr>
              <a:t>Text</a:t>
            </a:r>
          </a:p>
        </p:txBody>
      </p:sp>
      <p:sp>
        <p:nvSpPr>
          <p:cNvPr id="87" name="Rectangle: Rounded Corners 86">
            <a:extLst>
              <a:ext uri="{FF2B5EF4-FFF2-40B4-BE49-F238E27FC236}">
                <a16:creationId xmlns:a16="http://schemas.microsoft.com/office/drawing/2014/main" id="{AD5483D9-9F5F-E7E0-4F0C-8ADC11653E89}"/>
              </a:ext>
              <a:ext uri="{C183D7F6-B498-43B3-948B-1728B52AA6E4}">
                <adec:decorative xmlns:adec="http://schemas.microsoft.com/office/drawing/2017/decorative" val="1"/>
              </a:ext>
            </a:extLst>
          </p:cNvPr>
          <p:cNvSpPr>
            <a:spLocks/>
          </p:cNvSpPr>
          <p:nvPr userDrawn="1"/>
        </p:nvSpPr>
        <p:spPr bwMode="auto">
          <a:xfrm>
            <a:off x="10677334" y="-1410614"/>
            <a:ext cx="1079342" cy="514646"/>
          </a:xfrm>
          <a:prstGeom prst="roundRect">
            <a:avLst>
              <a:gd name="adj" fmla="val 50000"/>
            </a:avLst>
          </a:prstGeom>
          <a:noFill/>
          <a:ln w="12700" cap="rnd" cmpd="sng" algn="ctr">
            <a:gradFill flip="none" rotWithShape="1">
              <a:gsLst>
                <a:gs pos="80000">
                  <a:srgbClr val="C03BC4"/>
                </a:gs>
                <a:gs pos="0">
                  <a:srgbClr val="0078D4"/>
                </a:gs>
              </a:gsLst>
              <a:lin ang="2700000" scaled="1"/>
              <a:tileRect/>
            </a:gradFill>
            <a:prstDash val="solid"/>
            <a:headEnd type="none" w="lg" len="sm"/>
            <a:tailEnd type="none" w="lg"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ts val="600"/>
              </a:spcAft>
              <a:buSzPct val="90000"/>
              <a:tabLst>
                <a:tab pos="1371710" algn="l"/>
              </a:tabLst>
            </a:pPr>
            <a:r>
              <a:rPr lang="en-US" sz="1200">
                <a:solidFill>
                  <a:srgbClr val="FFFFFF"/>
                </a:solidFill>
                <a:latin typeface="Segoe UI Semibold"/>
              </a:rPr>
              <a:t>Text</a:t>
            </a:r>
          </a:p>
        </p:txBody>
      </p:sp>
      <p:sp>
        <p:nvSpPr>
          <p:cNvPr id="92" name="Oval 91">
            <a:extLst>
              <a:ext uri="{FF2B5EF4-FFF2-40B4-BE49-F238E27FC236}">
                <a16:creationId xmlns:a16="http://schemas.microsoft.com/office/drawing/2014/main" id="{995A5777-89CC-2CCD-1CEA-20A1CB0A7200}"/>
              </a:ext>
              <a:ext uri="{C183D7F6-B498-43B3-948B-1728B52AA6E4}">
                <adec:decorative xmlns:adec="http://schemas.microsoft.com/office/drawing/2017/decorative" val="1"/>
              </a:ext>
            </a:extLst>
          </p:cNvPr>
          <p:cNvSpPr>
            <a:spLocks/>
          </p:cNvSpPr>
          <p:nvPr userDrawn="1"/>
        </p:nvSpPr>
        <p:spPr bwMode="auto">
          <a:xfrm>
            <a:off x="7844403" y="-1447497"/>
            <a:ext cx="588413" cy="588413"/>
          </a:xfrm>
          <a:prstGeom prst="ellipse">
            <a:avLst/>
          </a:prstGeom>
          <a:gradFill flip="none" rotWithShape="1">
            <a:gsLst>
              <a:gs pos="77000">
                <a:srgbClr val="091F2C"/>
              </a:gs>
              <a:gs pos="0">
                <a:srgbClr val="253741"/>
              </a:gs>
            </a:gsLst>
            <a:path path="circle">
              <a:fillToRect l="100000" t="100000"/>
            </a:path>
            <a:tileRect r="-100000" b="-100000"/>
          </a:gradFill>
          <a:ln w="12700">
            <a:solidFill>
              <a:srgbClr val="1C628B">
                <a:alpha val="50000"/>
              </a:srgbClr>
            </a:solidFill>
          </a:ln>
          <a:effectLst>
            <a:outerShdw blurRad="44450" dist="13970" dir="2700000" algn="tl" rotWithShape="0">
              <a:prstClr val="black">
                <a:alpha val="45000"/>
              </a:prstClr>
            </a:outerShdw>
          </a:effectLst>
        </p:spPr>
        <p:txBody>
          <a:bodyPr wrap="square" lIns="0" tIns="0" rIns="0" bIns="0" anchor="ctr" anchorCtr="0">
            <a:noAutofit/>
          </a:bodyPr>
          <a:lstStyle/>
          <a:p>
            <a:pPr marL="0" marR="0" lvl="0" indent="0" algn="ctr" defTabSz="914367"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w="3175">
                <a:noFill/>
              </a:ln>
              <a:gradFill>
                <a:gsLst>
                  <a:gs pos="55747">
                    <a:srgbClr val="000000"/>
                  </a:gs>
                  <a:gs pos="37000">
                    <a:srgbClr val="000000"/>
                  </a:gs>
                </a:gsLst>
                <a:lin ang="5400000" scaled="1"/>
              </a:gradFill>
              <a:effectLst/>
              <a:uLnTx/>
              <a:uFillTx/>
              <a:latin typeface="Segoe UI Semibold"/>
              <a:cs typeface="Segoe UI" pitchFamily="34" charset="0"/>
            </a:endParaRPr>
          </a:p>
        </p:txBody>
      </p:sp>
      <p:sp>
        <p:nvSpPr>
          <p:cNvPr id="93" name="Graphic 11">
            <a:extLst>
              <a:ext uri="{FF2B5EF4-FFF2-40B4-BE49-F238E27FC236}">
                <a16:creationId xmlns:a16="http://schemas.microsoft.com/office/drawing/2014/main" id="{BB940262-56DB-641D-D8BE-9ADE16A501A1}"/>
              </a:ext>
              <a:ext uri="{C183D7F6-B498-43B3-948B-1728B52AA6E4}">
                <adec:decorative xmlns:adec="http://schemas.microsoft.com/office/drawing/2017/decorative" val="1"/>
              </a:ext>
            </a:extLst>
          </p:cNvPr>
          <p:cNvSpPr>
            <a:spLocks/>
          </p:cNvSpPr>
          <p:nvPr userDrawn="1"/>
        </p:nvSpPr>
        <p:spPr>
          <a:xfrm>
            <a:off x="8012030" y="-1273825"/>
            <a:ext cx="253158" cy="241068"/>
          </a:xfrm>
          <a:custGeom>
            <a:avLst/>
            <a:gdLst>
              <a:gd name="connsiteX0" fmla="*/ 14288 w 190500"/>
              <a:gd name="connsiteY0" fmla="*/ 104775 h 180975"/>
              <a:gd name="connsiteX1" fmla="*/ 109538 w 190500"/>
              <a:gd name="connsiteY1" fmla="*/ 104785 h 180975"/>
              <a:gd name="connsiteX2" fmla="*/ 123758 w 190500"/>
              <a:gd name="connsiteY2" fmla="*/ 117700 h 180975"/>
              <a:gd name="connsiteX3" fmla="*/ 123825 w 190500"/>
              <a:gd name="connsiteY3" fmla="*/ 119063 h 180975"/>
              <a:gd name="connsiteX4" fmla="*/ 123825 w 190500"/>
              <a:gd name="connsiteY4" fmla="*/ 138113 h 180975"/>
              <a:gd name="connsiteX5" fmla="*/ 61913 w 190500"/>
              <a:gd name="connsiteY5" fmla="*/ 180975 h 180975"/>
              <a:gd name="connsiteX6" fmla="*/ 48 w 190500"/>
              <a:gd name="connsiteY6" fmla="*/ 140303 h 180975"/>
              <a:gd name="connsiteX7" fmla="*/ 0 w 190500"/>
              <a:gd name="connsiteY7" fmla="*/ 138113 h 180975"/>
              <a:gd name="connsiteX8" fmla="*/ 0 w 190500"/>
              <a:gd name="connsiteY8" fmla="*/ 119063 h 180975"/>
              <a:gd name="connsiteX9" fmla="*/ 12916 w 190500"/>
              <a:gd name="connsiteY9" fmla="*/ 104842 h 180975"/>
              <a:gd name="connsiteX10" fmla="*/ 14288 w 190500"/>
              <a:gd name="connsiteY10" fmla="*/ 104775 h 180975"/>
              <a:gd name="connsiteX11" fmla="*/ 128473 w 190500"/>
              <a:gd name="connsiteY11" fmla="*/ 104775 h 180975"/>
              <a:gd name="connsiteX12" fmla="*/ 176213 w 190500"/>
              <a:gd name="connsiteY12" fmla="*/ 104775 h 180975"/>
              <a:gd name="connsiteX13" fmla="*/ 190433 w 190500"/>
              <a:gd name="connsiteY13" fmla="*/ 117681 h 180975"/>
              <a:gd name="connsiteX14" fmla="*/ 190500 w 190500"/>
              <a:gd name="connsiteY14" fmla="*/ 119063 h 180975"/>
              <a:gd name="connsiteX15" fmla="*/ 190500 w 190500"/>
              <a:gd name="connsiteY15" fmla="*/ 133350 h 180975"/>
              <a:gd name="connsiteX16" fmla="*/ 142875 w 190500"/>
              <a:gd name="connsiteY16" fmla="*/ 171450 h 180975"/>
              <a:gd name="connsiteX17" fmla="*/ 122492 w 190500"/>
              <a:gd name="connsiteY17" fmla="*/ 168383 h 180975"/>
              <a:gd name="connsiteX18" fmla="*/ 133283 w 190500"/>
              <a:gd name="connsiteY18" fmla="*/ 140780 h 180975"/>
              <a:gd name="connsiteX19" fmla="*/ 133350 w 190500"/>
              <a:gd name="connsiteY19" fmla="*/ 138113 h 180975"/>
              <a:gd name="connsiteX20" fmla="*/ 133350 w 190500"/>
              <a:gd name="connsiteY20" fmla="*/ 119063 h 180975"/>
              <a:gd name="connsiteX21" fmla="*/ 129550 w 190500"/>
              <a:gd name="connsiteY21" fmla="*/ 106318 h 180975"/>
              <a:gd name="connsiteX22" fmla="*/ 128473 w 190500"/>
              <a:gd name="connsiteY22" fmla="*/ 104775 h 180975"/>
              <a:gd name="connsiteX23" fmla="*/ 176213 w 190500"/>
              <a:gd name="connsiteY23" fmla="*/ 104775 h 180975"/>
              <a:gd name="connsiteX24" fmla="*/ 128473 w 190500"/>
              <a:gd name="connsiteY24" fmla="*/ 104775 h 180975"/>
              <a:gd name="connsiteX25" fmla="*/ 61913 w 190500"/>
              <a:gd name="connsiteY25" fmla="*/ 0 h 180975"/>
              <a:gd name="connsiteX26" fmla="*/ 104775 w 190500"/>
              <a:gd name="connsiteY26" fmla="*/ 42863 h 180975"/>
              <a:gd name="connsiteX27" fmla="*/ 61913 w 190500"/>
              <a:gd name="connsiteY27" fmla="*/ 85725 h 180975"/>
              <a:gd name="connsiteX28" fmla="*/ 19050 w 190500"/>
              <a:gd name="connsiteY28" fmla="*/ 42863 h 180975"/>
              <a:gd name="connsiteX29" fmla="*/ 61913 w 190500"/>
              <a:gd name="connsiteY29" fmla="*/ 0 h 180975"/>
              <a:gd name="connsiteX30" fmla="*/ 147638 w 190500"/>
              <a:gd name="connsiteY30" fmla="*/ 19050 h 180975"/>
              <a:gd name="connsiteX31" fmla="*/ 180975 w 190500"/>
              <a:gd name="connsiteY31" fmla="*/ 52388 h 180975"/>
              <a:gd name="connsiteX32" fmla="*/ 147638 w 190500"/>
              <a:gd name="connsiteY32" fmla="*/ 85725 h 180975"/>
              <a:gd name="connsiteX33" fmla="*/ 114300 w 190500"/>
              <a:gd name="connsiteY33" fmla="*/ 52388 h 180975"/>
              <a:gd name="connsiteX34" fmla="*/ 147638 w 190500"/>
              <a:gd name="connsiteY34" fmla="*/ 19050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0500" h="180975">
                <a:moveTo>
                  <a:pt x="14288" y="104775"/>
                </a:moveTo>
                <a:lnTo>
                  <a:pt x="109538" y="104785"/>
                </a:lnTo>
                <a:cubicBezTo>
                  <a:pt x="116897" y="104785"/>
                  <a:pt x="123052" y="110375"/>
                  <a:pt x="123758" y="117700"/>
                </a:cubicBezTo>
                <a:lnTo>
                  <a:pt x="123825" y="119063"/>
                </a:lnTo>
                <a:lnTo>
                  <a:pt x="123825" y="138113"/>
                </a:lnTo>
                <a:cubicBezTo>
                  <a:pt x="123815" y="171450"/>
                  <a:pt x="88430" y="180975"/>
                  <a:pt x="61913" y="180975"/>
                </a:cubicBezTo>
                <a:cubicBezTo>
                  <a:pt x="35985" y="180975"/>
                  <a:pt x="1572" y="171869"/>
                  <a:pt x="48" y="140303"/>
                </a:cubicBezTo>
                <a:lnTo>
                  <a:pt x="0" y="138113"/>
                </a:lnTo>
                <a:lnTo>
                  <a:pt x="0" y="119063"/>
                </a:lnTo>
                <a:cubicBezTo>
                  <a:pt x="0" y="111703"/>
                  <a:pt x="5591" y="105548"/>
                  <a:pt x="12916" y="104842"/>
                </a:cubicBezTo>
                <a:lnTo>
                  <a:pt x="14288" y="104775"/>
                </a:lnTo>
                <a:close/>
                <a:moveTo>
                  <a:pt x="128473" y="104775"/>
                </a:moveTo>
                <a:lnTo>
                  <a:pt x="176213" y="104775"/>
                </a:lnTo>
                <a:cubicBezTo>
                  <a:pt x="183569" y="104775"/>
                  <a:pt x="189722" y="110360"/>
                  <a:pt x="190433" y="117681"/>
                </a:cubicBezTo>
                <a:lnTo>
                  <a:pt x="190500" y="119063"/>
                </a:lnTo>
                <a:lnTo>
                  <a:pt x="190500" y="133350"/>
                </a:lnTo>
                <a:cubicBezTo>
                  <a:pt x="190490" y="162516"/>
                  <a:pt x="163278" y="171450"/>
                  <a:pt x="142875" y="171450"/>
                </a:cubicBezTo>
                <a:cubicBezTo>
                  <a:pt x="135965" y="171466"/>
                  <a:pt x="129091" y="170432"/>
                  <a:pt x="122492" y="168383"/>
                </a:cubicBezTo>
                <a:cubicBezTo>
                  <a:pt x="128711" y="161239"/>
                  <a:pt x="132740" y="152162"/>
                  <a:pt x="133283" y="140780"/>
                </a:cubicBezTo>
                <a:lnTo>
                  <a:pt x="133350" y="138113"/>
                </a:lnTo>
                <a:lnTo>
                  <a:pt x="133350" y="119063"/>
                </a:lnTo>
                <a:cubicBezTo>
                  <a:pt x="133350" y="114357"/>
                  <a:pt x="131921" y="110004"/>
                  <a:pt x="129550" y="106318"/>
                </a:cubicBezTo>
                <a:lnTo>
                  <a:pt x="128473" y="104775"/>
                </a:lnTo>
                <a:lnTo>
                  <a:pt x="176213" y="104775"/>
                </a:lnTo>
                <a:lnTo>
                  <a:pt x="128473" y="104775"/>
                </a:lnTo>
                <a:close/>
                <a:moveTo>
                  <a:pt x="61913" y="0"/>
                </a:moveTo>
                <a:cubicBezTo>
                  <a:pt x="85585" y="0"/>
                  <a:pt x="104775" y="19190"/>
                  <a:pt x="104775" y="42863"/>
                </a:cubicBezTo>
                <a:cubicBezTo>
                  <a:pt x="104775" y="66535"/>
                  <a:pt x="85585" y="85725"/>
                  <a:pt x="61913" y="85725"/>
                </a:cubicBezTo>
                <a:cubicBezTo>
                  <a:pt x="38240" y="85725"/>
                  <a:pt x="19050" y="66535"/>
                  <a:pt x="19050" y="42863"/>
                </a:cubicBezTo>
                <a:cubicBezTo>
                  <a:pt x="19050" y="19190"/>
                  <a:pt x="38240" y="0"/>
                  <a:pt x="61913" y="0"/>
                </a:cubicBezTo>
                <a:close/>
                <a:moveTo>
                  <a:pt x="147638" y="19050"/>
                </a:moveTo>
                <a:cubicBezTo>
                  <a:pt x="166049" y="19050"/>
                  <a:pt x="180975" y="33976"/>
                  <a:pt x="180975" y="52388"/>
                </a:cubicBezTo>
                <a:cubicBezTo>
                  <a:pt x="180975" y="70799"/>
                  <a:pt x="166049" y="85725"/>
                  <a:pt x="147638" y="85725"/>
                </a:cubicBezTo>
                <a:cubicBezTo>
                  <a:pt x="129226" y="85725"/>
                  <a:pt x="114300" y="70799"/>
                  <a:pt x="114300" y="52388"/>
                </a:cubicBezTo>
                <a:cubicBezTo>
                  <a:pt x="114300" y="33976"/>
                  <a:pt x="129226" y="19050"/>
                  <a:pt x="147638" y="19050"/>
                </a:cubicBezTo>
                <a:close/>
              </a:path>
            </a:pathLst>
          </a:custGeom>
          <a:noFill/>
          <a:ln w="9525" cap="flat" cmpd="sng" algn="ctr">
            <a:gradFill>
              <a:gsLst>
                <a:gs pos="0">
                  <a:srgbClr val="8DC8E8"/>
                </a:gs>
                <a:gs pos="100000">
                  <a:srgbClr val="D59ED7"/>
                </a:gs>
              </a:gsLst>
              <a:lin ang="5400000" scaled="1"/>
            </a:gradFill>
            <a:prstDash val="solid"/>
            <a:headEnd type="none" w="med" len="med"/>
            <a:tailEnd type="none" w="med" len="med"/>
          </a:ln>
          <a:effectLst>
            <a:outerShdw blurRad="63500" dist="127000" dir="2700000" algn="tl" rotWithShape="0">
              <a:srgbClr val="000000">
                <a:alpha val="5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367" fontAlgn="base">
              <a:spcBef>
                <a:spcPct val="0"/>
              </a:spcBef>
              <a:spcAft>
                <a:spcPct val="0"/>
              </a:spcAft>
            </a:pPr>
            <a:endParaRPr lang="en-US" sz="1600" b="1" kern="0">
              <a:ln w="3175">
                <a:noFill/>
              </a:ln>
              <a:gradFill>
                <a:gsLst>
                  <a:gs pos="77528">
                    <a:srgbClr val="000000"/>
                  </a:gs>
                  <a:gs pos="53933">
                    <a:srgbClr val="000000"/>
                  </a:gs>
                </a:gsLst>
                <a:path path="circle">
                  <a:fillToRect l="100000" b="100000"/>
                </a:path>
              </a:gradFill>
              <a:latin typeface="Segoe UI Semibold"/>
              <a:cs typeface="Segoe UI" pitchFamily="34" charset="0"/>
            </a:endParaRPr>
          </a:p>
        </p:txBody>
      </p:sp>
    </p:spTree>
    <p:extLst>
      <p:ext uri="{BB962C8B-B14F-4D97-AF65-F5344CB8AC3E}">
        <p14:creationId xmlns:p14="http://schemas.microsoft.com/office/powerpoint/2010/main" val="612013568"/>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8" r:id="rId6"/>
    <p:sldLayoutId id="2147483669" r:id="rId7"/>
    <p:sldLayoutId id="2147483670" r:id="rId8"/>
    <p:sldLayoutId id="2147483671" r:id="rId9"/>
  </p:sldLayoutIdLst>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42" presetClass="path" presetSubtype="0" decel="100000" fill="hold" grpId="1" nodeType="withEffect">
                                  <p:stCondLst>
                                    <p:cond delay="100"/>
                                  </p:stCondLst>
                                  <p:childTnLst>
                                    <p:animMotion origin="layout" path="M 0 -4.44444E-6 L 0 0.12639 " pathEditMode="relative" rAng="0" ptsTypes="AA">
                                      <p:cBhvr>
                                        <p:cTn id="9" dur="700" spd="-100000" fill="hold"/>
                                        <p:tgtEl>
                                          <p:spTgt spid="65"/>
                                        </p:tgtEl>
                                        <p:attrNameLst>
                                          <p:attrName>ppt_x</p:attrName>
                                          <p:attrName>ppt_y</p:attrName>
                                        </p:attrNameLst>
                                      </p:cBhvr>
                                      <p:rCtr x="0" y="63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Lst>
  </p:timing>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20A66C-BA72-F345-5123-22BC05B74B70}"/>
              </a:ext>
            </a:extLst>
          </p:cNvPr>
          <p:cNvGraphicFramePr>
            <a:graphicFrameLocks noChangeAspect="1"/>
          </p:cNvGraphicFramePr>
          <p:nvPr userDrawn="1">
            <p:custDataLst>
              <p:tags r:id="rId65"/>
            </p:custDataLst>
            <p:extLst>
              <p:ext uri="{D42A27DB-BD31-4B8C-83A1-F6EECF244321}">
                <p14:modId xmlns:p14="http://schemas.microsoft.com/office/powerpoint/2010/main" val="3631799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425" imgH="425" progId="TCLayout.ActiveDocument.1">
                  <p:embed/>
                </p:oleObj>
              </mc:Choice>
              <mc:Fallback>
                <p:oleObj name="think-cell Slide" r:id="rId66" imgW="425" imgH="425" progId="TCLayout.ActiveDocument.1">
                  <p:embed/>
                  <p:pic>
                    <p:nvPicPr>
                      <p:cNvPr id="8" name="think-cell data - do not delete" hidden="1">
                        <a:extLst>
                          <a:ext uri="{FF2B5EF4-FFF2-40B4-BE49-F238E27FC236}">
                            <a16:creationId xmlns:a16="http://schemas.microsoft.com/office/drawing/2014/main" id="{1E20A66C-BA72-F345-5123-22BC05B74B70}"/>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5"/>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8">
            <a:extLst>
              <a:ext uri="{96DAC541-7B7A-43D3-8B79-37D633B846F1}">
                <asvg:svgBlip xmlns:asvg="http://schemas.microsoft.com/office/drawing/2016/SVG/main" r:embed="rId69"/>
              </a:ext>
            </a:extLst>
          </a:blip>
          <a:srcRect/>
          <a:stretch/>
        </p:blipFill>
        <p:spPr>
          <a:xfrm rot="5400000">
            <a:off x="9509921" y="2743200"/>
            <a:ext cx="6858000" cy="1371600"/>
          </a:xfrm>
          <a:prstGeom prst="rect">
            <a:avLst/>
          </a:prstGeom>
        </p:spPr>
      </p:pic>
      <p:sp>
        <p:nvSpPr>
          <p:cNvPr id="5" name="Footer Placeholder 4">
            <a:extLst>
              <a:ext uri="{FF2B5EF4-FFF2-40B4-BE49-F238E27FC236}">
                <a16:creationId xmlns:a16="http://schemas.microsoft.com/office/drawing/2014/main" id="{950E7CBB-AA80-A6A2-843A-90EC3833C222}"/>
              </a:ext>
            </a:extLst>
          </p:cNvPr>
          <p:cNvSpPr>
            <a:spLocks noGrp="1"/>
          </p:cNvSpPr>
          <p:nvPr>
            <p:ph type="ftr" sz="quarter" idx="3"/>
          </p:nvPr>
        </p:nvSpPr>
        <p:spPr>
          <a:xfrm>
            <a:off x="584201" y="6183059"/>
            <a:ext cx="11025617" cy="365125"/>
          </a:xfrm>
          <a:prstGeom prst="rect">
            <a:avLst/>
          </a:prstGeom>
        </p:spPr>
        <p:txBody>
          <a:bodyPr vert="horz" lIns="91440" tIns="45720" rIns="91440" bIns="45720" rtlCol="0" anchor="b"/>
          <a:lstStyle>
            <a:lvl1pPr algn="l">
              <a:defRPr sz="800">
                <a:solidFill>
                  <a:schemeClr val="accent6">
                    <a:lumMod val="75000"/>
                  </a:schemeClr>
                </a:solidFill>
              </a:defRPr>
            </a:lvl1pPr>
          </a:lstStyle>
          <a:p>
            <a:endParaRPr lang="en-US"/>
          </a:p>
        </p:txBody>
      </p:sp>
    </p:spTree>
    <p:extLst>
      <p:ext uri="{BB962C8B-B14F-4D97-AF65-F5344CB8AC3E}">
        <p14:creationId xmlns:p14="http://schemas.microsoft.com/office/powerpoint/2010/main" val="1858423664"/>
      </p:ext>
    </p:extLst>
  </p:cSld>
  <p:clrMap bg1="dk1" tx1="lt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 id="2147483707" r:id="rId34"/>
    <p:sldLayoutId id="2147483708" r:id="rId35"/>
    <p:sldLayoutId id="2147483709" r:id="rId36"/>
    <p:sldLayoutId id="2147483710" r:id="rId37"/>
    <p:sldLayoutId id="2147483711" r:id="rId38"/>
    <p:sldLayoutId id="2147483712" r:id="rId39"/>
    <p:sldLayoutId id="2147483713" r:id="rId40"/>
    <p:sldLayoutId id="2147483714" r:id="rId41"/>
    <p:sldLayoutId id="2147483715" r:id="rId42"/>
    <p:sldLayoutId id="2147483716" r:id="rId43"/>
    <p:sldLayoutId id="2147483717" r:id="rId44"/>
    <p:sldLayoutId id="2147483718" r:id="rId45"/>
    <p:sldLayoutId id="2147483719" r:id="rId46"/>
    <p:sldLayoutId id="2147483720" r:id="rId47"/>
    <p:sldLayoutId id="2147483721" r:id="rId48"/>
    <p:sldLayoutId id="2147483722" r:id="rId49"/>
    <p:sldLayoutId id="2147483723" r:id="rId50"/>
    <p:sldLayoutId id="2147483724" r:id="rId51"/>
    <p:sldLayoutId id="2147483725" r:id="rId52"/>
    <p:sldLayoutId id="2147483726" r:id="rId53"/>
    <p:sldLayoutId id="2147483727" r:id="rId54"/>
    <p:sldLayoutId id="2147483728" r:id="rId55"/>
    <p:sldLayoutId id="2147483729" r:id="rId56"/>
    <p:sldLayoutId id="2147483730" r:id="rId57"/>
    <p:sldLayoutId id="2147483731" r:id="rId58"/>
    <p:sldLayoutId id="2147483732" r:id="rId59"/>
    <p:sldLayoutId id="2147483733" r:id="rId60"/>
    <p:sldLayoutId id="2147483734" r:id="rId61"/>
    <p:sldLayoutId id="2147483735" r:id="rId62"/>
    <p:sldLayoutId id="2147483736" r:id="rId63"/>
  </p:sldLayoutIdLst>
  <p:transition>
    <p:fade/>
  </p:transition>
  <p:hf sldNum="0" hdr="0" ftr="0" dt="0"/>
  <p:txStyles>
    <p:titleStyle>
      <a:lvl1pPr algn="l" defTabSz="932384"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7"/>
            <a:ext cx="11015472"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591056"/>
            <a:ext cx="10426700"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C21DE6D5-FF91-85A4-E9FC-5084016E9E3B}"/>
              </a:ext>
            </a:extLst>
          </p:cNvPr>
          <p:cNvPicPr>
            <a:picLocks noChangeAspect="1"/>
          </p:cNvPicPr>
          <p:nvPr userDrawn="1"/>
        </p:nvPicPr>
        <p:blipFill>
          <a:blip r:embed="rId21">
            <a:extLst>
              <a:ext uri="{96DAC541-7B7A-43D3-8B79-37D633B846F1}">
                <asvg:svgBlip xmlns:asvg="http://schemas.microsoft.com/office/drawing/2016/SVG/main" r:embed="rId2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95259119"/>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Lst>
  <p:transition>
    <p:fade/>
  </p:transition>
  <p:hf sldNum="0" hdr="0" dt="0"/>
  <p:txStyles>
    <p:titleStyle>
      <a:lvl1pPr algn="l" defTabSz="932742" rtl="0" eaLnBrk="1" latinLnBrk="0" hangingPunct="1">
        <a:lnSpc>
          <a:spcPct val="100000"/>
        </a:lnSpc>
        <a:spcBef>
          <a:spcPct val="0"/>
        </a:spcBef>
        <a:buNone/>
        <a:defRPr lang="en-US" sz="32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4191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2"/>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039447164"/>
      </p:ext>
    </p:extLst>
  </p:cSld>
  <p:clrMap bg1="dk1" tx1="lt1" bg2="dk2" tx2="lt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 id="2147483787" r:id="rId30"/>
    <p:sldLayoutId id="2147483788" r:id="rId31"/>
    <p:sldLayoutId id="2147483789" r:id="rId32"/>
    <p:sldLayoutId id="2147483790" r:id="rId33"/>
    <p:sldLayoutId id="2147483791" r:id="rId34"/>
    <p:sldLayoutId id="2147483792" r:id="rId35"/>
    <p:sldLayoutId id="2147483793" r:id="rId36"/>
    <p:sldLayoutId id="2147483794" r:id="rId37"/>
    <p:sldLayoutId id="2147483795" r:id="rId38"/>
    <p:sldLayoutId id="2147483796" r:id="rId39"/>
    <p:sldLayoutId id="2147483797" r:id="rId40"/>
    <p:sldLayoutId id="2147483798" r:id="rId41"/>
    <p:sldLayoutId id="2147483799" r:id="rId42"/>
    <p:sldLayoutId id="2147483800" r:id="rId43"/>
    <p:sldLayoutId id="2147483801" r:id="rId44"/>
    <p:sldLayoutId id="2147483802" r:id="rId45"/>
    <p:sldLayoutId id="2147483803" r:id="rId46"/>
    <p:sldLayoutId id="2147483804" r:id="rId47"/>
    <p:sldLayoutId id="2147483805" r:id="rId48"/>
    <p:sldLayoutId id="2147483806" r:id="rId49"/>
    <p:sldLayoutId id="2147483807" r:id="rId50"/>
    <p:sldLayoutId id="2147483808" r:id="rId51"/>
    <p:sldLayoutId id="2147483809" r:id="rId52"/>
    <p:sldLayoutId id="2147483810" r:id="rId53"/>
    <p:sldLayoutId id="2147483811" r:id="rId54"/>
    <p:sldLayoutId id="2147483812" r:id="rId55"/>
    <p:sldLayoutId id="2147483813" r:id="rId56"/>
    <p:sldLayoutId id="2147483814" r:id="rId57"/>
    <p:sldLayoutId id="2147483815" r:id="rId58"/>
    <p:sldLayoutId id="2147483816" r:id="rId59"/>
    <p:sldLayoutId id="2147483817" r:id="rId60"/>
    <p:sldLayoutId id="2147483818" r:id="rId61"/>
    <p:sldLayoutId id="2147483819" r:id="rId62"/>
    <p:sldLayoutId id="2147483820" r:id="rId63"/>
    <p:sldLayoutId id="2147483821" r:id="rId64"/>
    <p:sldLayoutId id="2147483822" r:id="rId65"/>
    <p:sldLayoutId id="2147483823" r:id="rId66"/>
    <p:sldLayoutId id="2147483824" r:id="rId67"/>
    <p:sldLayoutId id="2147483825" r:id="rId68"/>
    <p:sldLayoutId id="2147483826" r:id="rId69"/>
    <p:sldLayoutId id="2147483827" r:id="rId70"/>
  </p:sldLayoutIdLst>
  <p:transition>
    <p:fade/>
  </p:transition>
  <p:hf sldNum="0" hdr="0" ftr="0" dt="0"/>
  <p:txStyles>
    <p:titleStyle>
      <a:lvl1pPr algn="ctr" defTabSz="932742" rtl="0" eaLnBrk="1" latinLnBrk="0" hangingPunct="1">
        <a:lnSpc>
          <a:spcPct val="100000"/>
        </a:lnSpc>
        <a:spcBef>
          <a:spcPct val="0"/>
        </a:spcBef>
        <a:buNone/>
        <a:defRPr lang="en-US" sz="3200" b="0" kern="1200" cap="none" spc="-50" baseline="0" dirty="0" smtClean="0">
          <a:ln w="3175">
            <a:noFill/>
          </a:ln>
          <a:gradFill>
            <a:gsLst>
              <a:gs pos="1250">
                <a:schemeClr val="tx1"/>
              </a:gs>
              <a:gs pos="100000">
                <a:schemeClr val="tx1"/>
              </a:gs>
            </a:gsLst>
            <a:lin ang="5400000" scaled="0"/>
          </a:gradFill>
          <a:effectLst/>
          <a:latin typeface="+mj-lt"/>
          <a:ea typeface="+mn-ea"/>
          <a:cs typeface="Segoe UI Light" panose="020B0502040204020203" pitchFamily="34" charset="0"/>
        </a:defRPr>
      </a:lvl1pPr>
    </p:titleStyle>
    <p:bodyStyle>
      <a:lvl1pPr marL="0" marR="0" indent="0"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903">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hyperlink" Target="https://aka.ms/AI-Success-Whitepaper" TargetMode="External"/><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svg"/><Relationship Id="rId7" Type="http://schemas.openxmlformats.org/officeDocument/2006/relationships/image" Target="../media/image72.svg"/><Relationship Id="rId2" Type="http://schemas.openxmlformats.org/officeDocument/2006/relationships/image" Target="../media/image67.png"/><Relationship Id="rId1" Type="http://schemas.openxmlformats.org/officeDocument/2006/relationships/slideLayout" Target="../slideLayouts/slideLayout89.xml"/><Relationship Id="rId6" Type="http://schemas.openxmlformats.org/officeDocument/2006/relationships/image" Target="../media/image71.png"/><Relationship Id="rId5" Type="http://schemas.openxmlformats.org/officeDocument/2006/relationships/image" Target="../media/image70.svg"/><Relationship Id="rId4" Type="http://schemas.openxmlformats.org/officeDocument/2006/relationships/image" Target="../media/image69.png"/><Relationship Id="rId9" Type="http://schemas.openxmlformats.org/officeDocument/2006/relationships/image" Target="../media/image74.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6.svg"/><Relationship Id="rId2" Type="http://schemas.openxmlformats.org/officeDocument/2006/relationships/image" Target="../media/image75.png"/><Relationship Id="rId1" Type="http://schemas.openxmlformats.org/officeDocument/2006/relationships/slideLayout" Target="../slideLayouts/slideLayout127.xml"/></Relationships>
</file>

<file path=ppt/slides/_rels/slide7.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tags" Target="../tags/tag41.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tags" Target="../tags/tag44.xml"/><Relationship Id="rId47" Type="http://schemas.openxmlformats.org/officeDocument/2006/relationships/tags" Target="../tags/tag49.xml"/><Relationship Id="rId50" Type="http://schemas.openxmlformats.org/officeDocument/2006/relationships/image" Target="../media/image77.png"/><Relationship Id="rId7" Type="http://schemas.openxmlformats.org/officeDocument/2006/relationships/tags" Target="../tags/tag9.xml"/><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image" Target="../media/image79.svg"/><Relationship Id="rId5" Type="http://schemas.openxmlformats.org/officeDocument/2006/relationships/tags" Target="../tags/tag7.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image" Target="../media/image78.pn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8" Type="http://schemas.openxmlformats.org/officeDocument/2006/relationships/tags" Target="../tags/tag10.xml"/><Relationship Id="rId51" Type="http://schemas.microsoft.com/office/2007/relationships/hdphoto" Target="../media/hdphoto2.wdp"/><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20" Type="http://schemas.openxmlformats.org/officeDocument/2006/relationships/tags" Target="../tags/tag22.xml"/><Relationship Id="rId41" Type="http://schemas.openxmlformats.org/officeDocument/2006/relationships/tags" Target="../tags/tag43.xml"/><Relationship Id="rId1" Type="http://schemas.openxmlformats.org/officeDocument/2006/relationships/tags" Target="../tags/tag3.xml"/><Relationship Id="rId6" Type="http://schemas.openxmlformats.org/officeDocument/2006/relationships/tags" Target="../tags/tag8.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DE190-FD7A-84AB-57E3-BE2949582422}"/>
              </a:ext>
            </a:extLst>
          </p:cNvPr>
          <p:cNvSpPr>
            <a:spLocks noGrp="1"/>
          </p:cNvSpPr>
          <p:nvPr>
            <p:ph type="title"/>
          </p:nvPr>
        </p:nvSpPr>
        <p:spPr/>
        <p:txBody>
          <a:bodyPr/>
          <a:lstStyle/>
          <a:p>
            <a:r>
              <a:rPr lang="en-US" dirty="0"/>
              <a:t>Establishing a Strategic AI Program</a:t>
            </a:r>
          </a:p>
        </p:txBody>
      </p:sp>
      <p:sp>
        <p:nvSpPr>
          <p:cNvPr id="3" name="Text Placeholder 2">
            <a:extLst>
              <a:ext uri="{FF2B5EF4-FFF2-40B4-BE49-F238E27FC236}">
                <a16:creationId xmlns:a16="http://schemas.microsoft.com/office/drawing/2014/main" id="{61945C99-E801-8AF2-9851-B66E560B8B54}"/>
              </a:ext>
            </a:extLst>
          </p:cNvPr>
          <p:cNvSpPr>
            <a:spLocks noGrp="1"/>
          </p:cNvSpPr>
          <p:nvPr>
            <p:ph type="body" sz="quarter" idx="12"/>
          </p:nvPr>
        </p:nvSpPr>
        <p:spPr>
          <a:xfrm>
            <a:off x="584200" y="4523900"/>
            <a:ext cx="9144000" cy="492443"/>
          </a:xfrm>
        </p:spPr>
        <p:txBody>
          <a:bodyPr/>
          <a:lstStyle/>
          <a:p>
            <a:r>
              <a:rPr lang="en-US" dirty="0"/>
              <a:t>Ken St. Cyr, Principal Architect</a:t>
            </a:r>
          </a:p>
          <a:p>
            <a:r>
              <a:rPr lang="en-US" dirty="0"/>
              <a:t>Microsoft</a:t>
            </a:r>
          </a:p>
        </p:txBody>
      </p:sp>
      <p:sp>
        <p:nvSpPr>
          <p:cNvPr id="4" name="Text Placeholder 3">
            <a:extLst>
              <a:ext uri="{FF2B5EF4-FFF2-40B4-BE49-F238E27FC236}">
                <a16:creationId xmlns:a16="http://schemas.microsoft.com/office/drawing/2014/main" id="{B828626D-B5E0-8E61-9C36-4339A81B8C80}"/>
              </a:ext>
            </a:extLst>
          </p:cNvPr>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2411182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rey rectangle holding picture and title of presenter Erin Rifkin">
            <a:extLst>
              <a:ext uri="{FF2B5EF4-FFF2-40B4-BE49-F238E27FC236}">
                <a16:creationId xmlns:a16="http://schemas.microsoft.com/office/drawing/2014/main" id="{D0F0A7A3-CD6E-E0B4-9525-4ECB97827D29}"/>
              </a:ext>
              <a:ext uri="{C183D7F6-B498-43B3-948B-1728B52AA6E4}">
                <adec:decorative xmlns:adec="http://schemas.microsoft.com/office/drawing/2017/decorative" val="1"/>
              </a:ext>
            </a:extLst>
          </p:cNvPr>
          <p:cNvSpPr>
            <a:spLocks/>
          </p:cNvSpPr>
          <p:nvPr/>
        </p:nvSpPr>
        <p:spPr>
          <a:xfrm>
            <a:off x="588963" y="2524397"/>
            <a:ext cx="11017250" cy="2992483"/>
          </a:xfrm>
          <a:prstGeom prst="roundRect">
            <a:avLst>
              <a:gd name="adj" fmla="val 5152"/>
            </a:avLst>
          </a:prstGeom>
          <a:noFill/>
          <a:ln w="19050" cap="rnd">
            <a:gradFill flip="none" rotWithShape="1">
              <a:gsLst>
                <a:gs pos="52000">
                  <a:srgbClr val="8DC8E8"/>
                </a:gs>
                <a:gs pos="100000">
                  <a:srgbClr val="D59ED7"/>
                </a:gs>
              </a:gsLst>
              <a:lin ang="3000000" scaled="0"/>
              <a:tileRect/>
            </a:gra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sym typeface="Segoe UI"/>
            </a:endParaRPr>
          </a:p>
        </p:txBody>
      </p:sp>
      <p:grpSp>
        <p:nvGrpSpPr>
          <p:cNvPr id="3" name="Group 2">
            <a:extLst>
              <a:ext uri="{FF2B5EF4-FFF2-40B4-BE49-F238E27FC236}">
                <a16:creationId xmlns:a16="http://schemas.microsoft.com/office/drawing/2014/main" id="{324EBED6-2E6F-1771-141B-6E5D7809D299}"/>
              </a:ext>
              <a:ext uri="{C183D7F6-B498-43B3-948B-1728B52AA6E4}">
                <adec:decorative xmlns:adec="http://schemas.microsoft.com/office/drawing/2017/decorative" val="1"/>
              </a:ext>
            </a:extLst>
          </p:cNvPr>
          <p:cNvGrpSpPr>
            <a:grpSpLocks/>
          </p:cNvGrpSpPr>
          <p:nvPr/>
        </p:nvGrpSpPr>
        <p:grpSpPr>
          <a:xfrm>
            <a:off x="1300520" y="2079625"/>
            <a:ext cx="889545" cy="889543"/>
            <a:chOff x="1566399" y="1459810"/>
            <a:chExt cx="1278402" cy="1278400"/>
          </a:xfrm>
        </p:grpSpPr>
        <p:sp>
          <p:nvSpPr>
            <p:cNvPr id="4" name="Grey oval containing warning">
              <a:extLst>
                <a:ext uri="{FF2B5EF4-FFF2-40B4-BE49-F238E27FC236}">
                  <a16:creationId xmlns:a16="http://schemas.microsoft.com/office/drawing/2014/main" id="{A0994496-10B0-FA41-F894-EC044475B441}"/>
                </a:ext>
                <a:ext uri="{C183D7F6-B498-43B3-948B-1728B52AA6E4}">
                  <adec:decorative xmlns:adec="http://schemas.microsoft.com/office/drawing/2017/decorative" val="1"/>
                </a:ext>
              </a:extLst>
            </p:cNvPr>
            <p:cNvSpPr/>
            <p:nvPr/>
          </p:nvSpPr>
          <p:spPr>
            <a:xfrm>
              <a:off x="1566399" y="1459810"/>
              <a:ext cx="1278402" cy="1278400"/>
            </a:xfrm>
            <a:prstGeom prst="ellipse">
              <a:avLst/>
            </a:prstGeom>
            <a:gradFill>
              <a:gsLst>
                <a:gs pos="0">
                  <a:srgbClr val="CD9AD0"/>
                </a:gs>
                <a:gs pos="100000">
                  <a:srgbClr val="8EC8E8"/>
                </a:gs>
              </a:gsLst>
              <a:lin ang="5400000" scaled="1"/>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
          <p:nvSpPr>
            <p:cNvPr id="5" name="Grey oval containing warning_4">
              <a:extLst>
                <a:ext uri="{FF2B5EF4-FFF2-40B4-BE49-F238E27FC236}">
                  <a16:creationId xmlns:a16="http://schemas.microsoft.com/office/drawing/2014/main" id="{A176ED75-792B-6152-5B82-D9B3444F0D07}"/>
                </a:ext>
                <a:ext uri="{C183D7F6-B498-43B3-948B-1728B52AA6E4}">
                  <adec:decorative xmlns:adec="http://schemas.microsoft.com/office/drawing/2017/decorative" val="1"/>
                </a:ext>
              </a:extLst>
            </p:cNvPr>
            <p:cNvSpPr/>
            <p:nvPr/>
          </p:nvSpPr>
          <p:spPr>
            <a:xfrm>
              <a:off x="1646405" y="1539816"/>
              <a:ext cx="1118391" cy="1118389"/>
            </a:xfrm>
            <a:prstGeom prst="ellipse">
              <a:avLst/>
            </a:prstGeom>
            <a:solidFill>
              <a:schemeClr val="bg1"/>
            </a:soli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grpSp>
      <p:grpSp>
        <p:nvGrpSpPr>
          <p:cNvPr id="6" name="Group 5">
            <a:extLst>
              <a:ext uri="{FF2B5EF4-FFF2-40B4-BE49-F238E27FC236}">
                <a16:creationId xmlns:a16="http://schemas.microsoft.com/office/drawing/2014/main" id="{D1CF1CA8-2086-EA75-05DE-75B25DAD746D}"/>
              </a:ext>
              <a:ext uri="{C183D7F6-B498-43B3-948B-1728B52AA6E4}">
                <adec:decorative xmlns:adec="http://schemas.microsoft.com/office/drawing/2017/decorative" val="1"/>
              </a:ext>
            </a:extLst>
          </p:cNvPr>
          <p:cNvGrpSpPr>
            <a:grpSpLocks/>
          </p:cNvGrpSpPr>
          <p:nvPr/>
        </p:nvGrpSpPr>
        <p:grpSpPr>
          <a:xfrm>
            <a:off x="3478782" y="2079625"/>
            <a:ext cx="889545" cy="889543"/>
            <a:chOff x="1566399" y="1459810"/>
            <a:chExt cx="1278402" cy="1278400"/>
          </a:xfrm>
        </p:grpSpPr>
        <p:sp>
          <p:nvSpPr>
            <p:cNvPr id="7" name="Grey oval containing warning">
              <a:extLst>
                <a:ext uri="{FF2B5EF4-FFF2-40B4-BE49-F238E27FC236}">
                  <a16:creationId xmlns:a16="http://schemas.microsoft.com/office/drawing/2014/main" id="{82930C8B-ABF5-4CAB-014E-96E94BF09A35}"/>
                </a:ext>
                <a:ext uri="{C183D7F6-B498-43B3-948B-1728B52AA6E4}">
                  <adec:decorative xmlns:adec="http://schemas.microsoft.com/office/drawing/2017/decorative" val="1"/>
                </a:ext>
              </a:extLst>
            </p:cNvPr>
            <p:cNvSpPr/>
            <p:nvPr/>
          </p:nvSpPr>
          <p:spPr>
            <a:xfrm>
              <a:off x="1566399" y="1459810"/>
              <a:ext cx="1278402" cy="1278400"/>
            </a:xfrm>
            <a:prstGeom prst="ellipse">
              <a:avLst/>
            </a:prstGeom>
            <a:gradFill>
              <a:gsLst>
                <a:gs pos="0">
                  <a:srgbClr val="CD9AD0"/>
                </a:gs>
                <a:gs pos="100000">
                  <a:srgbClr val="8EC8E8"/>
                </a:gs>
              </a:gsLst>
              <a:lin ang="5400000" scaled="1"/>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
          <p:nvSpPr>
            <p:cNvPr id="8" name="Grey oval containing warning_4">
              <a:extLst>
                <a:ext uri="{FF2B5EF4-FFF2-40B4-BE49-F238E27FC236}">
                  <a16:creationId xmlns:a16="http://schemas.microsoft.com/office/drawing/2014/main" id="{05420480-ED97-88EA-6450-A2E910F00B63}"/>
                </a:ext>
                <a:ext uri="{C183D7F6-B498-43B3-948B-1728B52AA6E4}">
                  <adec:decorative xmlns:adec="http://schemas.microsoft.com/office/drawing/2017/decorative" val="1"/>
                </a:ext>
              </a:extLst>
            </p:cNvPr>
            <p:cNvSpPr/>
            <p:nvPr/>
          </p:nvSpPr>
          <p:spPr>
            <a:xfrm>
              <a:off x="1646405" y="1539816"/>
              <a:ext cx="1118391" cy="1118389"/>
            </a:xfrm>
            <a:prstGeom prst="ellipse">
              <a:avLst/>
            </a:prstGeom>
            <a:solidFill>
              <a:schemeClr val="bg1"/>
            </a:soli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grpSp>
      <p:grpSp>
        <p:nvGrpSpPr>
          <p:cNvPr id="9" name="Group 8">
            <a:extLst>
              <a:ext uri="{FF2B5EF4-FFF2-40B4-BE49-F238E27FC236}">
                <a16:creationId xmlns:a16="http://schemas.microsoft.com/office/drawing/2014/main" id="{D0CC61DC-A9A5-BDE9-4EBA-069E7E123D32}"/>
              </a:ext>
              <a:ext uri="{C183D7F6-B498-43B3-948B-1728B52AA6E4}">
                <adec:decorative xmlns:adec="http://schemas.microsoft.com/office/drawing/2017/decorative" val="1"/>
              </a:ext>
            </a:extLst>
          </p:cNvPr>
          <p:cNvGrpSpPr>
            <a:grpSpLocks/>
          </p:cNvGrpSpPr>
          <p:nvPr/>
        </p:nvGrpSpPr>
        <p:grpSpPr>
          <a:xfrm>
            <a:off x="5657044" y="2079625"/>
            <a:ext cx="889545" cy="889543"/>
            <a:chOff x="1566399" y="1459810"/>
            <a:chExt cx="1278402" cy="1278400"/>
          </a:xfrm>
        </p:grpSpPr>
        <p:sp>
          <p:nvSpPr>
            <p:cNvPr id="10" name="Grey oval containing warning">
              <a:extLst>
                <a:ext uri="{FF2B5EF4-FFF2-40B4-BE49-F238E27FC236}">
                  <a16:creationId xmlns:a16="http://schemas.microsoft.com/office/drawing/2014/main" id="{63FCF6F3-9D65-FC8D-A5B1-D00EAB95C5DF}"/>
                </a:ext>
                <a:ext uri="{C183D7F6-B498-43B3-948B-1728B52AA6E4}">
                  <adec:decorative xmlns:adec="http://schemas.microsoft.com/office/drawing/2017/decorative" val="1"/>
                </a:ext>
              </a:extLst>
            </p:cNvPr>
            <p:cNvSpPr/>
            <p:nvPr/>
          </p:nvSpPr>
          <p:spPr>
            <a:xfrm>
              <a:off x="1566399" y="1459810"/>
              <a:ext cx="1278402" cy="1278400"/>
            </a:xfrm>
            <a:prstGeom prst="ellipse">
              <a:avLst/>
            </a:prstGeom>
            <a:gradFill>
              <a:gsLst>
                <a:gs pos="0">
                  <a:srgbClr val="CD9AD0"/>
                </a:gs>
                <a:gs pos="100000">
                  <a:srgbClr val="8EC8E8"/>
                </a:gs>
              </a:gsLst>
              <a:lin ang="5400000" scaled="1"/>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
          <p:nvSpPr>
            <p:cNvPr id="11" name="Grey oval containing warning_4">
              <a:extLst>
                <a:ext uri="{FF2B5EF4-FFF2-40B4-BE49-F238E27FC236}">
                  <a16:creationId xmlns:a16="http://schemas.microsoft.com/office/drawing/2014/main" id="{7F45CE2E-8A0A-A054-68BE-B46971DC128C}"/>
                </a:ext>
                <a:ext uri="{C183D7F6-B498-43B3-948B-1728B52AA6E4}">
                  <adec:decorative xmlns:adec="http://schemas.microsoft.com/office/drawing/2017/decorative" val="1"/>
                </a:ext>
              </a:extLst>
            </p:cNvPr>
            <p:cNvSpPr/>
            <p:nvPr/>
          </p:nvSpPr>
          <p:spPr>
            <a:xfrm>
              <a:off x="1646405" y="1539816"/>
              <a:ext cx="1118391" cy="1118389"/>
            </a:xfrm>
            <a:prstGeom prst="ellipse">
              <a:avLst/>
            </a:prstGeom>
            <a:solidFill>
              <a:schemeClr val="bg1"/>
            </a:soli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grpSp>
      <p:grpSp>
        <p:nvGrpSpPr>
          <p:cNvPr id="12" name="Group 11">
            <a:extLst>
              <a:ext uri="{FF2B5EF4-FFF2-40B4-BE49-F238E27FC236}">
                <a16:creationId xmlns:a16="http://schemas.microsoft.com/office/drawing/2014/main" id="{AC5CE82C-E29C-C111-FA59-D8AC4772445E}"/>
              </a:ext>
              <a:ext uri="{C183D7F6-B498-43B3-948B-1728B52AA6E4}">
                <adec:decorative xmlns:adec="http://schemas.microsoft.com/office/drawing/2017/decorative" val="1"/>
              </a:ext>
            </a:extLst>
          </p:cNvPr>
          <p:cNvGrpSpPr>
            <a:grpSpLocks/>
          </p:cNvGrpSpPr>
          <p:nvPr/>
        </p:nvGrpSpPr>
        <p:grpSpPr>
          <a:xfrm>
            <a:off x="7835306" y="2079625"/>
            <a:ext cx="889545" cy="889543"/>
            <a:chOff x="1566399" y="1459810"/>
            <a:chExt cx="1278402" cy="1278400"/>
          </a:xfrm>
        </p:grpSpPr>
        <p:sp>
          <p:nvSpPr>
            <p:cNvPr id="13" name="Grey oval containing warning">
              <a:extLst>
                <a:ext uri="{FF2B5EF4-FFF2-40B4-BE49-F238E27FC236}">
                  <a16:creationId xmlns:a16="http://schemas.microsoft.com/office/drawing/2014/main" id="{D8B153F6-B4BE-D97A-F833-6EFAA2757DE6}"/>
                </a:ext>
                <a:ext uri="{C183D7F6-B498-43B3-948B-1728B52AA6E4}">
                  <adec:decorative xmlns:adec="http://schemas.microsoft.com/office/drawing/2017/decorative" val="1"/>
                </a:ext>
              </a:extLst>
            </p:cNvPr>
            <p:cNvSpPr/>
            <p:nvPr/>
          </p:nvSpPr>
          <p:spPr>
            <a:xfrm>
              <a:off x="1566399" y="1459810"/>
              <a:ext cx="1278402" cy="1278400"/>
            </a:xfrm>
            <a:prstGeom prst="ellipse">
              <a:avLst/>
            </a:prstGeom>
            <a:gradFill>
              <a:gsLst>
                <a:gs pos="0">
                  <a:srgbClr val="CD9AD0"/>
                </a:gs>
                <a:gs pos="100000">
                  <a:srgbClr val="8EC8E8"/>
                </a:gs>
              </a:gsLst>
              <a:lin ang="5400000" scaled="1"/>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
          <p:nvSpPr>
            <p:cNvPr id="14" name="Grey oval containing warning_4">
              <a:extLst>
                <a:ext uri="{FF2B5EF4-FFF2-40B4-BE49-F238E27FC236}">
                  <a16:creationId xmlns:a16="http://schemas.microsoft.com/office/drawing/2014/main" id="{5D5DC70A-8A6B-1888-E98C-6068746CAE9D}"/>
                </a:ext>
                <a:ext uri="{C183D7F6-B498-43B3-948B-1728B52AA6E4}">
                  <adec:decorative xmlns:adec="http://schemas.microsoft.com/office/drawing/2017/decorative" val="1"/>
                </a:ext>
              </a:extLst>
            </p:cNvPr>
            <p:cNvSpPr/>
            <p:nvPr/>
          </p:nvSpPr>
          <p:spPr>
            <a:xfrm>
              <a:off x="1646405" y="1539816"/>
              <a:ext cx="1118391" cy="1118389"/>
            </a:xfrm>
            <a:prstGeom prst="ellipse">
              <a:avLst/>
            </a:prstGeom>
            <a:solidFill>
              <a:schemeClr val="bg1"/>
            </a:soli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grpSp>
      <p:grpSp>
        <p:nvGrpSpPr>
          <p:cNvPr id="15" name="Group 14">
            <a:extLst>
              <a:ext uri="{FF2B5EF4-FFF2-40B4-BE49-F238E27FC236}">
                <a16:creationId xmlns:a16="http://schemas.microsoft.com/office/drawing/2014/main" id="{C50F6DAC-9774-0A12-09A7-0B59EC9FA824}"/>
              </a:ext>
              <a:ext uri="{C183D7F6-B498-43B3-948B-1728B52AA6E4}">
                <adec:decorative xmlns:adec="http://schemas.microsoft.com/office/drawing/2017/decorative" val="1"/>
              </a:ext>
            </a:extLst>
          </p:cNvPr>
          <p:cNvGrpSpPr>
            <a:grpSpLocks/>
          </p:cNvGrpSpPr>
          <p:nvPr/>
        </p:nvGrpSpPr>
        <p:grpSpPr>
          <a:xfrm>
            <a:off x="10013568" y="2079625"/>
            <a:ext cx="889545" cy="889543"/>
            <a:chOff x="1566399" y="1459810"/>
            <a:chExt cx="1278402" cy="1278400"/>
          </a:xfrm>
        </p:grpSpPr>
        <p:sp>
          <p:nvSpPr>
            <p:cNvPr id="16" name="Grey oval containing warning">
              <a:extLst>
                <a:ext uri="{FF2B5EF4-FFF2-40B4-BE49-F238E27FC236}">
                  <a16:creationId xmlns:a16="http://schemas.microsoft.com/office/drawing/2014/main" id="{2F87B4DF-F25F-E1E6-3393-3CD92A5EFFBA}"/>
                </a:ext>
                <a:ext uri="{C183D7F6-B498-43B3-948B-1728B52AA6E4}">
                  <adec:decorative xmlns:adec="http://schemas.microsoft.com/office/drawing/2017/decorative" val="1"/>
                </a:ext>
              </a:extLst>
            </p:cNvPr>
            <p:cNvSpPr/>
            <p:nvPr/>
          </p:nvSpPr>
          <p:spPr>
            <a:xfrm>
              <a:off x="1566399" y="1459810"/>
              <a:ext cx="1278402" cy="1278400"/>
            </a:xfrm>
            <a:prstGeom prst="ellipse">
              <a:avLst/>
            </a:prstGeom>
            <a:gradFill>
              <a:gsLst>
                <a:gs pos="0">
                  <a:srgbClr val="CD9AD0"/>
                </a:gs>
                <a:gs pos="100000">
                  <a:srgbClr val="8EC8E8"/>
                </a:gs>
              </a:gsLst>
              <a:lin ang="5400000" scaled="1"/>
            </a:gra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
          <p:nvSpPr>
            <p:cNvPr id="17" name="Grey oval containing warning_4">
              <a:extLst>
                <a:ext uri="{FF2B5EF4-FFF2-40B4-BE49-F238E27FC236}">
                  <a16:creationId xmlns:a16="http://schemas.microsoft.com/office/drawing/2014/main" id="{6686475C-9DC0-27FF-5BFA-09D6B8CCF250}"/>
                </a:ext>
                <a:ext uri="{C183D7F6-B498-43B3-948B-1728B52AA6E4}">
                  <adec:decorative xmlns:adec="http://schemas.microsoft.com/office/drawing/2017/decorative" val="1"/>
                </a:ext>
              </a:extLst>
            </p:cNvPr>
            <p:cNvSpPr/>
            <p:nvPr/>
          </p:nvSpPr>
          <p:spPr>
            <a:xfrm>
              <a:off x="1646405" y="1539816"/>
              <a:ext cx="1118391" cy="1118389"/>
            </a:xfrm>
            <a:prstGeom prst="ellipse">
              <a:avLst/>
            </a:prstGeom>
            <a:solidFill>
              <a:schemeClr val="bg1"/>
            </a:solidFill>
            <a:ln w="12700">
              <a:miter lim="400000"/>
            </a:ln>
            <a:effectLst>
              <a:outerShdw blurRad="254000" dist="50800" dir="2700000" sx="103000" sy="103000" rotWithShape="0">
                <a:srgbClr val="000000">
                  <a:alpha val="20000"/>
                </a:srgbClr>
              </a:outerShdw>
            </a:effectLst>
          </p:spPr>
          <p:txBody>
            <a:bodyPr lIns="44819" tIns="44819" rIns="44819" bIns="44819" anchor="ctr"/>
            <a:lstStyle/>
            <a:p>
              <a:pPr marL="0" marR="0" lvl="0" indent="0" algn="ctr" defTabSz="913751" rtl="0" eaLnBrk="1" fontAlgn="auto" latinLnBrk="0" hangingPunct="0">
                <a:lnSpc>
                  <a:spcPct val="100000"/>
                </a:lnSpc>
                <a:spcBef>
                  <a:spcPts val="0"/>
                </a:spcBef>
                <a:spcAft>
                  <a:spcPts val="0"/>
                </a:spcAft>
                <a:buClrTx/>
                <a:buSzTx/>
                <a:buFontTx/>
                <a:buNone/>
                <a:tabLst/>
                <a:defRPr/>
              </a:pPr>
              <a:endParaRPr kumimoji="0" lang="en-US" sz="1961"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ea typeface="+mn-ea"/>
                <a:cs typeface="Segoe UI Semilight"/>
                <a:sym typeface="Segoe UI Semilight"/>
              </a:endParaRPr>
            </a:p>
          </p:txBody>
        </p:sp>
      </p:grpSp>
      <p:sp>
        <p:nvSpPr>
          <p:cNvPr id="18" name="Title 1">
            <a:extLst>
              <a:ext uri="{FF2B5EF4-FFF2-40B4-BE49-F238E27FC236}">
                <a16:creationId xmlns:a16="http://schemas.microsoft.com/office/drawing/2014/main" id="{DB7B0D20-C1EC-B690-9E19-B39ED2E86033}"/>
              </a:ext>
            </a:extLst>
          </p:cNvPr>
          <p:cNvSpPr txBox="1">
            <a:spLocks/>
          </p:cNvSpPr>
          <p:nvPr/>
        </p:nvSpPr>
        <p:spPr>
          <a:xfrm>
            <a:off x="588963" y="878111"/>
            <a:ext cx="11017250" cy="55403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ctr" defTabSz="932384"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ctr" defTabSz="932384"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FFFFFF"/>
                </a:solidFill>
                <a:effectLst/>
                <a:uLnTx/>
                <a:uFillTx/>
                <a:latin typeface="Segoe UI Semibold"/>
                <a:ea typeface="+mn-ea"/>
                <a:cs typeface="Segoe UI" pitchFamily="34" charset="0"/>
              </a:rPr>
              <a:t>Five drivers of </a:t>
            </a:r>
            <a:r>
              <a:rPr kumimoji="0" lang="en-US" sz="3600" b="0" i="0" u="none" strike="noStrike" kern="1200" cap="none" spc="-50" normalizeH="0" baseline="0" noProof="0">
                <a:ln w="3175">
                  <a:noFill/>
                </a:ln>
                <a:gradFill>
                  <a:gsLst>
                    <a:gs pos="52000">
                      <a:srgbClr val="8DC8E8"/>
                    </a:gs>
                    <a:gs pos="100000">
                      <a:srgbClr val="D59ED7"/>
                    </a:gs>
                  </a:gsLst>
                  <a:lin ang="3000000" scaled="0"/>
                </a:gradFill>
                <a:effectLst/>
                <a:uLnTx/>
                <a:uFillTx/>
                <a:latin typeface="Segoe UI Semibold"/>
                <a:ea typeface="+mn-ea"/>
                <a:cs typeface="Segoe UI" pitchFamily="34" charset="0"/>
              </a:rPr>
              <a:t>AI value</a:t>
            </a:r>
          </a:p>
        </p:txBody>
      </p:sp>
      <p:sp>
        <p:nvSpPr>
          <p:cNvPr id="19" name="strategy" title="Icon of two circles and a curved arrow winding between three exes connecting them">
            <a:extLst>
              <a:ext uri="{FF2B5EF4-FFF2-40B4-BE49-F238E27FC236}">
                <a16:creationId xmlns:a16="http://schemas.microsoft.com/office/drawing/2014/main" id="{D3D2823F-03B8-147F-087D-FAD269300A05}"/>
              </a:ext>
            </a:extLst>
          </p:cNvPr>
          <p:cNvSpPr>
            <a:spLocks noChangeAspect="1" noEditPoints="1"/>
          </p:cNvSpPr>
          <p:nvPr/>
        </p:nvSpPr>
        <p:spPr bwMode="auto">
          <a:xfrm>
            <a:off x="1580225" y="2304474"/>
            <a:ext cx="330134" cy="439845"/>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2700" cap="rnd">
            <a:solidFill>
              <a:schemeClr val="tx1"/>
            </a:soli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20" name="TextBox 19">
            <a:extLst>
              <a:ext uri="{FF2B5EF4-FFF2-40B4-BE49-F238E27FC236}">
                <a16:creationId xmlns:a16="http://schemas.microsoft.com/office/drawing/2014/main" id="{C882032E-3ADE-B9E2-DBF4-F2B4AA33F59A}"/>
              </a:ext>
            </a:extLst>
          </p:cNvPr>
          <p:cNvSpPr txBox="1"/>
          <p:nvPr/>
        </p:nvSpPr>
        <p:spPr>
          <a:xfrm>
            <a:off x="721889" y="3307080"/>
            <a:ext cx="2046807" cy="1661160"/>
          </a:xfrm>
          <a:prstGeom prst="roundRect">
            <a:avLst>
              <a:gd name="adj" fmla="val 6611"/>
            </a:avLst>
          </a:prstGeom>
          <a:solidFill>
            <a:srgbClr val="21354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1600" b="0" i="0" u="none" strike="noStrike" cap="none" spc="0" normalizeH="0" baseline="0">
                <a:ln>
                  <a:noFill/>
                </a:ln>
                <a:solidFill>
                  <a:srgbClr val="FFFFFF"/>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Business</a:t>
            </a:r>
            <a:b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br>
            <a: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Strategy</a:t>
            </a:r>
          </a:p>
        </p:txBody>
      </p:sp>
      <p:sp>
        <p:nvSpPr>
          <p:cNvPr id="21" name="gear" title="Icon of a gear surrounded by a circle with lines of varying length">
            <a:extLst>
              <a:ext uri="{FF2B5EF4-FFF2-40B4-BE49-F238E27FC236}">
                <a16:creationId xmlns:a16="http://schemas.microsoft.com/office/drawing/2014/main" id="{4FECE591-858B-F779-9E68-CBCE2A20650B}"/>
              </a:ext>
            </a:extLst>
          </p:cNvPr>
          <p:cNvSpPr>
            <a:spLocks noChangeAspect="1" noEditPoints="1"/>
          </p:cNvSpPr>
          <p:nvPr/>
        </p:nvSpPr>
        <p:spPr bwMode="auto">
          <a:xfrm>
            <a:off x="3689969" y="2291822"/>
            <a:ext cx="467170" cy="465148"/>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2700" cap="rnd">
            <a:solidFill>
              <a:schemeClr val="tx1"/>
            </a:soli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22" name="TextBox 21">
            <a:extLst>
              <a:ext uri="{FF2B5EF4-FFF2-40B4-BE49-F238E27FC236}">
                <a16:creationId xmlns:a16="http://schemas.microsoft.com/office/drawing/2014/main" id="{6E8491EF-6C0F-A888-5CBB-A69C5A369D50}"/>
              </a:ext>
            </a:extLst>
          </p:cNvPr>
          <p:cNvSpPr txBox="1"/>
          <p:nvPr/>
        </p:nvSpPr>
        <p:spPr>
          <a:xfrm>
            <a:off x="2900151" y="3307080"/>
            <a:ext cx="2046807" cy="1661160"/>
          </a:xfrm>
          <a:prstGeom prst="roundRect">
            <a:avLst>
              <a:gd name="adj" fmla="val 6611"/>
            </a:avLst>
          </a:prstGeom>
          <a:solidFill>
            <a:srgbClr val="21354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000" b="0" i="0" u="none" strike="noStrike" cap="none" spc="0" normalizeH="0" baseline="0">
                <a:ln>
                  <a:noFill/>
                </a:ln>
                <a:solidFill>
                  <a:schemeClr val="tx1"/>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Technology &amp; Data Strategy</a:t>
            </a:r>
          </a:p>
        </p:txBody>
      </p:sp>
      <p:sp>
        <p:nvSpPr>
          <p:cNvPr id="23" name="brain_2" title="Icon of a brain with circles and connection lines inside">
            <a:extLst>
              <a:ext uri="{FF2B5EF4-FFF2-40B4-BE49-F238E27FC236}">
                <a16:creationId xmlns:a16="http://schemas.microsoft.com/office/drawing/2014/main" id="{EE5A9420-0E46-172A-BF37-319C5926B1F3}"/>
              </a:ext>
            </a:extLst>
          </p:cNvPr>
          <p:cNvSpPr>
            <a:spLocks noChangeAspect="1" noEditPoints="1"/>
          </p:cNvSpPr>
          <p:nvPr/>
        </p:nvSpPr>
        <p:spPr bwMode="auto">
          <a:xfrm>
            <a:off x="5796952" y="2319976"/>
            <a:ext cx="609728" cy="408840"/>
          </a:xfrm>
          <a:custGeom>
            <a:avLst/>
            <a:gdLst>
              <a:gd name="T0" fmla="*/ 379 w 440"/>
              <a:gd name="T1" fmla="*/ 133 h 295"/>
              <a:gd name="T2" fmla="*/ 379 w 440"/>
              <a:gd name="T3" fmla="*/ 169 h 295"/>
              <a:gd name="T4" fmla="*/ 259 w 440"/>
              <a:gd name="T5" fmla="*/ 181 h 295"/>
              <a:gd name="T6" fmla="*/ 295 w 440"/>
              <a:gd name="T7" fmla="*/ 181 h 295"/>
              <a:gd name="T8" fmla="*/ 259 w 440"/>
              <a:gd name="T9" fmla="*/ 181 h 295"/>
              <a:gd name="T10" fmla="*/ 114 w 440"/>
              <a:gd name="T11" fmla="*/ 179 h 295"/>
              <a:gd name="T12" fmla="*/ 78 w 440"/>
              <a:gd name="T13" fmla="*/ 169 h 295"/>
              <a:gd name="T14" fmla="*/ 235 w 440"/>
              <a:gd name="T15" fmla="*/ 88 h 295"/>
              <a:gd name="T16" fmla="*/ 192 w 440"/>
              <a:gd name="T17" fmla="*/ 79 h 295"/>
              <a:gd name="T18" fmla="*/ 174 w 440"/>
              <a:gd name="T19" fmla="*/ 97 h 295"/>
              <a:gd name="T20" fmla="*/ 174 w 440"/>
              <a:gd name="T21" fmla="*/ 61 h 295"/>
              <a:gd name="T22" fmla="*/ 277 w 440"/>
              <a:gd name="T23" fmla="*/ 85 h 295"/>
              <a:gd name="T24" fmla="*/ 313 w 440"/>
              <a:gd name="T25" fmla="*/ 85 h 295"/>
              <a:gd name="T26" fmla="*/ 277 w 440"/>
              <a:gd name="T27" fmla="*/ 85 h 295"/>
              <a:gd name="T28" fmla="*/ 168 w 440"/>
              <a:gd name="T29" fmla="*/ 205 h 295"/>
              <a:gd name="T30" fmla="*/ 168 w 440"/>
              <a:gd name="T31" fmla="*/ 169 h 295"/>
              <a:gd name="T32" fmla="*/ 42 w 440"/>
              <a:gd name="T33" fmla="*/ 169 h 295"/>
              <a:gd name="T34" fmla="*/ 78 w 440"/>
              <a:gd name="T35" fmla="*/ 169 h 295"/>
              <a:gd name="T36" fmla="*/ 42 w 440"/>
              <a:gd name="T37" fmla="*/ 169 h 295"/>
              <a:gd name="T38" fmla="*/ 284 w 440"/>
              <a:gd name="T39" fmla="*/ 121 h 295"/>
              <a:gd name="T40" fmla="*/ 295 w 440"/>
              <a:gd name="T41" fmla="*/ 103 h 295"/>
              <a:gd name="T42" fmla="*/ 114 w 440"/>
              <a:gd name="T43" fmla="*/ 125 h 295"/>
              <a:gd name="T44" fmla="*/ 143 w 440"/>
              <a:gd name="T45" fmla="*/ 133 h 295"/>
              <a:gd name="T46" fmla="*/ 168 w 440"/>
              <a:gd name="T47" fmla="*/ 144 h 295"/>
              <a:gd name="T48" fmla="*/ 361 w 440"/>
              <a:gd name="T49" fmla="*/ 151 h 295"/>
              <a:gd name="T50" fmla="*/ 331 w 440"/>
              <a:gd name="T51" fmla="*/ 160 h 295"/>
              <a:gd name="T52" fmla="*/ 331 w 440"/>
              <a:gd name="T53" fmla="*/ 243 h 295"/>
              <a:gd name="T54" fmla="*/ 321 w 440"/>
              <a:gd name="T55" fmla="*/ 181 h 295"/>
              <a:gd name="T56" fmla="*/ 358 w 440"/>
              <a:gd name="T57" fmla="*/ 206 h 295"/>
              <a:gd name="T58" fmla="*/ 440 w 440"/>
              <a:gd name="T59" fmla="*/ 163 h 295"/>
              <a:gd name="T60" fmla="*/ 388 w 440"/>
              <a:gd name="T61" fmla="*/ 110 h 295"/>
              <a:gd name="T62" fmla="*/ 227 w 440"/>
              <a:gd name="T63" fmla="*/ 30 h 295"/>
              <a:gd name="T64" fmla="*/ 68 w 440"/>
              <a:gd name="T65" fmla="*/ 103 h 295"/>
              <a:gd name="T66" fmla="*/ 4 w 440"/>
              <a:gd name="T67" fmla="*/ 165 h 295"/>
              <a:gd name="T68" fmla="*/ 164 w 440"/>
              <a:gd name="T69" fmla="*/ 237 h 295"/>
              <a:gd name="T70" fmla="*/ 358 w 440"/>
              <a:gd name="T71" fmla="*/ 206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0" h="295">
                <a:moveTo>
                  <a:pt x="361" y="151"/>
                </a:moveTo>
                <a:cubicBezTo>
                  <a:pt x="361" y="141"/>
                  <a:pt x="369" y="133"/>
                  <a:pt x="379" y="133"/>
                </a:cubicBezTo>
                <a:cubicBezTo>
                  <a:pt x="389" y="133"/>
                  <a:pt x="397" y="141"/>
                  <a:pt x="397" y="151"/>
                </a:cubicBezTo>
                <a:cubicBezTo>
                  <a:pt x="397" y="161"/>
                  <a:pt x="389" y="169"/>
                  <a:pt x="379" y="169"/>
                </a:cubicBezTo>
                <a:cubicBezTo>
                  <a:pt x="369" y="169"/>
                  <a:pt x="361" y="161"/>
                  <a:pt x="361" y="151"/>
                </a:cubicBezTo>
                <a:close/>
                <a:moveTo>
                  <a:pt x="259" y="181"/>
                </a:moveTo>
                <a:cubicBezTo>
                  <a:pt x="259" y="191"/>
                  <a:pt x="267" y="199"/>
                  <a:pt x="277" y="199"/>
                </a:cubicBezTo>
                <a:cubicBezTo>
                  <a:pt x="287" y="199"/>
                  <a:pt x="295" y="191"/>
                  <a:pt x="295" y="181"/>
                </a:cubicBezTo>
                <a:cubicBezTo>
                  <a:pt x="295" y="171"/>
                  <a:pt x="287" y="163"/>
                  <a:pt x="277" y="163"/>
                </a:cubicBezTo>
                <a:cubicBezTo>
                  <a:pt x="267" y="163"/>
                  <a:pt x="259" y="171"/>
                  <a:pt x="259" y="181"/>
                </a:cubicBezTo>
                <a:close/>
                <a:moveTo>
                  <a:pt x="114" y="239"/>
                </a:moveTo>
                <a:cubicBezTo>
                  <a:pt x="114" y="179"/>
                  <a:pt x="114" y="179"/>
                  <a:pt x="114" y="179"/>
                </a:cubicBezTo>
                <a:cubicBezTo>
                  <a:pt x="114" y="179"/>
                  <a:pt x="109" y="169"/>
                  <a:pt x="104" y="169"/>
                </a:cubicBezTo>
                <a:cubicBezTo>
                  <a:pt x="104" y="169"/>
                  <a:pt x="104" y="169"/>
                  <a:pt x="78" y="169"/>
                </a:cubicBezTo>
                <a:moveTo>
                  <a:pt x="235" y="260"/>
                </a:moveTo>
                <a:cubicBezTo>
                  <a:pt x="235" y="260"/>
                  <a:pt x="235" y="260"/>
                  <a:pt x="235" y="88"/>
                </a:cubicBezTo>
                <a:cubicBezTo>
                  <a:pt x="235" y="82"/>
                  <a:pt x="231" y="79"/>
                  <a:pt x="225" y="79"/>
                </a:cubicBezTo>
                <a:cubicBezTo>
                  <a:pt x="225" y="79"/>
                  <a:pt x="225" y="79"/>
                  <a:pt x="192" y="79"/>
                </a:cubicBezTo>
                <a:moveTo>
                  <a:pt x="156" y="79"/>
                </a:moveTo>
                <a:cubicBezTo>
                  <a:pt x="156" y="89"/>
                  <a:pt x="164" y="97"/>
                  <a:pt x="174" y="97"/>
                </a:cubicBezTo>
                <a:cubicBezTo>
                  <a:pt x="184" y="97"/>
                  <a:pt x="192" y="89"/>
                  <a:pt x="192" y="79"/>
                </a:cubicBezTo>
                <a:cubicBezTo>
                  <a:pt x="192" y="69"/>
                  <a:pt x="184" y="61"/>
                  <a:pt x="174" y="61"/>
                </a:cubicBezTo>
                <a:cubicBezTo>
                  <a:pt x="164" y="61"/>
                  <a:pt x="156" y="69"/>
                  <a:pt x="156" y="79"/>
                </a:cubicBezTo>
                <a:close/>
                <a:moveTo>
                  <a:pt x="277" y="85"/>
                </a:moveTo>
                <a:cubicBezTo>
                  <a:pt x="277" y="95"/>
                  <a:pt x="285" y="103"/>
                  <a:pt x="295" y="103"/>
                </a:cubicBezTo>
                <a:cubicBezTo>
                  <a:pt x="305" y="103"/>
                  <a:pt x="313" y="95"/>
                  <a:pt x="313" y="85"/>
                </a:cubicBezTo>
                <a:cubicBezTo>
                  <a:pt x="313" y="75"/>
                  <a:pt x="305" y="67"/>
                  <a:pt x="295" y="67"/>
                </a:cubicBezTo>
                <a:cubicBezTo>
                  <a:pt x="285" y="67"/>
                  <a:pt x="277" y="75"/>
                  <a:pt x="277" y="85"/>
                </a:cubicBezTo>
                <a:close/>
                <a:moveTo>
                  <a:pt x="150" y="187"/>
                </a:moveTo>
                <a:cubicBezTo>
                  <a:pt x="150" y="197"/>
                  <a:pt x="158" y="205"/>
                  <a:pt x="168" y="205"/>
                </a:cubicBezTo>
                <a:cubicBezTo>
                  <a:pt x="178" y="205"/>
                  <a:pt x="186" y="197"/>
                  <a:pt x="186" y="187"/>
                </a:cubicBezTo>
                <a:cubicBezTo>
                  <a:pt x="186" y="177"/>
                  <a:pt x="178" y="169"/>
                  <a:pt x="168" y="169"/>
                </a:cubicBezTo>
                <a:cubicBezTo>
                  <a:pt x="158" y="169"/>
                  <a:pt x="150" y="177"/>
                  <a:pt x="150" y="187"/>
                </a:cubicBezTo>
                <a:close/>
                <a:moveTo>
                  <a:pt x="42" y="169"/>
                </a:moveTo>
                <a:cubicBezTo>
                  <a:pt x="42" y="179"/>
                  <a:pt x="50" y="187"/>
                  <a:pt x="60" y="187"/>
                </a:cubicBezTo>
                <a:cubicBezTo>
                  <a:pt x="70" y="187"/>
                  <a:pt x="78" y="179"/>
                  <a:pt x="78" y="169"/>
                </a:cubicBezTo>
                <a:cubicBezTo>
                  <a:pt x="78" y="159"/>
                  <a:pt x="70" y="151"/>
                  <a:pt x="60" y="151"/>
                </a:cubicBezTo>
                <a:cubicBezTo>
                  <a:pt x="50" y="151"/>
                  <a:pt x="42" y="159"/>
                  <a:pt x="42" y="169"/>
                </a:cubicBezTo>
                <a:close/>
                <a:moveTo>
                  <a:pt x="235" y="121"/>
                </a:moveTo>
                <a:cubicBezTo>
                  <a:pt x="235" y="121"/>
                  <a:pt x="235" y="121"/>
                  <a:pt x="284" y="121"/>
                </a:cubicBezTo>
                <a:cubicBezTo>
                  <a:pt x="290" y="121"/>
                  <a:pt x="295" y="117"/>
                  <a:pt x="295" y="112"/>
                </a:cubicBezTo>
                <a:cubicBezTo>
                  <a:pt x="295" y="112"/>
                  <a:pt x="295" y="112"/>
                  <a:pt x="295" y="103"/>
                </a:cubicBezTo>
                <a:moveTo>
                  <a:pt x="114" y="49"/>
                </a:moveTo>
                <a:cubicBezTo>
                  <a:pt x="114" y="49"/>
                  <a:pt x="114" y="51"/>
                  <a:pt x="114" y="125"/>
                </a:cubicBezTo>
                <a:cubicBezTo>
                  <a:pt x="114" y="130"/>
                  <a:pt x="118" y="133"/>
                  <a:pt x="123" y="133"/>
                </a:cubicBezTo>
                <a:cubicBezTo>
                  <a:pt x="123" y="133"/>
                  <a:pt x="123" y="133"/>
                  <a:pt x="143" y="133"/>
                </a:cubicBezTo>
                <a:cubicBezTo>
                  <a:pt x="143" y="133"/>
                  <a:pt x="143" y="133"/>
                  <a:pt x="158" y="133"/>
                </a:cubicBezTo>
                <a:cubicBezTo>
                  <a:pt x="163" y="133"/>
                  <a:pt x="168" y="139"/>
                  <a:pt x="168" y="144"/>
                </a:cubicBezTo>
                <a:cubicBezTo>
                  <a:pt x="168" y="144"/>
                  <a:pt x="168" y="144"/>
                  <a:pt x="168" y="169"/>
                </a:cubicBezTo>
                <a:moveTo>
                  <a:pt x="361" y="151"/>
                </a:moveTo>
                <a:cubicBezTo>
                  <a:pt x="361" y="151"/>
                  <a:pt x="361" y="151"/>
                  <a:pt x="340" y="151"/>
                </a:cubicBezTo>
                <a:cubicBezTo>
                  <a:pt x="335" y="151"/>
                  <a:pt x="331" y="155"/>
                  <a:pt x="331" y="160"/>
                </a:cubicBezTo>
                <a:cubicBezTo>
                  <a:pt x="331" y="160"/>
                  <a:pt x="331" y="160"/>
                  <a:pt x="331" y="205"/>
                </a:cubicBezTo>
                <a:moveTo>
                  <a:pt x="331" y="243"/>
                </a:moveTo>
                <a:cubicBezTo>
                  <a:pt x="331" y="243"/>
                  <a:pt x="331" y="243"/>
                  <a:pt x="331" y="190"/>
                </a:cubicBezTo>
                <a:cubicBezTo>
                  <a:pt x="331" y="185"/>
                  <a:pt x="327" y="181"/>
                  <a:pt x="321" y="181"/>
                </a:cubicBezTo>
                <a:cubicBezTo>
                  <a:pt x="321" y="181"/>
                  <a:pt x="321" y="181"/>
                  <a:pt x="295" y="181"/>
                </a:cubicBezTo>
                <a:moveTo>
                  <a:pt x="358" y="206"/>
                </a:moveTo>
                <a:cubicBezTo>
                  <a:pt x="367" y="212"/>
                  <a:pt x="377" y="215"/>
                  <a:pt x="388" y="215"/>
                </a:cubicBezTo>
                <a:cubicBezTo>
                  <a:pt x="417" y="215"/>
                  <a:pt x="440" y="192"/>
                  <a:pt x="440" y="163"/>
                </a:cubicBezTo>
                <a:cubicBezTo>
                  <a:pt x="440" y="134"/>
                  <a:pt x="417" y="111"/>
                  <a:pt x="388" y="111"/>
                </a:cubicBezTo>
                <a:cubicBezTo>
                  <a:pt x="388" y="110"/>
                  <a:pt x="388" y="110"/>
                  <a:pt x="388" y="110"/>
                </a:cubicBezTo>
                <a:cubicBezTo>
                  <a:pt x="388" y="110"/>
                  <a:pt x="379" y="38"/>
                  <a:pt x="310" y="41"/>
                </a:cubicBezTo>
                <a:cubicBezTo>
                  <a:pt x="310" y="41"/>
                  <a:pt x="275" y="4"/>
                  <a:pt x="227" y="30"/>
                </a:cubicBezTo>
                <a:cubicBezTo>
                  <a:pt x="227" y="30"/>
                  <a:pt x="183" y="0"/>
                  <a:pt x="146" y="53"/>
                </a:cubicBezTo>
                <a:cubicBezTo>
                  <a:pt x="146" y="53"/>
                  <a:pt x="79" y="26"/>
                  <a:pt x="68" y="103"/>
                </a:cubicBezTo>
                <a:cubicBezTo>
                  <a:pt x="68" y="103"/>
                  <a:pt x="68" y="103"/>
                  <a:pt x="68" y="103"/>
                </a:cubicBezTo>
                <a:cubicBezTo>
                  <a:pt x="68" y="103"/>
                  <a:pt x="7" y="116"/>
                  <a:pt x="4" y="165"/>
                </a:cubicBezTo>
                <a:cubicBezTo>
                  <a:pt x="0" y="213"/>
                  <a:pt x="42" y="247"/>
                  <a:pt x="87" y="215"/>
                </a:cubicBezTo>
                <a:cubicBezTo>
                  <a:pt x="87" y="215"/>
                  <a:pt x="120" y="263"/>
                  <a:pt x="164" y="237"/>
                </a:cubicBezTo>
                <a:cubicBezTo>
                  <a:pt x="164" y="237"/>
                  <a:pt x="222" y="295"/>
                  <a:pt x="270" y="235"/>
                </a:cubicBezTo>
                <a:cubicBezTo>
                  <a:pt x="270" y="235"/>
                  <a:pt x="329" y="282"/>
                  <a:pt x="358" y="206"/>
                </a:cubicBezTo>
                <a:close/>
              </a:path>
            </a:pathLst>
          </a:custGeom>
          <a:noFill/>
          <a:ln w="12700" cap="rnd">
            <a:solidFill>
              <a:schemeClr val="tx1"/>
            </a:soli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24" name="TextBox 23">
            <a:extLst>
              <a:ext uri="{FF2B5EF4-FFF2-40B4-BE49-F238E27FC236}">
                <a16:creationId xmlns:a16="http://schemas.microsoft.com/office/drawing/2014/main" id="{AFCD1E67-1FA5-ED26-ED78-C1BC7734DF0D}"/>
              </a:ext>
            </a:extLst>
          </p:cNvPr>
          <p:cNvSpPr txBox="1"/>
          <p:nvPr/>
        </p:nvSpPr>
        <p:spPr>
          <a:xfrm>
            <a:off x="5078413" y="3307080"/>
            <a:ext cx="2046807" cy="1661160"/>
          </a:xfrm>
          <a:prstGeom prst="roundRect">
            <a:avLst>
              <a:gd name="adj" fmla="val 6611"/>
            </a:avLst>
          </a:prstGeom>
          <a:solidFill>
            <a:srgbClr val="21354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000" b="0" i="0" u="none" strike="noStrike" cap="none" spc="0" normalizeH="0" baseline="0">
                <a:ln>
                  <a:noFill/>
                </a:ln>
                <a:solidFill>
                  <a:schemeClr val="tx1"/>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AI Strategy</a:t>
            </a:r>
            <a:b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br>
            <a: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amp; Experience</a:t>
            </a:r>
          </a:p>
        </p:txBody>
      </p:sp>
      <p:sp>
        <p:nvSpPr>
          <p:cNvPr id="25" name="Modern_workplace" title="Icon of three people connected by a dotted line">
            <a:extLst>
              <a:ext uri="{FF2B5EF4-FFF2-40B4-BE49-F238E27FC236}">
                <a16:creationId xmlns:a16="http://schemas.microsoft.com/office/drawing/2014/main" id="{7220E70E-A93B-482F-E40A-ED3ED98AFA77}"/>
              </a:ext>
            </a:extLst>
          </p:cNvPr>
          <p:cNvSpPr>
            <a:spLocks noChangeAspect="1" noEditPoints="1"/>
          </p:cNvSpPr>
          <p:nvPr/>
        </p:nvSpPr>
        <p:spPr bwMode="auto">
          <a:xfrm>
            <a:off x="8049915" y="2270002"/>
            <a:ext cx="460327" cy="446114"/>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rnd">
            <a:solidFill>
              <a:schemeClr val="tx1"/>
            </a:soli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26" name="TextBox 25">
            <a:extLst>
              <a:ext uri="{FF2B5EF4-FFF2-40B4-BE49-F238E27FC236}">
                <a16:creationId xmlns:a16="http://schemas.microsoft.com/office/drawing/2014/main" id="{27010463-0F57-69D2-982C-81779F41336A}"/>
              </a:ext>
            </a:extLst>
          </p:cNvPr>
          <p:cNvSpPr txBox="1"/>
          <p:nvPr/>
        </p:nvSpPr>
        <p:spPr>
          <a:xfrm>
            <a:off x="7256675" y="3307080"/>
            <a:ext cx="2046807" cy="1661160"/>
          </a:xfrm>
          <a:prstGeom prst="roundRect">
            <a:avLst>
              <a:gd name="adj" fmla="val 6611"/>
            </a:avLst>
          </a:prstGeom>
          <a:solidFill>
            <a:srgbClr val="21354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000" b="0" i="0" u="none" strike="noStrike" cap="none" spc="0" normalizeH="0" baseline="0">
                <a:ln>
                  <a:noFill/>
                </a:ln>
                <a:solidFill>
                  <a:schemeClr val="tx1"/>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Organization</a:t>
            </a:r>
            <a:b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br>
            <a: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amp; Culture</a:t>
            </a:r>
          </a:p>
        </p:txBody>
      </p:sp>
      <p:sp>
        <p:nvSpPr>
          <p:cNvPr id="27" name="3D" title="Icon of a 3D box with square points on each corner">
            <a:extLst>
              <a:ext uri="{FF2B5EF4-FFF2-40B4-BE49-F238E27FC236}">
                <a16:creationId xmlns:a16="http://schemas.microsoft.com/office/drawing/2014/main" id="{90518B71-E39F-CC29-6D1A-33A7C3330C40}"/>
              </a:ext>
            </a:extLst>
          </p:cNvPr>
          <p:cNvSpPr>
            <a:spLocks noChangeAspect="1" noEditPoints="1"/>
          </p:cNvSpPr>
          <p:nvPr/>
        </p:nvSpPr>
        <p:spPr bwMode="auto">
          <a:xfrm>
            <a:off x="10245992" y="2297336"/>
            <a:ext cx="424696" cy="454120"/>
          </a:xfrm>
          <a:custGeom>
            <a:avLst/>
            <a:gdLst>
              <a:gd name="T0" fmla="*/ 67 w 534"/>
              <a:gd name="T1" fmla="*/ 117 h 571"/>
              <a:gd name="T2" fmla="*/ 232 w 534"/>
              <a:gd name="T3" fmla="*/ 35 h 571"/>
              <a:gd name="T4" fmla="*/ 302 w 534"/>
              <a:gd name="T5" fmla="*/ 33 h 571"/>
              <a:gd name="T6" fmla="*/ 467 w 534"/>
              <a:gd name="T7" fmla="*/ 117 h 571"/>
              <a:gd name="T8" fmla="*/ 534 w 534"/>
              <a:gd name="T9" fmla="*/ 461 h 571"/>
              <a:gd name="T10" fmla="*/ 534 w 534"/>
              <a:gd name="T11" fmla="*/ 427 h 571"/>
              <a:gd name="T12" fmla="*/ 467 w 534"/>
              <a:gd name="T13" fmla="*/ 427 h 571"/>
              <a:gd name="T14" fmla="*/ 467 w 534"/>
              <a:gd name="T15" fmla="*/ 495 h 571"/>
              <a:gd name="T16" fmla="*/ 534 w 534"/>
              <a:gd name="T17" fmla="*/ 495 h 571"/>
              <a:gd name="T18" fmla="*/ 534 w 534"/>
              <a:gd name="T19" fmla="*/ 461 h 571"/>
              <a:gd name="T20" fmla="*/ 302 w 534"/>
              <a:gd name="T21" fmla="*/ 537 h 571"/>
              <a:gd name="T22" fmla="*/ 302 w 534"/>
              <a:gd name="T23" fmla="*/ 502 h 571"/>
              <a:gd name="T24" fmla="*/ 232 w 534"/>
              <a:gd name="T25" fmla="*/ 502 h 571"/>
              <a:gd name="T26" fmla="*/ 232 w 534"/>
              <a:gd name="T27" fmla="*/ 571 h 571"/>
              <a:gd name="T28" fmla="*/ 302 w 534"/>
              <a:gd name="T29" fmla="*/ 571 h 571"/>
              <a:gd name="T30" fmla="*/ 302 w 534"/>
              <a:gd name="T31" fmla="*/ 537 h 571"/>
              <a:gd name="T32" fmla="*/ 67 w 534"/>
              <a:gd name="T33" fmla="*/ 461 h 571"/>
              <a:gd name="T34" fmla="*/ 67 w 534"/>
              <a:gd name="T35" fmla="*/ 427 h 571"/>
              <a:gd name="T36" fmla="*/ 0 w 534"/>
              <a:gd name="T37" fmla="*/ 427 h 571"/>
              <a:gd name="T38" fmla="*/ 0 w 534"/>
              <a:gd name="T39" fmla="*/ 495 h 571"/>
              <a:gd name="T40" fmla="*/ 67 w 534"/>
              <a:gd name="T41" fmla="*/ 495 h 571"/>
              <a:gd name="T42" fmla="*/ 67 w 534"/>
              <a:gd name="T43" fmla="*/ 461 h 571"/>
              <a:gd name="T44" fmla="*/ 67 w 534"/>
              <a:gd name="T45" fmla="*/ 152 h 571"/>
              <a:gd name="T46" fmla="*/ 67 w 534"/>
              <a:gd name="T47" fmla="*/ 117 h 571"/>
              <a:gd name="T48" fmla="*/ 0 w 534"/>
              <a:gd name="T49" fmla="*/ 117 h 571"/>
              <a:gd name="T50" fmla="*/ 0 w 534"/>
              <a:gd name="T51" fmla="*/ 186 h 571"/>
              <a:gd name="T52" fmla="*/ 67 w 534"/>
              <a:gd name="T53" fmla="*/ 186 h 571"/>
              <a:gd name="T54" fmla="*/ 67 w 534"/>
              <a:gd name="T55" fmla="*/ 152 h 571"/>
              <a:gd name="T56" fmla="*/ 302 w 534"/>
              <a:gd name="T57" fmla="*/ 227 h 571"/>
              <a:gd name="T58" fmla="*/ 302 w 534"/>
              <a:gd name="T59" fmla="*/ 193 h 571"/>
              <a:gd name="T60" fmla="*/ 232 w 534"/>
              <a:gd name="T61" fmla="*/ 193 h 571"/>
              <a:gd name="T62" fmla="*/ 232 w 534"/>
              <a:gd name="T63" fmla="*/ 261 h 571"/>
              <a:gd name="T64" fmla="*/ 302 w 534"/>
              <a:gd name="T65" fmla="*/ 261 h 571"/>
              <a:gd name="T66" fmla="*/ 302 w 534"/>
              <a:gd name="T67" fmla="*/ 227 h 571"/>
              <a:gd name="T68" fmla="*/ 302 w 534"/>
              <a:gd name="T69" fmla="*/ 33 h 571"/>
              <a:gd name="T70" fmla="*/ 302 w 534"/>
              <a:gd name="T71" fmla="*/ 0 h 571"/>
              <a:gd name="T72" fmla="*/ 232 w 534"/>
              <a:gd name="T73" fmla="*/ 0 h 571"/>
              <a:gd name="T74" fmla="*/ 232 w 534"/>
              <a:gd name="T75" fmla="*/ 69 h 571"/>
              <a:gd name="T76" fmla="*/ 302 w 534"/>
              <a:gd name="T77" fmla="*/ 69 h 571"/>
              <a:gd name="T78" fmla="*/ 302 w 534"/>
              <a:gd name="T79" fmla="*/ 33 h 571"/>
              <a:gd name="T80" fmla="*/ 534 w 534"/>
              <a:gd name="T81" fmla="*/ 152 h 571"/>
              <a:gd name="T82" fmla="*/ 534 w 534"/>
              <a:gd name="T83" fmla="*/ 117 h 571"/>
              <a:gd name="T84" fmla="*/ 467 w 534"/>
              <a:gd name="T85" fmla="*/ 117 h 571"/>
              <a:gd name="T86" fmla="*/ 467 w 534"/>
              <a:gd name="T87" fmla="*/ 186 h 571"/>
              <a:gd name="T88" fmla="*/ 534 w 534"/>
              <a:gd name="T89" fmla="*/ 186 h 571"/>
              <a:gd name="T90" fmla="*/ 534 w 534"/>
              <a:gd name="T91" fmla="*/ 152 h 571"/>
              <a:gd name="T92" fmla="*/ 302 w 534"/>
              <a:gd name="T93" fmla="*/ 229 h 571"/>
              <a:gd name="T94" fmla="*/ 467 w 534"/>
              <a:gd name="T95" fmla="*/ 152 h 571"/>
              <a:gd name="T96" fmla="*/ 501 w 534"/>
              <a:gd name="T97" fmla="*/ 186 h 571"/>
              <a:gd name="T98" fmla="*/ 501 w 534"/>
              <a:gd name="T99" fmla="*/ 427 h 571"/>
              <a:gd name="T100" fmla="*/ 268 w 534"/>
              <a:gd name="T101" fmla="*/ 261 h 571"/>
              <a:gd name="T102" fmla="*/ 268 w 534"/>
              <a:gd name="T103" fmla="*/ 502 h 571"/>
              <a:gd name="T104" fmla="*/ 34 w 534"/>
              <a:gd name="T105" fmla="*/ 186 h 571"/>
              <a:gd name="T106" fmla="*/ 34 w 534"/>
              <a:gd name="T107" fmla="*/ 427 h 571"/>
              <a:gd name="T108" fmla="*/ 67 w 534"/>
              <a:gd name="T109" fmla="*/ 152 h 571"/>
              <a:gd name="T110" fmla="*/ 232 w 534"/>
              <a:gd name="T111" fmla="*/ 229 h 571"/>
              <a:gd name="T112" fmla="*/ 302 w 534"/>
              <a:gd name="T113" fmla="*/ 537 h 571"/>
              <a:gd name="T114" fmla="*/ 467 w 534"/>
              <a:gd name="T115" fmla="*/ 461 h 571"/>
              <a:gd name="T116" fmla="*/ 232 w 534"/>
              <a:gd name="T117" fmla="*/ 539 h 571"/>
              <a:gd name="T118" fmla="*/ 67 w 534"/>
              <a:gd name="T119" fmla="*/ 461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4" h="571">
                <a:moveTo>
                  <a:pt x="67" y="117"/>
                </a:moveTo>
                <a:lnTo>
                  <a:pt x="232" y="35"/>
                </a:lnTo>
                <a:moveTo>
                  <a:pt x="302" y="33"/>
                </a:moveTo>
                <a:lnTo>
                  <a:pt x="467" y="117"/>
                </a:lnTo>
                <a:moveTo>
                  <a:pt x="534" y="461"/>
                </a:moveTo>
                <a:lnTo>
                  <a:pt x="534" y="427"/>
                </a:lnTo>
                <a:lnTo>
                  <a:pt x="467" y="427"/>
                </a:lnTo>
                <a:lnTo>
                  <a:pt x="467" y="495"/>
                </a:lnTo>
                <a:lnTo>
                  <a:pt x="534" y="495"/>
                </a:lnTo>
                <a:lnTo>
                  <a:pt x="534" y="461"/>
                </a:lnTo>
                <a:moveTo>
                  <a:pt x="302" y="537"/>
                </a:moveTo>
                <a:lnTo>
                  <a:pt x="302" y="502"/>
                </a:lnTo>
                <a:lnTo>
                  <a:pt x="232" y="502"/>
                </a:lnTo>
                <a:lnTo>
                  <a:pt x="232" y="571"/>
                </a:lnTo>
                <a:lnTo>
                  <a:pt x="302" y="571"/>
                </a:lnTo>
                <a:lnTo>
                  <a:pt x="302" y="537"/>
                </a:lnTo>
                <a:moveTo>
                  <a:pt x="67" y="461"/>
                </a:moveTo>
                <a:lnTo>
                  <a:pt x="67" y="427"/>
                </a:lnTo>
                <a:lnTo>
                  <a:pt x="0" y="427"/>
                </a:lnTo>
                <a:lnTo>
                  <a:pt x="0" y="495"/>
                </a:lnTo>
                <a:lnTo>
                  <a:pt x="67" y="495"/>
                </a:lnTo>
                <a:lnTo>
                  <a:pt x="67" y="461"/>
                </a:lnTo>
                <a:moveTo>
                  <a:pt x="67" y="152"/>
                </a:moveTo>
                <a:lnTo>
                  <a:pt x="67" y="117"/>
                </a:lnTo>
                <a:lnTo>
                  <a:pt x="0" y="117"/>
                </a:lnTo>
                <a:lnTo>
                  <a:pt x="0" y="186"/>
                </a:lnTo>
                <a:lnTo>
                  <a:pt x="67" y="186"/>
                </a:lnTo>
                <a:lnTo>
                  <a:pt x="67" y="152"/>
                </a:lnTo>
                <a:moveTo>
                  <a:pt x="302" y="227"/>
                </a:moveTo>
                <a:lnTo>
                  <a:pt x="302" y="193"/>
                </a:lnTo>
                <a:lnTo>
                  <a:pt x="232" y="193"/>
                </a:lnTo>
                <a:lnTo>
                  <a:pt x="232" y="261"/>
                </a:lnTo>
                <a:lnTo>
                  <a:pt x="302" y="261"/>
                </a:lnTo>
                <a:lnTo>
                  <a:pt x="302" y="227"/>
                </a:lnTo>
                <a:moveTo>
                  <a:pt x="302" y="33"/>
                </a:moveTo>
                <a:lnTo>
                  <a:pt x="302" y="0"/>
                </a:lnTo>
                <a:lnTo>
                  <a:pt x="232" y="0"/>
                </a:lnTo>
                <a:lnTo>
                  <a:pt x="232" y="69"/>
                </a:lnTo>
                <a:lnTo>
                  <a:pt x="302" y="69"/>
                </a:lnTo>
                <a:lnTo>
                  <a:pt x="302" y="33"/>
                </a:lnTo>
                <a:moveTo>
                  <a:pt x="534" y="152"/>
                </a:moveTo>
                <a:lnTo>
                  <a:pt x="534" y="117"/>
                </a:lnTo>
                <a:lnTo>
                  <a:pt x="467" y="117"/>
                </a:lnTo>
                <a:lnTo>
                  <a:pt x="467" y="186"/>
                </a:lnTo>
                <a:lnTo>
                  <a:pt x="534" y="186"/>
                </a:lnTo>
                <a:lnTo>
                  <a:pt x="534" y="152"/>
                </a:lnTo>
                <a:moveTo>
                  <a:pt x="302" y="229"/>
                </a:moveTo>
                <a:lnTo>
                  <a:pt x="467" y="152"/>
                </a:lnTo>
                <a:moveTo>
                  <a:pt x="501" y="186"/>
                </a:moveTo>
                <a:lnTo>
                  <a:pt x="501" y="427"/>
                </a:lnTo>
                <a:moveTo>
                  <a:pt x="268" y="261"/>
                </a:moveTo>
                <a:lnTo>
                  <a:pt x="268" y="502"/>
                </a:lnTo>
                <a:moveTo>
                  <a:pt x="34" y="186"/>
                </a:moveTo>
                <a:lnTo>
                  <a:pt x="34" y="427"/>
                </a:lnTo>
                <a:moveTo>
                  <a:pt x="67" y="152"/>
                </a:moveTo>
                <a:lnTo>
                  <a:pt x="232" y="229"/>
                </a:lnTo>
                <a:moveTo>
                  <a:pt x="302" y="537"/>
                </a:moveTo>
                <a:lnTo>
                  <a:pt x="467" y="461"/>
                </a:lnTo>
                <a:moveTo>
                  <a:pt x="232" y="539"/>
                </a:moveTo>
                <a:lnTo>
                  <a:pt x="67" y="461"/>
                </a:lnTo>
              </a:path>
            </a:pathLst>
          </a:custGeom>
          <a:noFill/>
          <a:ln w="12700" cap="rnd">
            <a:solidFill>
              <a:schemeClr val="tx1"/>
            </a:soli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sp>
        <p:nvSpPr>
          <p:cNvPr id="28" name="TextBox 27">
            <a:extLst>
              <a:ext uri="{FF2B5EF4-FFF2-40B4-BE49-F238E27FC236}">
                <a16:creationId xmlns:a16="http://schemas.microsoft.com/office/drawing/2014/main" id="{01C74759-1156-F967-B22A-A7DAA3FCC7F1}"/>
              </a:ext>
            </a:extLst>
          </p:cNvPr>
          <p:cNvSpPr txBox="1"/>
          <p:nvPr/>
        </p:nvSpPr>
        <p:spPr>
          <a:xfrm>
            <a:off x="9434937" y="3307080"/>
            <a:ext cx="2046807" cy="1661160"/>
          </a:xfrm>
          <a:prstGeom prst="roundRect">
            <a:avLst>
              <a:gd name="adj" fmla="val 6611"/>
            </a:avLst>
          </a:prstGeom>
          <a:solidFill>
            <a:srgbClr val="21354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274320" numCol="1" spcCol="0" rtlCol="0" fromWordArt="0" anchor="ctr" anchorCtr="0" forceAA="0" compatLnSpc="1">
            <a:prstTxWarp prst="textNoShape">
              <a:avLst/>
            </a:prstTxWarp>
            <a:noAutofit/>
          </a:bodyPr>
          <a:lstStyle>
            <a:defPPr>
              <a:defRPr lang="en-US"/>
            </a:defPPr>
            <a:lvl1pPr marR="0" lvl="0" indent="0" algn="ctr" defTabSz="932472" fontAlgn="base">
              <a:lnSpc>
                <a:spcPct val="100000"/>
              </a:lnSpc>
              <a:spcBef>
                <a:spcPct val="0"/>
              </a:spcBef>
              <a:spcAft>
                <a:spcPct val="0"/>
              </a:spcAft>
              <a:buClrTx/>
              <a:buSzTx/>
              <a:buFontTx/>
              <a:buNone/>
              <a:tabLst/>
              <a:defRPr kumimoji="0" sz="2000" b="0" i="0" u="none" strike="noStrike" cap="none" spc="0" normalizeH="0" baseline="0">
                <a:ln>
                  <a:noFill/>
                </a:ln>
                <a:solidFill>
                  <a:schemeClr val="tx1"/>
                </a:solidFill>
                <a:effectLst/>
                <a:uLnTx/>
                <a:uFillTx/>
                <a:latin typeface="Segoe UI Semibold"/>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AI </a:t>
            </a:r>
            <a:b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br>
            <a: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Governance</a:t>
            </a:r>
          </a:p>
        </p:txBody>
      </p:sp>
      <p:sp>
        <p:nvSpPr>
          <p:cNvPr id="29" name="Rounded Rectangle 62">
            <a:extLst>
              <a:ext uri="{FF2B5EF4-FFF2-40B4-BE49-F238E27FC236}">
                <a16:creationId xmlns:a16="http://schemas.microsoft.com/office/drawing/2014/main" id="{65214346-40E8-7313-01E3-F43E3572B85F}"/>
              </a:ext>
            </a:extLst>
          </p:cNvPr>
          <p:cNvSpPr/>
          <p:nvPr/>
        </p:nvSpPr>
        <p:spPr bwMode="auto">
          <a:xfrm>
            <a:off x="737891" y="5265902"/>
            <a:ext cx="10719392" cy="502920"/>
          </a:xfrm>
          <a:prstGeom prst="roundRect">
            <a:avLst>
              <a:gd name="adj" fmla="val 50000"/>
            </a:avLst>
          </a:prstGeom>
          <a:gradFill>
            <a:gsLst>
              <a:gs pos="10000">
                <a:srgbClr val="D59ED7"/>
              </a:gs>
              <a:gs pos="40000">
                <a:srgbClr val="8DC8E8"/>
              </a:gs>
            </a:gsLst>
            <a:path path="circle">
              <a:fillToRect l="100000" t="100000"/>
            </a:path>
          </a:gradFill>
          <a:ln w="44450" cap="rnd">
            <a:noFill/>
            <a:headEnd type="none" w="lg" len="med"/>
            <a:tailEnd type="none" w="lg" len="med"/>
          </a:ln>
          <a:effectLst>
            <a:outerShdw blurRad="63500" dist="127000" dir="2700000" algn="tl" rotWithShape="0">
              <a:prstClr val="black">
                <a:alpha val="50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8D4">
                    <a:lumMod val="75000"/>
                  </a:srgbClr>
                </a:solidFill>
                <a:effectLst/>
                <a:uLnTx/>
                <a:uFillTx/>
                <a:latin typeface="Segoe UI Semibold"/>
                <a:ea typeface="+mn-ea"/>
                <a:cs typeface="+mn-cs"/>
                <a:hlinkClick r:id="rId3">
                  <a:extLst>
                    <a:ext uri="{A12FA001-AC4F-418D-AE19-62706E023703}">
                      <ahyp:hlinkClr xmlns:ahyp="http://schemas.microsoft.com/office/drawing/2018/hyperlinkcolor" val="tx"/>
                    </a:ext>
                  </a:extLst>
                </a:hlinkClick>
              </a:rPr>
              <a:t>https://aka.ms/AI-Success-Whitepaper</a:t>
            </a:r>
            <a:r>
              <a:rPr kumimoji="0" lang="en-US" sz="2000" b="0" i="0" u="none" strike="noStrike" kern="1200" cap="none" spc="0" normalizeH="0" baseline="0" noProof="0" dirty="0">
                <a:ln>
                  <a:noFill/>
                </a:ln>
                <a:solidFill>
                  <a:srgbClr val="0078D4">
                    <a:lumMod val="75000"/>
                  </a:srgbClr>
                </a:solidFill>
                <a:effectLst/>
                <a:uLnTx/>
                <a:uFillTx/>
                <a:latin typeface="Segoe UI Semibold"/>
                <a:ea typeface="+mn-ea"/>
                <a:cs typeface="+mn-cs"/>
              </a:rPr>
              <a:t> </a:t>
            </a:r>
          </a:p>
        </p:txBody>
      </p:sp>
    </p:spTree>
    <p:extLst>
      <p:ext uri="{BB962C8B-B14F-4D97-AF65-F5344CB8AC3E}">
        <p14:creationId xmlns:p14="http://schemas.microsoft.com/office/powerpoint/2010/main" val="22318918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42" presetClass="path" presetSubtype="0" decel="100000" fill="hold" grpId="1" nodeType="withEffect">
                                  <p:stCondLst>
                                    <p:cond delay="300"/>
                                  </p:stCondLst>
                                  <p:childTnLst>
                                    <p:animMotion origin="layout" path="M -2.08333E-7 2.96296E-6 L -2.08333E-7 0.03541 " pathEditMode="relative" rAng="0" ptsTypes="AA">
                                      <p:cBhvr>
                                        <p:cTn id="9" dur="700" spd="-100000" fill="hold"/>
                                        <p:tgtEl>
                                          <p:spTgt spid="18"/>
                                        </p:tgtEl>
                                        <p:attrNameLst>
                                          <p:attrName>ppt_x</p:attrName>
                                          <p:attrName>ppt_y</p:attrName>
                                        </p:attrNameLst>
                                      </p:cBhvr>
                                      <p:rCtr x="0" y="1759"/>
                                    </p:animMotion>
                                  </p:childTnLst>
                                </p:cTn>
                              </p:par>
                              <p:par>
                                <p:cTn id="10" presetID="10" presetClass="entr" presetSubtype="0" fill="hold" grpId="0" nodeType="withEffect">
                                  <p:stCondLst>
                                    <p:cond delay="3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grpId="1" nodeType="withEffect">
                                  <p:stCondLst>
                                    <p:cond delay="300"/>
                                  </p:stCondLst>
                                  <p:childTnLst>
                                    <p:animMotion origin="layout" path="M -2.08333E-7 2.59259E-6 L -2.08333E-7 0.03541 " pathEditMode="relative" rAng="0" ptsTypes="AA">
                                      <p:cBhvr>
                                        <p:cTn id="14" dur="700" spd="-100000" fill="hold"/>
                                        <p:tgtEl>
                                          <p:spTgt spid="2"/>
                                        </p:tgtEl>
                                        <p:attrNameLst>
                                          <p:attrName>ppt_x</p:attrName>
                                          <p:attrName>ppt_y</p:attrName>
                                        </p:attrNameLst>
                                      </p:cBhvr>
                                      <p:rCtr x="0" y="1759"/>
                                    </p:animMotion>
                                  </p:childTnLst>
                                </p:cTn>
                              </p:par>
                              <p:par>
                                <p:cTn id="15" presetID="10" presetClass="entr" presetSubtype="0" fill="hold" grpId="0" nodeType="withEffect">
                                  <p:stCondLst>
                                    <p:cond delay="3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42" presetClass="path" presetSubtype="0" decel="100000" fill="hold" grpId="1" nodeType="withEffect">
                                  <p:stCondLst>
                                    <p:cond delay="300"/>
                                  </p:stCondLst>
                                  <p:childTnLst>
                                    <p:animMotion origin="layout" path="M 1.04167E-6 4.44444E-6 L 1.04167E-6 0.03541 " pathEditMode="relative" rAng="0" ptsTypes="AA">
                                      <p:cBhvr>
                                        <p:cTn id="19" dur="700" spd="-100000" fill="hold"/>
                                        <p:tgtEl>
                                          <p:spTgt spid="19"/>
                                        </p:tgtEl>
                                        <p:attrNameLst>
                                          <p:attrName>ppt_x</p:attrName>
                                          <p:attrName>ppt_y</p:attrName>
                                        </p:attrNameLst>
                                      </p:cBhvr>
                                      <p:rCtr x="0" y="1759"/>
                                    </p:animMotion>
                                  </p:childTnLst>
                                </p:cTn>
                              </p:par>
                              <p:par>
                                <p:cTn id="20" presetID="10" presetClass="entr" presetSubtype="0" fill="hold" grpId="0" nodeType="withEffect">
                                  <p:stCondLst>
                                    <p:cond delay="3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42" presetClass="path" presetSubtype="0" decel="100000" fill="hold" grpId="1" nodeType="withEffect">
                                  <p:stCondLst>
                                    <p:cond delay="300"/>
                                  </p:stCondLst>
                                  <p:childTnLst>
                                    <p:animMotion origin="layout" path="M -4.79167E-6 4.44444E-6 L -4.79167E-6 0.03541 " pathEditMode="relative" rAng="0" ptsTypes="AA">
                                      <p:cBhvr>
                                        <p:cTn id="24" dur="700" spd="-100000" fill="hold"/>
                                        <p:tgtEl>
                                          <p:spTgt spid="21"/>
                                        </p:tgtEl>
                                        <p:attrNameLst>
                                          <p:attrName>ppt_x</p:attrName>
                                          <p:attrName>ppt_y</p:attrName>
                                        </p:attrNameLst>
                                      </p:cBhvr>
                                      <p:rCtr x="0" y="1759"/>
                                    </p:animMotion>
                                  </p:childTnLst>
                                </p:cTn>
                              </p:par>
                              <p:par>
                                <p:cTn id="25" presetID="10" presetClass="entr" presetSubtype="0" fill="hold" grpId="0" nodeType="withEffect">
                                  <p:stCondLst>
                                    <p:cond delay="30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par>
                                <p:cTn id="28" presetID="42" presetClass="path" presetSubtype="0" decel="100000" fill="hold" grpId="1" nodeType="withEffect">
                                  <p:stCondLst>
                                    <p:cond delay="300"/>
                                  </p:stCondLst>
                                  <p:childTnLst>
                                    <p:animMotion origin="layout" path="M -8.33333E-7 4.44444E-6 L -8.33333E-7 0.03541 " pathEditMode="relative" rAng="0" ptsTypes="AA">
                                      <p:cBhvr>
                                        <p:cTn id="29" dur="700" spd="-100000" fill="hold"/>
                                        <p:tgtEl>
                                          <p:spTgt spid="23"/>
                                        </p:tgtEl>
                                        <p:attrNameLst>
                                          <p:attrName>ppt_x</p:attrName>
                                          <p:attrName>ppt_y</p:attrName>
                                        </p:attrNameLst>
                                      </p:cBhvr>
                                      <p:rCtr x="0" y="1759"/>
                                    </p:animMotion>
                                  </p:childTnLst>
                                </p:cTn>
                              </p:par>
                              <p:par>
                                <p:cTn id="30" presetID="10" presetClass="entr" presetSubtype="0" fill="hold" grpId="0" nodeType="withEffect">
                                  <p:stCondLst>
                                    <p:cond delay="30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42" presetClass="path" presetSubtype="0" decel="100000" fill="hold" grpId="1" nodeType="withEffect">
                                  <p:stCondLst>
                                    <p:cond delay="300"/>
                                  </p:stCondLst>
                                  <p:childTnLst>
                                    <p:animMotion origin="layout" path="M 3.33333E-6 4.07407E-6 L 3.33333E-6 0.03541 " pathEditMode="relative" rAng="0" ptsTypes="AA">
                                      <p:cBhvr>
                                        <p:cTn id="34" dur="700" spd="-100000" fill="hold"/>
                                        <p:tgtEl>
                                          <p:spTgt spid="25"/>
                                        </p:tgtEl>
                                        <p:attrNameLst>
                                          <p:attrName>ppt_x</p:attrName>
                                          <p:attrName>ppt_y</p:attrName>
                                        </p:attrNameLst>
                                      </p:cBhvr>
                                      <p:rCtr x="0" y="1759"/>
                                    </p:animMotion>
                                  </p:childTnLst>
                                </p:cTn>
                              </p:par>
                              <p:par>
                                <p:cTn id="35" presetID="10" presetClass="entr" presetSubtype="0" fill="hold" grpId="0" nodeType="withEffect">
                                  <p:stCondLst>
                                    <p:cond delay="30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42" presetClass="path" presetSubtype="0" decel="100000" fill="hold" grpId="1" nodeType="withEffect">
                                  <p:stCondLst>
                                    <p:cond delay="300"/>
                                  </p:stCondLst>
                                  <p:childTnLst>
                                    <p:animMotion origin="layout" path="M -2.5E-6 4.44444E-6 L -2.5E-6 0.03541 " pathEditMode="relative" rAng="0" ptsTypes="AA">
                                      <p:cBhvr>
                                        <p:cTn id="39" dur="700" spd="-100000" fill="hold"/>
                                        <p:tgtEl>
                                          <p:spTgt spid="27"/>
                                        </p:tgtEl>
                                        <p:attrNameLst>
                                          <p:attrName>ppt_x</p:attrName>
                                          <p:attrName>ppt_y</p:attrName>
                                        </p:attrNameLst>
                                      </p:cBhvr>
                                      <p:rCtr x="0" y="1759"/>
                                    </p:animMotion>
                                  </p:childTnLst>
                                </p:cTn>
                              </p:par>
                              <p:par>
                                <p:cTn id="40" presetID="10" presetClass="entr" presetSubtype="0" fill="hold" grpId="0" nodeType="withEffect">
                                  <p:stCondLst>
                                    <p:cond delay="30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par>
                                <p:cTn id="43" presetID="42" presetClass="path" presetSubtype="0" decel="100000" fill="hold" grpId="1" nodeType="withEffect">
                                  <p:stCondLst>
                                    <p:cond delay="300"/>
                                  </p:stCondLst>
                                  <p:childTnLst>
                                    <p:animMotion origin="layout" path="M 0 2.59259E-6 L 0 0.03541 " pathEditMode="relative" rAng="0" ptsTypes="AA">
                                      <p:cBhvr>
                                        <p:cTn id="44" dur="700" spd="-100000" fill="hold"/>
                                        <p:tgtEl>
                                          <p:spTgt spid="29"/>
                                        </p:tgtEl>
                                        <p:attrNameLst>
                                          <p:attrName>ppt_x</p:attrName>
                                          <p:attrName>ppt_y</p:attrName>
                                        </p:attrNameLst>
                                      </p:cBhvr>
                                      <p:rCtr x="0" y="1759"/>
                                    </p:animMotion>
                                  </p:childTnLst>
                                </p:cTn>
                              </p:par>
                              <p:par>
                                <p:cTn id="45" presetID="10" presetClass="entr" presetSubtype="0" fill="hold" grpId="0" nodeType="withEffect">
                                  <p:stCondLst>
                                    <p:cond delay="30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42" presetClass="path" presetSubtype="0" decel="100000" fill="hold" grpId="1" nodeType="withEffect">
                                  <p:stCondLst>
                                    <p:cond delay="300"/>
                                  </p:stCondLst>
                                  <p:childTnLst>
                                    <p:animMotion origin="layout" path="M 0 2.59259E-6 L 0 0.03541 " pathEditMode="relative" rAng="0" ptsTypes="AA">
                                      <p:cBhvr>
                                        <p:cTn id="49" dur="700" spd="-100000" fill="hold"/>
                                        <p:tgtEl>
                                          <p:spTgt spid="20"/>
                                        </p:tgtEl>
                                        <p:attrNameLst>
                                          <p:attrName>ppt_x</p:attrName>
                                          <p:attrName>ppt_y</p:attrName>
                                        </p:attrNameLst>
                                      </p:cBhvr>
                                      <p:rCtr x="0" y="1759"/>
                                    </p:animMotion>
                                  </p:childTnLst>
                                </p:cTn>
                              </p:par>
                              <p:par>
                                <p:cTn id="50" presetID="10" presetClass="entr" presetSubtype="0" fill="hold" grpId="0" nodeType="withEffect">
                                  <p:stCondLst>
                                    <p:cond delay="30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42" presetClass="path" presetSubtype="0" decel="100000" fill="hold" grpId="1" nodeType="withEffect">
                                  <p:stCondLst>
                                    <p:cond delay="300"/>
                                  </p:stCondLst>
                                  <p:childTnLst>
                                    <p:animMotion origin="layout" path="M 0 2.59259E-6 L 0 0.03541 " pathEditMode="relative" rAng="0" ptsTypes="AA">
                                      <p:cBhvr>
                                        <p:cTn id="54" dur="700" spd="-100000" fill="hold"/>
                                        <p:tgtEl>
                                          <p:spTgt spid="22"/>
                                        </p:tgtEl>
                                        <p:attrNameLst>
                                          <p:attrName>ppt_x</p:attrName>
                                          <p:attrName>ppt_y</p:attrName>
                                        </p:attrNameLst>
                                      </p:cBhvr>
                                      <p:rCtr x="0" y="1759"/>
                                    </p:animMotion>
                                  </p:childTnLst>
                                </p:cTn>
                              </p:par>
                              <p:par>
                                <p:cTn id="55" presetID="10" presetClass="entr" presetSubtype="0" fill="hold" grpId="0" nodeType="withEffect">
                                  <p:stCondLst>
                                    <p:cond delay="300"/>
                                  </p:stCondLst>
                                  <p:childTnLst>
                                    <p:set>
                                      <p:cBhvr>
                                        <p:cTn id="56" dur="1" fill="hold">
                                          <p:stCondLst>
                                            <p:cond delay="0"/>
                                          </p:stCondLst>
                                        </p:cTn>
                                        <p:tgtEl>
                                          <p:spTgt spid="24"/>
                                        </p:tgtEl>
                                        <p:attrNameLst>
                                          <p:attrName>style.visibility</p:attrName>
                                        </p:attrNameLst>
                                      </p:cBhvr>
                                      <p:to>
                                        <p:strVal val="visible"/>
                                      </p:to>
                                    </p:set>
                                    <p:animEffect transition="in" filter="fade">
                                      <p:cBhvr>
                                        <p:cTn id="57" dur="500"/>
                                        <p:tgtEl>
                                          <p:spTgt spid="24"/>
                                        </p:tgtEl>
                                      </p:cBhvr>
                                    </p:animEffect>
                                  </p:childTnLst>
                                </p:cTn>
                              </p:par>
                              <p:par>
                                <p:cTn id="58" presetID="42" presetClass="path" presetSubtype="0" decel="100000" fill="hold" grpId="1" nodeType="withEffect">
                                  <p:stCondLst>
                                    <p:cond delay="300"/>
                                  </p:stCondLst>
                                  <p:childTnLst>
                                    <p:animMotion origin="layout" path="M 0 2.59259E-6 L 0 0.03541 " pathEditMode="relative" rAng="0" ptsTypes="AA">
                                      <p:cBhvr>
                                        <p:cTn id="59" dur="700" spd="-100000" fill="hold"/>
                                        <p:tgtEl>
                                          <p:spTgt spid="24"/>
                                        </p:tgtEl>
                                        <p:attrNameLst>
                                          <p:attrName>ppt_x</p:attrName>
                                          <p:attrName>ppt_y</p:attrName>
                                        </p:attrNameLst>
                                      </p:cBhvr>
                                      <p:rCtr x="0" y="1759"/>
                                    </p:animMotion>
                                  </p:childTnLst>
                                </p:cTn>
                              </p:par>
                              <p:par>
                                <p:cTn id="60" presetID="10" presetClass="entr" presetSubtype="0" fill="hold" grpId="0" nodeType="withEffect">
                                  <p:stCondLst>
                                    <p:cond delay="30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42" presetClass="path" presetSubtype="0" decel="100000" fill="hold" grpId="1" nodeType="withEffect">
                                  <p:stCondLst>
                                    <p:cond delay="300"/>
                                  </p:stCondLst>
                                  <p:childTnLst>
                                    <p:animMotion origin="layout" path="M 0 2.59259E-6 L 0 0.03541 " pathEditMode="relative" rAng="0" ptsTypes="AA">
                                      <p:cBhvr>
                                        <p:cTn id="64" dur="700" spd="-100000" fill="hold"/>
                                        <p:tgtEl>
                                          <p:spTgt spid="26"/>
                                        </p:tgtEl>
                                        <p:attrNameLst>
                                          <p:attrName>ppt_x</p:attrName>
                                          <p:attrName>ppt_y</p:attrName>
                                        </p:attrNameLst>
                                      </p:cBhvr>
                                      <p:rCtr x="0" y="1759"/>
                                    </p:animMotion>
                                  </p:childTnLst>
                                </p:cTn>
                              </p:par>
                              <p:par>
                                <p:cTn id="65" presetID="10" presetClass="entr" presetSubtype="0" fill="hold" grpId="0" nodeType="withEffect">
                                  <p:stCondLst>
                                    <p:cond delay="300"/>
                                  </p:stCondLst>
                                  <p:childTnLst>
                                    <p:set>
                                      <p:cBhvr>
                                        <p:cTn id="66" dur="1" fill="hold">
                                          <p:stCondLst>
                                            <p:cond delay="0"/>
                                          </p:stCondLst>
                                        </p:cTn>
                                        <p:tgtEl>
                                          <p:spTgt spid="28"/>
                                        </p:tgtEl>
                                        <p:attrNameLst>
                                          <p:attrName>style.visibility</p:attrName>
                                        </p:attrNameLst>
                                      </p:cBhvr>
                                      <p:to>
                                        <p:strVal val="visible"/>
                                      </p:to>
                                    </p:set>
                                    <p:animEffect transition="in" filter="fade">
                                      <p:cBhvr>
                                        <p:cTn id="67" dur="500"/>
                                        <p:tgtEl>
                                          <p:spTgt spid="28"/>
                                        </p:tgtEl>
                                      </p:cBhvr>
                                    </p:animEffect>
                                  </p:childTnLst>
                                </p:cTn>
                              </p:par>
                              <p:par>
                                <p:cTn id="68" presetID="42" presetClass="path" presetSubtype="0" decel="100000" fill="hold" grpId="1" nodeType="withEffect">
                                  <p:stCondLst>
                                    <p:cond delay="300"/>
                                  </p:stCondLst>
                                  <p:childTnLst>
                                    <p:animMotion origin="layout" path="M 0 2.59259E-6 L 0 0.03541 " pathEditMode="relative" rAng="0" ptsTypes="AA">
                                      <p:cBhvr>
                                        <p:cTn id="69" dur="700" spd="-100000" fill="hold"/>
                                        <p:tgtEl>
                                          <p:spTgt spid="28"/>
                                        </p:tgtEl>
                                        <p:attrNameLst>
                                          <p:attrName>ppt_x</p:attrName>
                                          <p:attrName>ppt_y</p:attrName>
                                        </p:attrNameLst>
                                      </p:cBhvr>
                                      <p:rCtr x="0" y="1759"/>
                                    </p:animMotion>
                                  </p:childTnLst>
                                </p:cTn>
                              </p:par>
                              <p:par>
                                <p:cTn id="70" presetID="10" presetClass="entr" presetSubtype="0" fill="hold" nodeType="withEffect">
                                  <p:stCondLst>
                                    <p:cond delay="300"/>
                                  </p:stCondLst>
                                  <p:childTnLst>
                                    <p:set>
                                      <p:cBhvr>
                                        <p:cTn id="71" dur="1" fill="hold">
                                          <p:stCondLst>
                                            <p:cond delay="0"/>
                                          </p:stCondLst>
                                        </p:cTn>
                                        <p:tgtEl>
                                          <p:spTgt spid="3"/>
                                        </p:tgtEl>
                                        <p:attrNameLst>
                                          <p:attrName>style.visibility</p:attrName>
                                        </p:attrNameLst>
                                      </p:cBhvr>
                                      <p:to>
                                        <p:strVal val="visible"/>
                                      </p:to>
                                    </p:set>
                                    <p:animEffect transition="in" filter="fade">
                                      <p:cBhvr>
                                        <p:cTn id="72" dur="500"/>
                                        <p:tgtEl>
                                          <p:spTgt spid="3"/>
                                        </p:tgtEl>
                                      </p:cBhvr>
                                    </p:animEffect>
                                  </p:childTnLst>
                                </p:cTn>
                              </p:par>
                              <p:par>
                                <p:cTn id="73" presetID="42" presetClass="path" presetSubtype="0" decel="100000" fill="hold" nodeType="withEffect">
                                  <p:stCondLst>
                                    <p:cond delay="300"/>
                                  </p:stCondLst>
                                  <p:childTnLst>
                                    <p:animMotion origin="layout" path="M 1.04167E-6 4.44444E-6 L 1.04167E-6 0.03541 " pathEditMode="relative" rAng="0" ptsTypes="AA">
                                      <p:cBhvr>
                                        <p:cTn id="74" dur="700" spd="-100000" fill="hold"/>
                                        <p:tgtEl>
                                          <p:spTgt spid="3"/>
                                        </p:tgtEl>
                                        <p:attrNameLst>
                                          <p:attrName>ppt_x</p:attrName>
                                          <p:attrName>ppt_y</p:attrName>
                                        </p:attrNameLst>
                                      </p:cBhvr>
                                      <p:rCtr x="0" y="1759"/>
                                    </p:animMotion>
                                  </p:childTnLst>
                                </p:cTn>
                              </p:par>
                              <p:par>
                                <p:cTn id="75" presetID="10" presetClass="entr" presetSubtype="0" fill="hold" nodeType="withEffect">
                                  <p:stCondLst>
                                    <p:cond delay="300"/>
                                  </p:stCondLst>
                                  <p:childTnLst>
                                    <p:set>
                                      <p:cBhvr>
                                        <p:cTn id="76" dur="1" fill="hold">
                                          <p:stCondLst>
                                            <p:cond delay="0"/>
                                          </p:stCondLst>
                                        </p:cTn>
                                        <p:tgtEl>
                                          <p:spTgt spid="6"/>
                                        </p:tgtEl>
                                        <p:attrNameLst>
                                          <p:attrName>style.visibility</p:attrName>
                                        </p:attrNameLst>
                                      </p:cBhvr>
                                      <p:to>
                                        <p:strVal val="visible"/>
                                      </p:to>
                                    </p:set>
                                    <p:animEffect transition="in" filter="fade">
                                      <p:cBhvr>
                                        <p:cTn id="77" dur="500"/>
                                        <p:tgtEl>
                                          <p:spTgt spid="6"/>
                                        </p:tgtEl>
                                      </p:cBhvr>
                                    </p:animEffect>
                                  </p:childTnLst>
                                </p:cTn>
                              </p:par>
                              <p:par>
                                <p:cTn id="78" presetID="42" presetClass="path" presetSubtype="0" decel="100000" fill="hold" nodeType="withEffect">
                                  <p:stCondLst>
                                    <p:cond delay="300"/>
                                  </p:stCondLst>
                                  <p:childTnLst>
                                    <p:animMotion origin="layout" path="M -4.79167E-6 4.44444E-6 L -4.79167E-6 0.03541 " pathEditMode="relative" rAng="0" ptsTypes="AA">
                                      <p:cBhvr>
                                        <p:cTn id="79" dur="700" spd="-100000" fill="hold"/>
                                        <p:tgtEl>
                                          <p:spTgt spid="6"/>
                                        </p:tgtEl>
                                        <p:attrNameLst>
                                          <p:attrName>ppt_x</p:attrName>
                                          <p:attrName>ppt_y</p:attrName>
                                        </p:attrNameLst>
                                      </p:cBhvr>
                                      <p:rCtr x="0" y="1759"/>
                                    </p:animMotion>
                                  </p:childTnLst>
                                </p:cTn>
                              </p:par>
                              <p:par>
                                <p:cTn id="80" presetID="10" presetClass="entr" presetSubtype="0" fill="hold" nodeType="withEffect">
                                  <p:stCondLst>
                                    <p:cond delay="300"/>
                                  </p:stCondLst>
                                  <p:childTnLst>
                                    <p:set>
                                      <p:cBhvr>
                                        <p:cTn id="81" dur="1" fill="hold">
                                          <p:stCondLst>
                                            <p:cond delay="0"/>
                                          </p:stCondLst>
                                        </p:cTn>
                                        <p:tgtEl>
                                          <p:spTgt spid="9"/>
                                        </p:tgtEl>
                                        <p:attrNameLst>
                                          <p:attrName>style.visibility</p:attrName>
                                        </p:attrNameLst>
                                      </p:cBhvr>
                                      <p:to>
                                        <p:strVal val="visible"/>
                                      </p:to>
                                    </p:set>
                                    <p:animEffect transition="in" filter="fade">
                                      <p:cBhvr>
                                        <p:cTn id="82" dur="500"/>
                                        <p:tgtEl>
                                          <p:spTgt spid="9"/>
                                        </p:tgtEl>
                                      </p:cBhvr>
                                    </p:animEffect>
                                  </p:childTnLst>
                                </p:cTn>
                              </p:par>
                              <p:par>
                                <p:cTn id="83" presetID="42" presetClass="path" presetSubtype="0" decel="100000" fill="hold" nodeType="withEffect">
                                  <p:stCondLst>
                                    <p:cond delay="300"/>
                                  </p:stCondLst>
                                  <p:childTnLst>
                                    <p:animMotion origin="layout" path="M -4.79167E-6 4.44444E-6 L -4.79167E-6 0.03541 " pathEditMode="relative" rAng="0" ptsTypes="AA">
                                      <p:cBhvr>
                                        <p:cTn id="84" dur="700" spd="-100000" fill="hold"/>
                                        <p:tgtEl>
                                          <p:spTgt spid="9"/>
                                        </p:tgtEl>
                                        <p:attrNameLst>
                                          <p:attrName>ppt_x</p:attrName>
                                          <p:attrName>ppt_y</p:attrName>
                                        </p:attrNameLst>
                                      </p:cBhvr>
                                      <p:rCtr x="0" y="1759"/>
                                    </p:animMotion>
                                  </p:childTnLst>
                                </p:cTn>
                              </p:par>
                              <p:par>
                                <p:cTn id="85" presetID="10" presetClass="entr" presetSubtype="0" fill="hold" nodeType="withEffect">
                                  <p:stCondLst>
                                    <p:cond delay="300"/>
                                  </p:stCondLst>
                                  <p:childTnLst>
                                    <p:set>
                                      <p:cBhvr>
                                        <p:cTn id="86" dur="1" fill="hold">
                                          <p:stCondLst>
                                            <p:cond delay="0"/>
                                          </p:stCondLst>
                                        </p:cTn>
                                        <p:tgtEl>
                                          <p:spTgt spid="12"/>
                                        </p:tgtEl>
                                        <p:attrNameLst>
                                          <p:attrName>style.visibility</p:attrName>
                                        </p:attrNameLst>
                                      </p:cBhvr>
                                      <p:to>
                                        <p:strVal val="visible"/>
                                      </p:to>
                                    </p:set>
                                    <p:animEffect transition="in" filter="fade">
                                      <p:cBhvr>
                                        <p:cTn id="87" dur="500"/>
                                        <p:tgtEl>
                                          <p:spTgt spid="12"/>
                                        </p:tgtEl>
                                      </p:cBhvr>
                                    </p:animEffect>
                                  </p:childTnLst>
                                </p:cTn>
                              </p:par>
                              <p:par>
                                <p:cTn id="88" presetID="42" presetClass="path" presetSubtype="0" decel="100000" fill="hold" nodeType="withEffect">
                                  <p:stCondLst>
                                    <p:cond delay="300"/>
                                  </p:stCondLst>
                                  <p:childTnLst>
                                    <p:animMotion origin="layout" path="M -4.79167E-6 4.44444E-6 L -4.79167E-6 0.03541 " pathEditMode="relative" rAng="0" ptsTypes="AA">
                                      <p:cBhvr>
                                        <p:cTn id="89" dur="700" spd="-100000" fill="hold"/>
                                        <p:tgtEl>
                                          <p:spTgt spid="12"/>
                                        </p:tgtEl>
                                        <p:attrNameLst>
                                          <p:attrName>ppt_x</p:attrName>
                                          <p:attrName>ppt_y</p:attrName>
                                        </p:attrNameLst>
                                      </p:cBhvr>
                                      <p:rCtr x="0" y="1759"/>
                                    </p:animMotion>
                                  </p:childTnLst>
                                </p:cTn>
                              </p:par>
                              <p:par>
                                <p:cTn id="90" presetID="10" presetClass="entr" presetSubtype="0" fill="hold" nodeType="withEffect">
                                  <p:stCondLst>
                                    <p:cond delay="300"/>
                                  </p:stCondLst>
                                  <p:childTnLst>
                                    <p:set>
                                      <p:cBhvr>
                                        <p:cTn id="91" dur="1" fill="hold">
                                          <p:stCondLst>
                                            <p:cond delay="0"/>
                                          </p:stCondLst>
                                        </p:cTn>
                                        <p:tgtEl>
                                          <p:spTgt spid="15"/>
                                        </p:tgtEl>
                                        <p:attrNameLst>
                                          <p:attrName>style.visibility</p:attrName>
                                        </p:attrNameLst>
                                      </p:cBhvr>
                                      <p:to>
                                        <p:strVal val="visible"/>
                                      </p:to>
                                    </p:set>
                                    <p:animEffect transition="in" filter="fade">
                                      <p:cBhvr>
                                        <p:cTn id="92" dur="500"/>
                                        <p:tgtEl>
                                          <p:spTgt spid="15"/>
                                        </p:tgtEl>
                                      </p:cBhvr>
                                    </p:animEffect>
                                  </p:childTnLst>
                                </p:cTn>
                              </p:par>
                              <p:par>
                                <p:cTn id="93" presetID="42" presetClass="path" presetSubtype="0" decel="100000" fill="hold" nodeType="withEffect">
                                  <p:stCondLst>
                                    <p:cond delay="300"/>
                                  </p:stCondLst>
                                  <p:childTnLst>
                                    <p:animMotion origin="layout" path="M -2.5E-6 4.44444E-6 L -2.5E-6 0.03541 " pathEditMode="relative" rAng="0" ptsTypes="AA">
                                      <p:cBhvr>
                                        <p:cTn id="94" dur="700" spd="-100000" fill="hold"/>
                                        <p:tgtEl>
                                          <p:spTgt spid="1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18" grpId="0"/>
      <p:bldP spid="18" grpId="1"/>
      <p:bldP spid="19" grpId="0" animBg="1"/>
      <p:bldP spid="19" grpId="1" animBg="1"/>
      <p:bldP spid="20" grpId="0" animBg="1"/>
      <p:bldP spid="20" grpId="1" animBg="1"/>
      <p:bldP spid="21" grpId="0" animBg="1"/>
      <p:bldP spid="21" grpId="1" animBg="1"/>
      <p:bldP spid="22" grpId="0" animBg="1"/>
      <p:bldP spid="22" grpId="1" animBg="1"/>
      <p:bldP spid="23" grpId="0" animBg="1"/>
      <p:bldP spid="23" grpId="1" animBg="1"/>
      <p:bldP spid="24" grpId="0" animBg="1"/>
      <p:bldP spid="24" grpId="1"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9840DB92-7AB5-21C6-B161-1AF90E4EA267}"/>
              </a:ext>
            </a:extLst>
          </p:cNvPr>
          <p:cNvSpPr>
            <a:spLocks noGrp="1"/>
          </p:cNvSpPr>
          <p:nvPr>
            <p:ph type="title"/>
          </p:nvPr>
        </p:nvSpPr>
        <p:spPr>
          <a:xfrm>
            <a:off x="588263" y="457200"/>
            <a:ext cx="11018520" cy="553998"/>
          </a:xfrm>
        </p:spPr>
        <p:txBody>
          <a:bodyPr/>
          <a:lstStyle/>
          <a:p>
            <a:r>
              <a:rPr lang="en-US"/>
              <a:t>Key drivers to </a:t>
            </a:r>
            <a:r>
              <a:rPr lang="en-US" kern="0" spc="0">
                <a:ln>
                  <a:noFill/>
                </a:ln>
                <a:gradFill>
                  <a:gsLst>
                    <a:gs pos="70000">
                      <a:srgbClr val="8DC8E8"/>
                    </a:gs>
                    <a:gs pos="100000">
                      <a:srgbClr val="D59ED7"/>
                    </a:gs>
                  </a:gsLst>
                  <a:lin ang="0" scaled="1"/>
                </a:gradFill>
                <a:latin typeface="+mn-lt"/>
                <a:cs typeface="+mn-cs"/>
              </a:rPr>
              <a:t>Indus</a:t>
            </a:r>
            <a:r>
              <a:rPr lang="en-US" kern="0" spc="0">
                <a:ln>
                  <a:noFill/>
                </a:ln>
                <a:gradFill>
                  <a:gsLst>
                    <a:gs pos="50000">
                      <a:srgbClr val="8DC8E8"/>
                    </a:gs>
                    <a:gs pos="100000">
                      <a:srgbClr val="D59ED7"/>
                    </a:gs>
                  </a:gsLst>
                  <a:lin ang="0" scaled="1"/>
                </a:gradFill>
                <a:latin typeface="+mn-lt"/>
                <a:cs typeface="+mn-cs"/>
              </a:rPr>
              <a:t>t</a:t>
            </a:r>
            <a:r>
              <a:rPr lang="en-US" kern="0" spc="0">
                <a:ln>
                  <a:noFill/>
                </a:ln>
                <a:gradFill flip="none" rotWithShape="1">
                  <a:gsLst>
                    <a:gs pos="28000">
                      <a:srgbClr val="9BC0E5"/>
                    </a:gs>
                    <a:gs pos="0">
                      <a:srgbClr val="8DC8E8"/>
                    </a:gs>
                    <a:gs pos="100000">
                      <a:srgbClr val="D59ED7"/>
                    </a:gs>
                  </a:gsLst>
                  <a:lin ang="0" scaled="1"/>
                  <a:tileRect/>
                </a:gradFill>
                <a:latin typeface="+mn-lt"/>
                <a:cs typeface="+mn-cs"/>
              </a:rPr>
              <a:t>rialize AI</a:t>
            </a:r>
            <a:endParaRPr lang="en-US"/>
          </a:p>
        </p:txBody>
      </p:sp>
      <p:sp>
        <p:nvSpPr>
          <p:cNvPr id="50" name="Rectangle: Rounded Corners 49">
            <a:extLst>
              <a:ext uri="{FF2B5EF4-FFF2-40B4-BE49-F238E27FC236}">
                <a16:creationId xmlns:a16="http://schemas.microsoft.com/office/drawing/2014/main" id="{3B3FCE4D-4D56-51CE-4EB9-D5F8551EA360}"/>
              </a:ext>
              <a:ext uri="{C183D7F6-B498-43B3-948B-1728B52AA6E4}">
                <adec:decorative xmlns:adec="http://schemas.microsoft.com/office/drawing/2017/decorative" val="1"/>
              </a:ext>
            </a:extLst>
          </p:cNvPr>
          <p:cNvSpPr/>
          <p:nvPr/>
        </p:nvSpPr>
        <p:spPr bwMode="auto">
          <a:xfrm>
            <a:off x="592138" y="3392860"/>
            <a:ext cx="11017250" cy="2957140"/>
          </a:xfrm>
          <a:prstGeom prst="roundRect">
            <a:avLst>
              <a:gd name="adj" fmla="val 3821"/>
            </a:avLst>
          </a:prstGeom>
          <a:solidFill>
            <a:srgbClr val="091F2C"/>
          </a:solidFill>
          <a:ln w="6350">
            <a:gradFill flip="none" rotWithShape="1">
              <a:gsLst>
                <a:gs pos="81000">
                  <a:srgbClr val="535E65"/>
                </a:gs>
                <a:gs pos="61000">
                  <a:srgbClr val="0B2637"/>
                </a:gs>
                <a:gs pos="50000">
                  <a:srgbClr val="091F2C"/>
                </a:gs>
                <a:gs pos="45500">
                  <a:srgbClr val="0A2332"/>
                </a:gs>
                <a:gs pos="22000">
                  <a:srgbClr val="535E65"/>
                </a:gs>
                <a:gs pos="0">
                  <a:schemeClr val="accent6">
                    <a:lumMod val="50000"/>
                  </a:schemeClr>
                </a:gs>
                <a:gs pos="100000">
                  <a:schemeClr val="accent6">
                    <a:lumMod val="50000"/>
                  </a:schemeClr>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endParaRPr kumimoji="0" lang="en-GB" sz="16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51" name="Rectangle: Rounded Corners 50">
            <a:extLst>
              <a:ext uri="{FF2B5EF4-FFF2-40B4-BE49-F238E27FC236}">
                <a16:creationId xmlns:a16="http://schemas.microsoft.com/office/drawing/2014/main" id="{CACD0F97-56D1-D121-465D-6059050FE18E}"/>
              </a:ext>
              <a:ext uri="{C183D7F6-B498-43B3-948B-1728B52AA6E4}">
                <adec:decorative xmlns:adec="http://schemas.microsoft.com/office/drawing/2017/decorative" val="1"/>
              </a:ext>
            </a:extLst>
          </p:cNvPr>
          <p:cNvSpPr/>
          <p:nvPr/>
        </p:nvSpPr>
        <p:spPr bwMode="auto">
          <a:xfrm>
            <a:off x="592138" y="1451558"/>
            <a:ext cx="11017250" cy="1737728"/>
          </a:xfrm>
          <a:prstGeom prst="roundRect">
            <a:avLst>
              <a:gd name="adj" fmla="val 5595"/>
            </a:avLst>
          </a:prstGeom>
          <a:solidFill>
            <a:srgbClr val="091F2C"/>
          </a:solidFill>
          <a:ln w="6350">
            <a:gradFill flip="none" rotWithShape="1">
              <a:gsLst>
                <a:gs pos="81000">
                  <a:srgbClr val="535E65"/>
                </a:gs>
                <a:gs pos="61000">
                  <a:srgbClr val="0B2637"/>
                </a:gs>
                <a:gs pos="50000">
                  <a:srgbClr val="091F2C"/>
                </a:gs>
                <a:gs pos="45500">
                  <a:srgbClr val="0A2332"/>
                </a:gs>
                <a:gs pos="22000">
                  <a:srgbClr val="535E65"/>
                </a:gs>
                <a:gs pos="0">
                  <a:schemeClr val="accent6">
                    <a:lumMod val="50000"/>
                  </a:schemeClr>
                </a:gs>
                <a:gs pos="100000">
                  <a:schemeClr val="accent6">
                    <a:lumMod val="50000"/>
                  </a:schemeClr>
                </a:gs>
              </a:gsLst>
              <a:lin ang="189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ct val="0"/>
              </a:spcAft>
              <a:buClrTx/>
              <a:buSzTx/>
              <a:buFontTx/>
              <a:buNone/>
              <a:tabLst/>
              <a:defRPr/>
            </a:pPr>
            <a:endParaRPr kumimoji="0" lang="en-GB" sz="1600" b="0" i="0" u="none" strike="noStrike" kern="1200" cap="none" spc="0" normalizeH="0" baseline="0" noProof="0">
              <a:ln>
                <a:noFill/>
              </a:ln>
              <a:solidFill>
                <a:srgbClr val="091F2C"/>
              </a:solidFill>
              <a:effectLst/>
              <a:uLnTx/>
              <a:uFillTx/>
              <a:latin typeface="Segoe UI"/>
              <a:ea typeface="+mn-ea"/>
              <a:cs typeface="Segoe UI" pitchFamily="34" charset="0"/>
            </a:endParaRPr>
          </a:p>
        </p:txBody>
      </p:sp>
      <p:sp>
        <p:nvSpPr>
          <p:cNvPr id="52" name="Rectangle: Rounded Corners 51">
            <a:extLst>
              <a:ext uri="{FF2B5EF4-FFF2-40B4-BE49-F238E27FC236}">
                <a16:creationId xmlns:a16="http://schemas.microsoft.com/office/drawing/2014/main" id="{764A0BCB-EAD5-2A03-3799-1D8C270A3A85}"/>
              </a:ext>
            </a:extLst>
          </p:cNvPr>
          <p:cNvSpPr>
            <a:spLocks/>
          </p:cNvSpPr>
          <p:nvPr/>
        </p:nvSpPr>
        <p:spPr bwMode="auto">
          <a:xfrm>
            <a:off x="749129" y="1608549"/>
            <a:ext cx="10703268" cy="466537"/>
          </a:xfrm>
          <a:prstGeom prst="roundRect">
            <a:avLst>
              <a:gd name="adj" fmla="val 15800"/>
            </a:avLst>
          </a:prstGeom>
          <a:solidFill>
            <a:schemeClr val="accent3">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53" name="Text Placeholder 4">
            <a:extLst>
              <a:ext uri="{FF2B5EF4-FFF2-40B4-BE49-F238E27FC236}">
                <a16:creationId xmlns:a16="http://schemas.microsoft.com/office/drawing/2014/main" id="{9AD5136A-B645-60F0-B814-F895C248EAC2}"/>
              </a:ext>
            </a:extLst>
          </p:cNvPr>
          <p:cNvSpPr txBox="1">
            <a:spLocks/>
          </p:cNvSpPr>
          <p:nvPr/>
        </p:nvSpPr>
        <p:spPr>
          <a:xfrm>
            <a:off x="5279198" y="1725647"/>
            <a:ext cx="1625445" cy="246221"/>
          </a:xfrm>
          <a:prstGeom prst="rect">
            <a:avLst/>
          </a:prstGeom>
          <a:noFill/>
          <a:ln w="10795" cap="flat" cmpd="sng" algn="ctr">
            <a:noFill/>
            <a:prstDash val="solid"/>
          </a:ln>
          <a:effectLst/>
        </p:spPr>
        <p:txBody>
          <a:bodyPr wrap="none" lIns="0" tIns="0" rIns="0" bIns="0" rtlCol="0" anchor="ctr">
            <a:spAutoFit/>
          </a:bodyPr>
          <a:lstStyle>
            <a:defPPr>
              <a:defRPr lang="en-US"/>
            </a:defPPr>
            <a:lvl1pPr algn="ctr" defTabSz="914367">
              <a:defRPr sz="1200" kern="0">
                <a:latin typeface="+mj-lt"/>
              </a:defRPr>
            </a:lvl1pPr>
            <a:lvl2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2pPr>
            <a:lvl3pPr marL="0" marR="0" indent="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2"/>
                </a:solidFill>
                <a:latin typeface="+mn-lt"/>
                <a:ea typeface="+mn-ea"/>
                <a:cs typeface="Segoe UI Light" panose="020B0502040204020203" pitchFamily="34" charset="0"/>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Segoe UI Light" panose="020B0502040204020203" pitchFamily="34" charset="0"/>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0">
                      <a:srgbClr val="8DC8E8"/>
                    </a:gs>
                    <a:gs pos="100000">
                      <a:srgbClr val="D59ED7"/>
                    </a:gs>
                  </a:gsLst>
                  <a:lin ang="0" scaled="1"/>
                </a:gradFill>
                <a:effectLst/>
                <a:uLnTx/>
                <a:uFillTx/>
                <a:latin typeface="Segoe UI Semibold"/>
                <a:ea typeface="+mn-ea"/>
                <a:cs typeface="+mn-cs"/>
              </a:rPr>
              <a:t>Business Strategy</a:t>
            </a:r>
          </a:p>
        </p:txBody>
      </p:sp>
      <p:sp>
        <p:nvSpPr>
          <p:cNvPr id="57" name="Rectangle: Rounded Corners 56">
            <a:extLst>
              <a:ext uri="{FF2B5EF4-FFF2-40B4-BE49-F238E27FC236}">
                <a16:creationId xmlns:a16="http://schemas.microsoft.com/office/drawing/2014/main" id="{B70AE54D-114C-BF8F-5877-1256BDB6C18F}"/>
              </a:ext>
            </a:extLst>
          </p:cNvPr>
          <p:cNvSpPr>
            <a:spLocks/>
          </p:cNvSpPr>
          <p:nvPr/>
        </p:nvSpPr>
        <p:spPr bwMode="auto">
          <a:xfrm>
            <a:off x="749129" y="3549850"/>
            <a:ext cx="2575526" cy="689610"/>
          </a:xfrm>
          <a:prstGeom prst="roundRect">
            <a:avLst>
              <a:gd name="adj" fmla="val 10900"/>
            </a:avLst>
          </a:prstGeom>
          <a:solidFill>
            <a:schemeClr val="accent3">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44" name="Text Placeholder 8">
            <a:extLst>
              <a:ext uri="{FF2B5EF4-FFF2-40B4-BE49-F238E27FC236}">
                <a16:creationId xmlns:a16="http://schemas.microsoft.com/office/drawing/2014/main" id="{BB4B167F-3C35-C137-B1BF-2D10B27127C7}"/>
              </a:ext>
            </a:extLst>
          </p:cNvPr>
          <p:cNvSpPr txBox="1">
            <a:spLocks/>
          </p:cNvSpPr>
          <p:nvPr/>
        </p:nvSpPr>
        <p:spPr>
          <a:xfrm>
            <a:off x="886289" y="3648434"/>
            <a:ext cx="1264064" cy="492443"/>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0"/>
              </a:spcBef>
              <a:spcAft>
                <a:spcPts val="0"/>
              </a:spcAft>
              <a:buClrTx/>
              <a:buSzPct val="90000"/>
              <a:buFont typeface="Wingdings" panose="05000000000000000000" pitchFamily="2" charset="2"/>
              <a:buNone/>
              <a:tabLst/>
              <a:defRPr sz="1400" spc="0" baseline="0">
                <a:latin typeface="+mj-lt"/>
                <a:cs typeface="Segoe UI Light" panose="020B0502040204020203" pitchFamily="34" charset="0"/>
              </a:defRPr>
            </a:lvl1pPr>
            <a:lvl2pPr marL="0" marR="0" indent="0" defTabSz="932742" fontAlgn="auto">
              <a:lnSpc>
                <a:spcPct val="100000"/>
              </a:lnSpc>
              <a:spcBef>
                <a:spcPct val="20000"/>
              </a:spcBef>
              <a:spcAft>
                <a:spcPts val="60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cs typeface="Segoe UI Light" panose="020B0502040204020203" pitchFamily="34" charset="0"/>
              </a:defRPr>
            </a:lvl2pPr>
            <a:lvl3pPr marL="0" marR="0" indent="0" defTabSz="932742" fontAlgn="auto">
              <a:lnSpc>
                <a:spcPct val="100000"/>
              </a:lnSpc>
              <a:spcBef>
                <a:spcPct val="20000"/>
              </a:spcBef>
              <a:spcAft>
                <a:spcPts val="60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cs typeface="Segoe UI Light" panose="020B0502040204020203" pitchFamily="34" charset="0"/>
              </a:defRPr>
            </a:lvl3pPr>
            <a:lvl4pPr marL="0" marR="0" indent="0" defTabSz="932742" fontAlgn="auto">
              <a:lnSpc>
                <a:spcPct val="100000"/>
              </a:lnSpc>
              <a:spcBef>
                <a:spcPts val="600"/>
              </a:spcBef>
              <a:spcAft>
                <a:spcPts val="600"/>
              </a:spcAft>
              <a:buClrTx/>
              <a:buSzPct val="90000"/>
              <a:buFont typeface="Wingdings" panose="05000000000000000000" pitchFamily="2" charset="2"/>
              <a:buNone/>
              <a:tabLst/>
              <a:defRPr sz="1400" cap="all" spc="100" baseline="0">
                <a:solidFill>
                  <a:schemeClr val="accent2"/>
                </a:solidFill>
                <a:cs typeface="Segoe UI Light" panose="020B0502040204020203" pitchFamily="34" charset="0"/>
              </a:defRPr>
            </a:lvl4pPr>
            <a:lvl5pPr marL="0" marR="0" indent="0" defTabSz="932742" fontAlgn="auto">
              <a:lnSpc>
                <a:spcPct val="100000"/>
              </a:lnSpc>
              <a:spcBef>
                <a:spcPts val="0"/>
              </a:spcBef>
              <a:spcAft>
                <a:spcPts val="60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cs typeface="Segoe UI Light" panose="020B0502040204020203" pitchFamily="34" charset="0"/>
              </a:defRPr>
            </a:lvl5pPr>
            <a:lvl6pPr marL="0" indent="0" defTabSz="932742">
              <a:spcBef>
                <a:spcPts val="0"/>
              </a:spcBef>
              <a:spcAft>
                <a:spcPts val="600"/>
              </a:spcAft>
              <a:buFont typeface="Arial" pitchFamily="34" charset="0"/>
              <a:buNone/>
              <a:defRPr sz="1400" b="1">
                <a:cs typeface="Segoe UI Light" panose="020B0502040204020203" pitchFamily="34" charset="0"/>
              </a:defRPr>
            </a:lvl6pPr>
            <a:lvl7pPr marL="0" indent="0" defTabSz="932742">
              <a:spcBef>
                <a:spcPts val="0"/>
              </a:spcBef>
              <a:spcAft>
                <a:spcPts val="600"/>
              </a:spcAft>
              <a:buFont typeface="Arial" pitchFamily="34" charset="0"/>
              <a:buNone/>
              <a:defRPr sz="1400">
                <a:solidFill>
                  <a:schemeClr val="accent2"/>
                </a:solidFill>
                <a:cs typeface="Segoe UI Light" panose="020B0502040204020203" pitchFamily="34" charset="0"/>
              </a:defRPr>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0">
                      <a:srgbClr val="8DC8E8"/>
                    </a:gs>
                    <a:gs pos="100000">
                      <a:srgbClr val="D59ED7"/>
                    </a:gs>
                  </a:gsLst>
                  <a:lin ang="0" scaled="1"/>
                </a:gradFill>
                <a:effectLst/>
                <a:uLnTx/>
                <a:uFillTx/>
                <a:latin typeface="Segoe UI Semibold"/>
                <a:ea typeface="+mn-ea"/>
                <a:cs typeface="Segoe UI Light" panose="020B0502040204020203" pitchFamily="34" charset="0"/>
              </a:rPr>
              <a:t>Data Strategy</a:t>
            </a:r>
            <a:br>
              <a:rPr kumimoji="0" lang="en-US" sz="1600" b="0" i="0" u="none" strike="noStrike" kern="1200" cap="none" spc="0" normalizeH="0" baseline="0" noProof="0">
                <a:ln>
                  <a:noFill/>
                </a:ln>
                <a:gradFill>
                  <a:gsLst>
                    <a:gs pos="0">
                      <a:srgbClr val="8DC8E8"/>
                    </a:gs>
                    <a:gs pos="100000">
                      <a:srgbClr val="D59ED7"/>
                    </a:gs>
                  </a:gsLst>
                  <a:lin ang="0" scaled="1"/>
                </a:gradFill>
                <a:effectLst/>
                <a:uLnTx/>
                <a:uFillTx/>
                <a:latin typeface="Segoe UI Semibold"/>
                <a:ea typeface="+mn-ea"/>
                <a:cs typeface="Segoe UI Light" panose="020B0502040204020203" pitchFamily="34" charset="0"/>
              </a:rPr>
            </a:br>
            <a:r>
              <a:rPr kumimoji="0" lang="en-US" sz="1600" b="0" i="0" u="none" strike="noStrike" kern="1200" cap="none" spc="0" normalizeH="0" baseline="0" noProof="0">
                <a:ln>
                  <a:noFill/>
                </a:ln>
                <a:gradFill>
                  <a:gsLst>
                    <a:gs pos="0">
                      <a:srgbClr val="8DC8E8"/>
                    </a:gs>
                    <a:gs pos="100000">
                      <a:srgbClr val="D59ED7"/>
                    </a:gs>
                  </a:gsLst>
                  <a:lin ang="0" scaled="1"/>
                </a:gradFill>
                <a:effectLst/>
                <a:uLnTx/>
                <a:uFillTx/>
                <a:latin typeface="Segoe UI Semibold"/>
                <a:ea typeface="+mn-ea"/>
                <a:cs typeface="Segoe UI Light" panose="020B0502040204020203" pitchFamily="34" charset="0"/>
              </a:rPr>
              <a:t>&amp; Platform</a:t>
            </a:r>
          </a:p>
        </p:txBody>
      </p:sp>
      <p:sp>
        <p:nvSpPr>
          <p:cNvPr id="59" name="Rectangle: Rounded Corners 58">
            <a:extLst>
              <a:ext uri="{FF2B5EF4-FFF2-40B4-BE49-F238E27FC236}">
                <a16:creationId xmlns:a16="http://schemas.microsoft.com/office/drawing/2014/main" id="{05330537-92FD-FC5C-C85A-943E88DB0655}"/>
              </a:ext>
            </a:extLst>
          </p:cNvPr>
          <p:cNvSpPr>
            <a:spLocks/>
          </p:cNvSpPr>
          <p:nvPr/>
        </p:nvSpPr>
        <p:spPr bwMode="auto">
          <a:xfrm>
            <a:off x="3499897" y="3549850"/>
            <a:ext cx="2575526" cy="689610"/>
          </a:xfrm>
          <a:prstGeom prst="roundRect">
            <a:avLst>
              <a:gd name="adj" fmla="val 10900"/>
            </a:avLst>
          </a:prstGeom>
          <a:solidFill>
            <a:schemeClr val="accent3">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42" name="Text Placeholder 8">
            <a:extLst>
              <a:ext uri="{FF2B5EF4-FFF2-40B4-BE49-F238E27FC236}">
                <a16:creationId xmlns:a16="http://schemas.microsoft.com/office/drawing/2014/main" id="{04987530-6F44-5A7C-26E9-BAE27054D0CE}"/>
              </a:ext>
            </a:extLst>
          </p:cNvPr>
          <p:cNvSpPr txBox="1">
            <a:spLocks/>
          </p:cNvSpPr>
          <p:nvPr/>
        </p:nvSpPr>
        <p:spPr>
          <a:xfrm>
            <a:off x="3637057" y="3648434"/>
            <a:ext cx="1025217" cy="492443"/>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0"/>
              </a:spcBef>
              <a:spcAft>
                <a:spcPts val="0"/>
              </a:spcAft>
              <a:buClrTx/>
              <a:buSzPct val="90000"/>
              <a:buFont typeface="Wingdings" panose="05000000000000000000" pitchFamily="2" charset="2"/>
              <a:buNone/>
              <a:tabLst/>
              <a:defRPr sz="1400" spc="0" baseline="0">
                <a:latin typeface="+mj-lt"/>
                <a:cs typeface="Segoe UI Light" panose="020B0502040204020203" pitchFamily="34" charset="0"/>
              </a:defRPr>
            </a:lvl1pPr>
            <a:lvl2pPr marL="0" marR="0" indent="0" defTabSz="932742" fontAlgn="auto">
              <a:lnSpc>
                <a:spcPct val="100000"/>
              </a:lnSpc>
              <a:spcBef>
                <a:spcPct val="20000"/>
              </a:spcBef>
              <a:spcAft>
                <a:spcPts val="60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cs typeface="Segoe UI Light" panose="020B0502040204020203" pitchFamily="34" charset="0"/>
              </a:defRPr>
            </a:lvl2pPr>
            <a:lvl3pPr marL="0" marR="0" indent="0" defTabSz="932742" fontAlgn="auto">
              <a:lnSpc>
                <a:spcPct val="100000"/>
              </a:lnSpc>
              <a:spcBef>
                <a:spcPct val="20000"/>
              </a:spcBef>
              <a:spcAft>
                <a:spcPts val="60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cs typeface="Segoe UI Light" panose="020B0502040204020203" pitchFamily="34" charset="0"/>
              </a:defRPr>
            </a:lvl3pPr>
            <a:lvl4pPr marL="0" marR="0" indent="0" defTabSz="932742" fontAlgn="auto">
              <a:lnSpc>
                <a:spcPct val="100000"/>
              </a:lnSpc>
              <a:spcBef>
                <a:spcPts val="600"/>
              </a:spcBef>
              <a:spcAft>
                <a:spcPts val="600"/>
              </a:spcAft>
              <a:buClrTx/>
              <a:buSzPct val="90000"/>
              <a:buFont typeface="Wingdings" panose="05000000000000000000" pitchFamily="2" charset="2"/>
              <a:buNone/>
              <a:tabLst/>
              <a:defRPr sz="1400" cap="all" spc="100" baseline="0">
                <a:solidFill>
                  <a:schemeClr val="accent2"/>
                </a:solidFill>
                <a:cs typeface="Segoe UI Light" panose="020B0502040204020203" pitchFamily="34" charset="0"/>
              </a:defRPr>
            </a:lvl4pPr>
            <a:lvl5pPr marL="0" marR="0" indent="0" defTabSz="932742" fontAlgn="auto">
              <a:lnSpc>
                <a:spcPct val="100000"/>
              </a:lnSpc>
              <a:spcBef>
                <a:spcPts val="0"/>
              </a:spcBef>
              <a:spcAft>
                <a:spcPts val="60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cs typeface="Segoe UI Light" panose="020B0502040204020203" pitchFamily="34" charset="0"/>
              </a:defRPr>
            </a:lvl5pPr>
            <a:lvl6pPr marL="0" indent="0" defTabSz="932742">
              <a:spcBef>
                <a:spcPts val="0"/>
              </a:spcBef>
              <a:spcAft>
                <a:spcPts val="600"/>
              </a:spcAft>
              <a:buFont typeface="Arial" pitchFamily="34" charset="0"/>
              <a:buNone/>
              <a:defRPr sz="1400" b="1">
                <a:cs typeface="Segoe UI Light" panose="020B0502040204020203" pitchFamily="34" charset="0"/>
              </a:defRPr>
            </a:lvl6pPr>
            <a:lvl7pPr marL="0" indent="0" defTabSz="932742">
              <a:spcBef>
                <a:spcPts val="0"/>
              </a:spcBef>
              <a:spcAft>
                <a:spcPts val="600"/>
              </a:spcAft>
              <a:buFont typeface="Arial" pitchFamily="34" charset="0"/>
              <a:buNone/>
              <a:defRPr sz="1400">
                <a:solidFill>
                  <a:schemeClr val="accent2"/>
                </a:solidFill>
                <a:cs typeface="Segoe UI Light" panose="020B0502040204020203" pitchFamily="34" charset="0"/>
              </a:defRPr>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0">
                      <a:srgbClr val="8DC8E8"/>
                    </a:gs>
                    <a:gs pos="100000">
                      <a:srgbClr val="D59ED7"/>
                    </a:gs>
                  </a:gsLst>
                  <a:lin ang="0" scaled="1"/>
                </a:gradFill>
                <a:effectLst/>
                <a:uLnTx/>
                <a:uFillTx/>
                <a:latin typeface="Segoe UI Semibold"/>
                <a:ea typeface="+mn-ea"/>
                <a:cs typeface="Segoe UI Light" panose="020B0502040204020203" pitchFamily="34" charset="0"/>
              </a:rPr>
              <a:t>AI Strategy</a:t>
            </a:r>
            <a:br>
              <a:rPr kumimoji="0" lang="en-US" sz="1600" b="0" i="0" u="none" strike="noStrike" kern="1200" cap="none" spc="0" normalizeH="0" baseline="0" noProof="0">
                <a:ln>
                  <a:noFill/>
                </a:ln>
                <a:gradFill>
                  <a:gsLst>
                    <a:gs pos="0">
                      <a:srgbClr val="8DC8E8"/>
                    </a:gs>
                    <a:gs pos="100000">
                      <a:srgbClr val="D59ED7"/>
                    </a:gs>
                  </a:gsLst>
                  <a:lin ang="0" scaled="1"/>
                </a:gradFill>
                <a:effectLst/>
                <a:uLnTx/>
                <a:uFillTx/>
                <a:latin typeface="Segoe UI Semibold"/>
                <a:ea typeface="+mn-ea"/>
                <a:cs typeface="Segoe UI Light" panose="020B0502040204020203" pitchFamily="34" charset="0"/>
              </a:rPr>
            </a:br>
            <a:r>
              <a:rPr kumimoji="0" lang="en-US" sz="1600" b="0" i="0" u="none" strike="noStrike" kern="1200" cap="none" spc="0" normalizeH="0" baseline="0" noProof="0">
                <a:ln>
                  <a:noFill/>
                </a:ln>
                <a:gradFill>
                  <a:gsLst>
                    <a:gs pos="0">
                      <a:srgbClr val="8DC8E8"/>
                    </a:gs>
                    <a:gs pos="100000">
                      <a:srgbClr val="D59ED7"/>
                    </a:gs>
                  </a:gsLst>
                  <a:lin ang="0" scaled="1"/>
                </a:gradFill>
                <a:effectLst/>
                <a:uLnTx/>
                <a:uFillTx/>
                <a:latin typeface="Segoe UI Semibold"/>
                <a:ea typeface="+mn-ea"/>
                <a:cs typeface="Segoe UI Light" panose="020B0502040204020203" pitchFamily="34" charset="0"/>
              </a:rPr>
              <a:t>&amp; Platform</a:t>
            </a:r>
          </a:p>
        </p:txBody>
      </p:sp>
      <p:sp>
        <p:nvSpPr>
          <p:cNvPr id="61" name="Rectangle: Rounded Corners 60">
            <a:extLst>
              <a:ext uri="{FF2B5EF4-FFF2-40B4-BE49-F238E27FC236}">
                <a16:creationId xmlns:a16="http://schemas.microsoft.com/office/drawing/2014/main" id="{FA79FBC9-705C-5F59-B302-DEFB7BE3B71F}"/>
              </a:ext>
            </a:extLst>
          </p:cNvPr>
          <p:cNvSpPr>
            <a:spLocks/>
          </p:cNvSpPr>
          <p:nvPr/>
        </p:nvSpPr>
        <p:spPr bwMode="auto">
          <a:xfrm>
            <a:off x="6250665" y="3549850"/>
            <a:ext cx="2575526" cy="689610"/>
          </a:xfrm>
          <a:prstGeom prst="roundRect">
            <a:avLst>
              <a:gd name="adj" fmla="val 10900"/>
            </a:avLst>
          </a:prstGeom>
          <a:solidFill>
            <a:schemeClr val="accent3">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40" name="Text Placeholder 8">
            <a:extLst>
              <a:ext uri="{FF2B5EF4-FFF2-40B4-BE49-F238E27FC236}">
                <a16:creationId xmlns:a16="http://schemas.microsoft.com/office/drawing/2014/main" id="{9734083A-FBB0-97E9-BF98-4B01CAA63D70}"/>
              </a:ext>
            </a:extLst>
          </p:cNvPr>
          <p:cNvSpPr txBox="1">
            <a:spLocks/>
          </p:cNvSpPr>
          <p:nvPr/>
        </p:nvSpPr>
        <p:spPr>
          <a:xfrm>
            <a:off x="6393539" y="3648434"/>
            <a:ext cx="1104470" cy="492443"/>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0"/>
              </a:spcBef>
              <a:spcAft>
                <a:spcPts val="0"/>
              </a:spcAft>
              <a:buClrTx/>
              <a:buSzPct val="90000"/>
              <a:buFont typeface="Wingdings" panose="05000000000000000000" pitchFamily="2" charset="2"/>
              <a:buNone/>
              <a:tabLst/>
              <a:defRPr sz="1400" spc="0" baseline="0">
                <a:latin typeface="+mj-lt"/>
                <a:cs typeface="Segoe UI Light" panose="020B0502040204020203" pitchFamily="34" charset="0"/>
              </a:defRPr>
            </a:lvl1pPr>
            <a:lvl2pPr marL="0" marR="0" indent="0" defTabSz="932742" fontAlgn="auto">
              <a:lnSpc>
                <a:spcPct val="100000"/>
              </a:lnSpc>
              <a:spcBef>
                <a:spcPct val="20000"/>
              </a:spcBef>
              <a:spcAft>
                <a:spcPts val="60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cs typeface="Segoe UI Light" panose="020B0502040204020203" pitchFamily="34" charset="0"/>
              </a:defRPr>
            </a:lvl2pPr>
            <a:lvl3pPr marL="0" marR="0" indent="0" defTabSz="932742" fontAlgn="auto">
              <a:lnSpc>
                <a:spcPct val="100000"/>
              </a:lnSpc>
              <a:spcBef>
                <a:spcPct val="20000"/>
              </a:spcBef>
              <a:spcAft>
                <a:spcPts val="60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cs typeface="Segoe UI Light" panose="020B0502040204020203" pitchFamily="34" charset="0"/>
              </a:defRPr>
            </a:lvl3pPr>
            <a:lvl4pPr marL="0" marR="0" indent="0" defTabSz="932742" fontAlgn="auto">
              <a:lnSpc>
                <a:spcPct val="100000"/>
              </a:lnSpc>
              <a:spcBef>
                <a:spcPts val="600"/>
              </a:spcBef>
              <a:spcAft>
                <a:spcPts val="600"/>
              </a:spcAft>
              <a:buClrTx/>
              <a:buSzPct val="90000"/>
              <a:buFont typeface="Wingdings" panose="05000000000000000000" pitchFamily="2" charset="2"/>
              <a:buNone/>
              <a:tabLst/>
              <a:defRPr sz="1400" cap="all" spc="100" baseline="0">
                <a:solidFill>
                  <a:schemeClr val="accent2"/>
                </a:solidFill>
                <a:cs typeface="Segoe UI Light" panose="020B0502040204020203" pitchFamily="34" charset="0"/>
              </a:defRPr>
            </a:lvl4pPr>
            <a:lvl5pPr marL="0" marR="0" indent="0" defTabSz="932742" fontAlgn="auto">
              <a:lnSpc>
                <a:spcPct val="100000"/>
              </a:lnSpc>
              <a:spcBef>
                <a:spcPts val="0"/>
              </a:spcBef>
              <a:spcAft>
                <a:spcPts val="60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cs typeface="Segoe UI Light" panose="020B0502040204020203" pitchFamily="34" charset="0"/>
              </a:defRPr>
            </a:lvl5pPr>
            <a:lvl6pPr marL="0" indent="0" defTabSz="932742">
              <a:spcBef>
                <a:spcPts val="0"/>
              </a:spcBef>
              <a:spcAft>
                <a:spcPts val="600"/>
              </a:spcAft>
              <a:buFont typeface="Arial" pitchFamily="34" charset="0"/>
              <a:buNone/>
              <a:defRPr sz="1400" b="1">
                <a:cs typeface="Segoe UI Light" panose="020B0502040204020203" pitchFamily="34" charset="0"/>
              </a:defRPr>
            </a:lvl6pPr>
            <a:lvl7pPr marL="0" indent="0" defTabSz="932742">
              <a:spcBef>
                <a:spcPts val="0"/>
              </a:spcBef>
              <a:spcAft>
                <a:spcPts val="600"/>
              </a:spcAft>
              <a:buFont typeface="Arial" pitchFamily="34" charset="0"/>
              <a:buNone/>
              <a:defRPr sz="1400">
                <a:solidFill>
                  <a:schemeClr val="accent2"/>
                </a:solidFill>
                <a:cs typeface="Segoe UI Light" panose="020B0502040204020203" pitchFamily="34" charset="0"/>
              </a:defRPr>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0">
                      <a:srgbClr val="8DC8E8"/>
                    </a:gs>
                    <a:gs pos="100000">
                      <a:srgbClr val="D59ED7"/>
                    </a:gs>
                  </a:gsLst>
                  <a:lin ang="0" scaled="1"/>
                </a:gradFill>
                <a:effectLst/>
                <a:uLnTx/>
                <a:uFillTx/>
                <a:latin typeface="Segoe UI Semibold"/>
                <a:ea typeface="+mn-ea"/>
                <a:cs typeface="Segoe UI Light" panose="020B0502040204020203" pitchFamily="34" charset="0"/>
              </a:rPr>
              <a:t>Operational</a:t>
            </a:r>
            <a:br>
              <a:rPr kumimoji="0" lang="en-US" sz="1600" b="0" i="0" u="none" strike="noStrike" kern="1200" cap="none" spc="0" normalizeH="0" baseline="0" noProof="0">
                <a:ln>
                  <a:noFill/>
                </a:ln>
                <a:gradFill>
                  <a:gsLst>
                    <a:gs pos="0">
                      <a:srgbClr val="8DC8E8"/>
                    </a:gs>
                    <a:gs pos="100000">
                      <a:srgbClr val="D59ED7"/>
                    </a:gs>
                  </a:gsLst>
                  <a:lin ang="0" scaled="1"/>
                </a:gradFill>
                <a:effectLst/>
                <a:uLnTx/>
                <a:uFillTx/>
                <a:latin typeface="Segoe UI Semibold"/>
                <a:ea typeface="+mn-ea"/>
                <a:cs typeface="Segoe UI Light" panose="020B0502040204020203" pitchFamily="34" charset="0"/>
              </a:rPr>
            </a:br>
            <a:r>
              <a:rPr kumimoji="0" lang="en-US" sz="1600" b="0" i="0" u="none" strike="noStrike" kern="1200" cap="none" spc="0" normalizeH="0" baseline="0" noProof="0">
                <a:ln>
                  <a:noFill/>
                </a:ln>
                <a:gradFill>
                  <a:gsLst>
                    <a:gs pos="0">
                      <a:srgbClr val="8DC8E8"/>
                    </a:gs>
                    <a:gs pos="100000">
                      <a:srgbClr val="D59ED7"/>
                    </a:gs>
                  </a:gsLst>
                  <a:lin ang="0" scaled="1"/>
                </a:gradFill>
                <a:effectLst/>
                <a:uLnTx/>
                <a:uFillTx/>
                <a:latin typeface="Segoe UI Semibold"/>
                <a:ea typeface="+mn-ea"/>
                <a:cs typeface="Segoe UI Light" panose="020B0502040204020203" pitchFamily="34" charset="0"/>
              </a:rPr>
              <a:t>Governance</a:t>
            </a:r>
          </a:p>
        </p:txBody>
      </p:sp>
      <p:sp>
        <p:nvSpPr>
          <p:cNvPr id="63" name="Rectangle: Rounded Corners 62">
            <a:extLst>
              <a:ext uri="{FF2B5EF4-FFF2-40B4-BE49-F238E27FC236}">
                <a16:creationId xmlns:a16="http://schemas.microsoft.com/office/drawing/2014/main" id="{79DF2C2A-F363-B5A3-36C5-E3465E0CFC9B}"/>
              </a:ext>
            </a:extLst>
          </p:cNvPr>
          <p:cNvSpPr>
            <a:spLocks/>
          </p:cNvSpPr>
          <p:nvPr/>
        </p:nvSpPr>
        <p:spPr bwMode="auto">
          <a:xfrm>
            <a:off x="9001432" y="3549850"/>
            <a:ext cx="2450965" cy="689610"/>
          </a:xfrm>
          <a:prstGeom prst="roundRect">
            <a:avLst>
              <a:gd name="adj" fmla="val 10900"/>
            </a:avLst>
          </a:prstGeom>
          <a:solidFill>
            <a:schemeClr val="accent3">
              <a:alpha val="1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36" name="Text Placeholder 8">
            <a:extLst>
              <a:ext uri="{FF2B5EF4-FFF2-40B4-BE49-F238E27FC236}">
                <a16:creationId xmlns:a16="http://schemas.microsoft.com/office/drawing/2014/main" id="{D3461790-147B-8828-17EA-FD6942099DFA}"/>
              </a:ext>
            </a:extLst>
          </p:cNvPr>
          <p:cNvSpPr txBox="1">
            <a:spLocks/>
          </p:cNvSpPr>
          <p:nvPr/>
        </p:nvSpPr>
        <p:spPr>
          <a:xfrm>
            <a:off x="9138592" y="3648434"/>
            <a:ext cx="1363963" cy="492443"/>
          </a:xfrm>
          <a:prstGeom prst="rect">
            <a:avLst/>
          </a:prstGeom>
        </p:spPr>
        <p:txBody>
          <a:bodyPr vert="horz" wrap="none" lIns="0" tIns="0" rIns="0" bIns="0" rtlCol="0" anchor="ctr">
            <a:spAutoFit/>
          </a:bodyPr>
          <a:lstStyle>
            <a:defPPr>
              <a:defRPr lang="en-US"/>
            </a:defPPr>
            <a:lvl1pPr marR="0" indent="0" defTabSz="932742" fontAlgn="auto">
              <a:lnSpc>
                <a:spcPct val="100000"/>
              </a:lnSpc>
              <a:spcBef>
                <a:spcPts val="0"/>
              </a:spcBef>
              <a:spcAft>
                <a:spcPts val="0"/>
              </a:spcAft>
              <a:buClrTx/>
              <a:buSzPct val="90000"/>
              <a:buFont typeface="Wingdings" panose="05000000000000000000" pitchFamily="2" charset="2"/>
              <a:buNone/>
              <a:tabLst/>
              <a:defRPr sz="1400" spc="0" baseline="0">
                <a:latin typeface="+mj-lt"/>
                <a:cs typeface="Segoe UI Light" panose="020B0502040204020203" pitchFamily="34" charset="0"/>
              </a:defRPr>
            </a:lvl1pPr>
            <a:lvl2pPr marL="0" marR="0" indent="0" defTabSz="932742" fontAlgn="auto">
              <a:lnSpc>
                <a:spcPct val="100000"/>
              </a:lnSpc>
              <a:spcBef>
                <a:spcPct val="20000"/>
              </a:spcBef>
              <a:spcAft>
                <a:spcPts val="60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cs typeface="Segoe UI Light" panose="020B0502040204020203" pitchFamily="34" charset="0"/>
              </a:defRPr>
            </a:lvl2pPr>
            <a:lvl3pPr marL="0" marR="0" indent="0" defTabSz="932742" fontAlgn="auto">
              <a:lnSpc>
                <a:spcPct val="100000"/>
              </a:lnSpc>
              <a:spcBef>
                <a:spcPct val="20000"/>
              </a:spcBef>
              <a:spcAft>
                <a:spcPts val="60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cs typeface="Segoe UI Light" panose="020B0502040204020203" pitchFamily="34" charset="0"/>
              </a:defRPr>
            </a:lvl3pPr>
            <a:lvl4pPr marL="0" marR="0" indent="0" defTabSz="932742" fontAlgn="auto">
              <a:lnSpc>
                <a:spcPct val="100000"/>
              </a:lnSpc>
              <a:spcBef>
                <a:spcPts val="600"/>
              </a:spcBef>
              <a:spcAft>
                <a:spcPts val="600"/>
              </a:spcAft>
              <a:buClrTx/>
              <a:buSzPct val="90000"/>
              <a:buFont typeface="Wingdings" panose="05000000000000000000" pitchFamily="2" charset="2"/>
              <a:buNone/>
              <a:tabLst/>
              <a:defRPr sz="1400" cap="all" spc="100" baseline="0">
                <a:solidFill>
                  <a:schemeClr val="accent2"/>
                </a:solidFill>
                <a:cs typeface="Segoe UI Light" panose="020B0502040204020203" pitchFamily="34" charset="0"/>
              </a:defRPr>
            </a:lvl4pPr>
            <a:lvl5pPr marL="0" marR="0" indent="0" defTabSz="932742" fontAlgn="auto">
              <a:lnSpc>
                <a:spcPct val="100000"/>
              </a:lnSpc>
              <a:spcBef>
                <a:spcPts val="0"/>
              </a:spcBef>
              <a:spcAft>
                <a:spcPts val="60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cs typeface="Segoe UI Light" panose="020B0502040204020203" pitchFamily="34" charset="0"/>
              </a:defRPr>
            </a:lvl5pPr>
            <a:lvl6pPr marL="0" indent="0" defTabSz="932742">
              <a:spcBef>
                <a:spcPts val="0"/>
              </a:spcBef>
              <a:spcAft>
                <a:spcPts val="600"/>
              </a:spcAft>
              <a:buFont typeface="Arial" pitchFamily="34" charset="0"/>
              <a:buNone/>
              <a:defRPr sz="1400" b="1">
                <a:cs typeface="Segoe UI Light" panose="020B0502040204020203" pitchFamily="34" charset="0"/>
              </a:defRPr>
            </a:lvl6pPr>
            <a:lvl7pPr marL="0" indent="0" defTabSz="932742">
              <a:spcBef>
                <a:spcPts val="0"/>
              </a:spcBef>
              <a:spcAft>
                <a:spcPts val="600"/>
              </a:spcAft>
              <a:buFont typeface="Arial" pitchFamily="34" charset="0"/>
              <a:buNone/>
              <a:defRPr sz="1400">
                <a:solidFill>
                  <a:schemeClr val="accent2"/>
                </a:solidFill>
                <a:cs typeface="Segoe UI Light" panose="020B0502040204020203" pitchFamily="34" charset="0"/>
              </a:defRPr>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gradFill>
                  <a:gsLst>
                    <a:gs pos="0">
                      <a:srgbClr val="8DC8E8"/>
                    </a:gs>
                    <a:gs pos="100000">
                      <a:srgbClr val="D59ED7"/>
                    </a:gs>
                  </a:gsLst>
                  <a:lin ang="0" scaled="1"/>
                </a:gradFill>
                <a:effectLst/>
                <a:uLnTx/>
                <a:uFillTx/>
                <a:latin typeface="Segoe UI Semibold"/>
                <a:ea typeface="+mn-ea"/>
                <a:cs typeface="Segoe UI Light" panose="020B0502040204020203" pitchFamily="34" charset="0"/>
              </a:rPr>
              <a:t>Organizational</a:t>
            </a:r>
            <a:br>
              <a:rPr kumimoji="0" lang="en-US" sz="1600" b="0" i="0" u="none" strike="noStrike" kern="1200" cap="none" spc="0" normalizeH="0" baseline="0" noProof="0">
                <a:ln>
                  <a:noFill/>
                </a:ln>
                <a:gradFill>
                  <a:gsLst>
                    <a:gs pos="0">
                      <a:srgbClr val="8DC8E8"/>
                    </a:gs>
                    <a:gs pos="100000">
                      <a:srgbClr val="D59ED7"/>
                    </a:gs>
                  </a:gsLst>
                  <a:lin ang="0" scaled="1"/>
                </a:gradFill>
                <a:effectLst/>
                <a:uLnTx/>
                <a:uFillTx/>
                <a:latin typeface="Segoe UI Semibold"/>
                <a:ea typeface="+mn-ea"/>
                <a:cs typeface="Segoe UI Light" panose="020B0502040204020203" pitchFamily="34" charset="0"/>
              </a:rPr>
            </a:br>
            <a:r>
              <a:rPr kumimoji="0" lang="en-US" sz="1600" b="0" i="0" u="none" strike="noStrike" kern="1200" cap="none" spc="0" normalizeH="0" baseline="0" noProof="0">
                <a:ln>
                  <a:noFill/>
                </a:ln>
                <a:gradFill>
                  <a:gsLst>
                    <a:gs pos="0">
                      <a:srgbClr val="8DC8E8"/>
                    </a:gs>
                    <a:gs pos="100000">
                      <a:srgbClr val="D59ED7"/>
                    </a:gs>
                  </a:gsLst>
                  <a:lin ang="0" scaled="1"/>
                </a:gradFill>
                <a:effectLst/>
                <a:uLnTx/>
                <a:uFillTx/>
                <a:latin typeface="Segoe UI Semibold"/>
                <a:ea typeface="+mn-ea"/>
                <a:cs typeface="Segoe UI Light" panose="020B0502040204020203" pitchFamily="34" charset="0"/>
              </a:rPr>
              <a:t>Enablement</a:t>
            </a:r>
          </a:p>
        </p:txBody>
      </p:sp>
      <p:cxnSp>
        <p:nvCxnSpPr>
          <p:cNvPr id="65" name="Straight Connector 64">
            <a:extLst>
              <a:ext uri="{FF2B5EF4-FFF2-40B4-BE49-F238E27FC236}">
                <a16:creationId xmlns:a16="http://schemas.microsoft.com/office/drawing/2014/main" id="{F4FFBB88-56D4-C1E1-DB1F-47A190A61875}"/>
              </a:ext>
            </a:extLst>
          </p:cNvPr>
          <p:cNvCxnSpPr>
            <a:cxnSpLocks/>
          </p:cNvCxnSpPr>
          <p:nvPr/>
        </p:nvCxnSpPr>
        <p:spPr>
          <a:xfrm>
            <a:off x="8913812" y="4396451"/>
            <a:ext cx="0" cy="1292662"/>
          </a:xfrm>
          <a:prstGeom prst="line">
            <a:avLst/>
          </a:prstGeom>
          <a:ln>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5400000" scaled="1"/>
              <a:tileRect/>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F7D843E-ED4C-35EA-541B-EB5C2229C014}"/>
              </a:ext>
            </a:extLst>
          </p:cNvPr>
          <p:cNvCxnSpPr>
            <a:cxnSpLocks/>
          </p:cNvCxnSpPr>
          <p:nvPr/>
        </p:nvCxnSpPr>
        <p:spPr>
          <a:xfrm>
            <a:off x="6163044" y="4396451"/>
            <a:ext cx="0" cy="1292662"/>
          </a:xfrm>
          <a:prstGeom prst="line">
            <a:avLst/>
          </a:prstGeom>
          <a:ln>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5400000" scaled="1"/>
              <a:tileRect/>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AA10A80-98B0-F3C3-92DE-7F1BCF47CF53}"/>
              </a:ext>
            </a:extLst>
          </p:cNvPr>
          <p:cNvCxnSpPr>
            <a:cxnSpLocks/>
          </p:cNvCxnSpPr>
          <p:nvPr/>
        </p:nvCxnSpPr>
        <p:spPr>
          <a:xfrm>
            <a:off x="3412276" y="4396451"/>
            <a:ext cx="0" cy="1292662"/>
          </a:xfrm>
          <a:prstGeom prst="line">
            <a:avLst/>
          </a:prstGeom>
          <a:ln>
            <a:gradFill flip="none" rotWithShape="1">
              <a:gsLst>
                <a:gs pos="27000">
                  <a:srgbClr val="B1B3E0">
                    <a:alpha val="60000"/>
                  </a:srgbClr>
                </a:gs>
                <a:gs pos="0">
                  <a:srgbClr val="8DC8E8">
                    <a:alpha val="30000"/>
                  </a:srgbClr>
                </a:gs>
                <a:gs pos="77000">
                  <a:srgbClr val="B1B3E0">
                    <a:alpha val="60000"/>
                  </a:srgbClr>
                </a:gs>
                <a:gs pos="54000">
                  <a:srgbClr val="D59ED7">
                    <a:alpha val="80000"/>
                  </a:srgbClr>
                </a:gs>
                <a:gs pos="100000">
                  <a:srgbClr val="8DC8E8">
                    <a:alpha val="30000"/>
                  </a:srgbClr>
                </a:gs>
              </a:gsLst>
              <a:lin ang="5400000" scaled="1"/>
              <a:tileRect/>
            </a:gra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Text Placeholder 7">
            <a:extLst>
              <a:ext uri="{FF2B5EF4-FFF2-40B4-BE49-F238E27FC236}">
                <a16:creationId xmlns:a16="http://schemas.microsoft.com/office/drawing/2014/main" id="{21F43771-A5D5-8770-29CA-5DEDAF5F0651}"/>
              </a:ext>
            </a:extLst>
          </p:cNvPr>
          <p:cNvSpPr txBox="1">
            <a:spLocks/>
          </p:cNvSpPr>
          <p:nvPr/>
        </p:nvSpPr>
        <p:spPr>
          <a:xfrm>
            <a:off x="886289" y="4396451"/>
            <a:ext cx="2353215" cy="1292662"/>
          </a:xfrm>
          <a:prstGeom prst="rect">
            <a:avLst/>
          </a:prstGeom>
        </p:spPr>
        <p:txBody>
          <a:bodyPr vert="horz" wrap="square" lIns="0" tIns="0" rIns="0" bIns="0" rtlCol="0">
            <a:noAutofit/>
          </a:bodyPr>
          <a:lstStyle>
            <a:lvl1pPr marL="141288" marR="0" indent="-141288"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500" kern="1200" spc="0" baseline="0" dirty="0" smtClean="0">
                <a:solidFill>
                  <a:schemeClr val="tx1"/>
                </a:solidFill>
                <a:latin typeface="+mn-lt"/>
                <a:ea typeface="+mn-ea"/>
                <a:cs typeface="Segoe UI" panose="020B0502040204020203" pitchFamily="34" charset="0"/>
              </a:defRPr>
            </a:lvl1pPr>
            <a:lvl2pPr marL="285750" marR="0" indent="-125413"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lang="en-US" sz="1400" kern="1200" spc="0" baseline="0" dirty="0" smtClean="0">
                <a:solidFill>
                  <a:schemeClr val="tx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lang="en-US" sz="1400" kern="1200" spc="0" baseline="0" dirty="0" smtClean="0">
                <a:solidFill>
                  <a:schemeClr val="tx1"/>
                </a:solidFill>
                <a:latin typeface="+mn-lt"/>
                <a:ea typeface="+mn-ea"/>
                <a:cs typeface="+mn-cs"/>
              </a:defRPr>
            </a:lvl3pPr>
            <a:lvl4pPr marL="566738" marR="0" indent="-11430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lang="en-US" sz="1200" kern="1200" cap="all" spc="0" baseline="0" dirty="0" smtClean="0">
                <a:solidFill>
                  <a:schemeClr val="tx1"/>
                </a:solidFill>
                <a:latin typeface="+mn-lt"/>
                <a:ea typeface="+mn-ea"/>
                <a:cs typeface="+mn-cs"/>
              </a:defRPr>
            </a:lvl4pPr>
            <a:lvl5pPr marL="685800" marR="0" indent="-109538"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lang="en-US" sz="1200" kern="1200" spc="0" baseline="0" dirty="0">
                <a:solidFill>
                  <a:schemeClr val="tx1"/>
                </a:soli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nfrastructure for modern data management, data quality, data sources,</a:t>
            </a:r>
            <a:b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data roadmap</a:t>
            </a:r>
          </a:p>
        </p:txBody>
      </p:sp>
      <p:sp>
        <p:nvSpPr>
          <p:cNvPr id="46" name="Text Placeholder 7">
            <a:extLst>
              <a:ext uri="{FF2B5EF4-FFF2-40B4-BE49-F238E27FC236}">
                <a16:creationId xmlns:a16="http://schemas.microsoft.com/office/drawing/2014/main" id="{8B9FB473-E354-A630-CD43-6EEBA62E4EDA}"/>
              </a:ext>
            </a:extLst>
          </p:cNvPr>
          <p:cNvSpPr txBox="1">
            <a:spLocks/>
          </p:cNvSpPr>
          <p:nvPr/>
        </p:nvSpPr>
        <p:spPr>
          <a:xfrm>
            <a:off x="3637057" y="4396451"/>
            <a:ext cx="2353215" cy="1292662"/>
          </a:xfrm>
          <a:prstGeom prst="rect">
            <a:avLst/>
          </a:prstGeom>
        </p:spPr>
        <p:txBody>
          <a:bodyPr vert="horz" wrap="square" lIns="0" tIns="0" rIns="0" bIns="0" rtlCol="0">
            <a:noAutofit/>
          </a:bodyPr>
          <a:lstStyle>
            <a:lvl1pPr marL="141288" marR="0" indent="-141288"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500" kern="1200" spc="0" baseline="0" dirty="0" smtClean="0">
                <a:solidFill>
                  <a:schemeClr val="tx1"/>
                </a:solidFill>
                <a:latin typeface="+mn-lt"/>
                <a:ea typeface="+mn-ea"/>
                <a:cs typeface="Segoe UI" panose="020B0502040204020203" pitchFamily="34" charset="0"/>
              </a:defRPr>
            </a:lvl1pPr>
            <a:lvl2pPr marL="285750" marR="0" indent="-125413"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lang="en-US" sz="1400" kern="1200" spc="0" baseline="0" dirty="0" smtClean="0">
                <a:solidFill>
                  <a:schemeClr val="tx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lang="en-US" sz="1400" kern="1200" spc="0" baseline="0" dirty="0" smtClean="0">
                <a:solidFill>
                  <a:schemeClr val="tx1"/>
                </a:solidFill>
                <a:latin typeface="+mn-lt"/>
                <a:ea typeface="+mn-ea"/>
                <a:cs typeface="+mn-cs"/>
              </a:defRPr>
            </a:lvl3pPr>
            <a:lvl4pPr marL="566738" marR="0" indent="-11430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lang="en-US" sz="1200" kern="1200" cap="all" spc="0" baseline="0" dirty="0" smtClean="0">
                <a:solidFill>
                  <a:schemeClr val="tx1"/>
                </a:solidFill>
                <a:latin typeface="+mn-lt"/>
                <a:ea typeface="+mn-ea"/>
                <a:cs typeface="+mn-cs"/>
              </a:defRPr>
            </a:lvl4pPr>
            <a:lvl5pPr marL="685800" marR="0" indent="-109538"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lang="en-US" sz="1200" kern="1200" spc="0" baseline="0" dirty="0">
                <a:solidFill>
                  <a:schemeClr val="tx1"/>
                </a:soli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Infrastructure for AI development, standardized data formats, common user experience design, communication protocols; privacy compliance</a:t>
            </a:r>
          </a:p>
        </p:txBody>
      </p:sp>
      <p:sp>
        <p:nvSpPr>
          <p:cNvPr id="34" name="Text Placeholder 7">
            <a:extLst>
              <a:ext uri="{FF2B5EF4-FFF2-40B4-BE49-F238E27FC236}">
                <a16:creationId xmlns:a16="http://schemas.microsoft.com/office/drawing/2014/main" id="{5DBC1990-0DE9-E5A7-B51A-CA1ECF6D786A}"/>
              </a:ext>
            </a:extLst>
          </p:cNvPr>
          <p:cNvSpPr txBox="1">
            <a:spLocks/>
          </p:cNvSpPr>
          <p:nvPr/>
        </p:nvSpPr>
        <p:spPr>
          <a:xfrm>
            <a:off x="9138592" y="4396451"/>
            <a:ext cx="2353215" cy="1292662"/>
          </a:xfrm>
          <a:prstGeom prst="rect">
            <a:avLst/>
          </a:prstGeom>
        </p:spPr>
        <p:txBody>
          <a:bodyPr vert="horz" wrap="square" lIns="0" tIns="0" rIns="0" bIns="0" rtlCol="0">
            <a:noAutofit/>
          </a:bodyPr>
          <a:lstStyle>
            <a:lvl1pPr marL="141288" marR="0" indent="-141288"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500" kern="1200" spc="0" baseline="0" dirty="0" smtClean="0">
                <a:solidFill>
                  <a:schemeClr val="tx1"/>
                </a:solidFill>
                <a:latin typeface="+mn-lt"/>
                <a:ea typeface="+mn-ea"/>
                <a:cs typeface="Segoe UI" panose="020B0502040204020203" pitchFamily="34" charset="0"/>
              </a:defRPr>
            </a:lvl1pPr>
            <a:lvl2pPr marL="285750" marR="0" indent="-125413"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lang="en-US" sz="1400" kern="1200" spc="0" baseline="0" dirty="0" smtClean="0">
                <a:solidFill>
                  <a:schemeClr val="tx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lang="en-US" sz="1400" kern="1200" spc="0" baseline="0" dirty="0" smtClean="0">
                <a:solidFill>
                  <a:schemeClr val="tx1"/>
                </a:solidFill>
                <a:latin typeface="+mn-lt"/>
                <a:ea typeface="+mn-ea"/>
                <a:cs typeface="+mn-cs"/>
              </a:defRPr>
            </a:lvl3pPr>
            <a:lvl4pPr marL="566738" marR="0" indent="-11430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lang="en-US" sz="1200" kern="1200" cap="all" spc="0" baseline="0" dirty="0" smtClean="0">
                <a:solidFill>
                  <a:schemeClr val="tx1"/>
                </a:solidFill>
                <a:latin typeface="+mn-lt"/>
                <a:ea typeface="+mn-ea"/>
                <a:cs typeface="+mn-cs"/>
              </a:defRPr>
            </a:lvl4pPr>
            <a:lvl5pPr marL="685800" marR="0" indent="-109538"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lang="en-US" sz="1200" kern="1200" spc="0" baseline="0" dirty="0">
                <a:solidFill>
                  <a:schemeClr val="tx1"/>
                </a:soli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ulture that adopts AI as</a:t>
            </a:r>
            <a:b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 tool working alongside employees, Change program to drive communications</a:t>
            </a:r>
            <a:b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nd training</a:t>
            </a:r>
          </a:p>
        </p:txBody>
      </p:sp>
      <p:sp>
        <p:nvSpPr>
          <p:cNvPr id="45" name="Text Placeholder 7">
            <a:extLst>
              <a:ext uri="{FF2B5EF4-FFF2-40B4-BE49-F238E27FC236}">
                <a16:creationId xmlns:a16="http://schemas.microsoft.com/office/drawing/2014/main" id="{A47C6AF3-060B-B193-9857-6BFEC82AE2F8}"/>
              </a:ext>
            </a:extLst>
          </p:cNvPr>
          <p:cNvSpPr txBox="1">
            <a:spLocks/>
          </p:cNvSpPr>
          <p:nvPr/>
        </p:nvSpPr>
        <p:spPr>
          <a:xfrm>
            <a:off x="6393539" y="4396451"/>
            <a:ext cx="2353215" cy="1292662"/>
          </a:xfrm>
          <a:prstGeom prst="rect">
            <a:avLst/>
          </a:prstGeom>
        </p:spPr>
        <p:txBody>
          <a:bodyPr vert="horz" wrap="square" lIns="0" tIns="0" rIns="0" bIns="0" rtlCol="0">
            <a:noAutofit/>
          </a:bodyPr>
          <a:lstStyle>
            <a:lvl1pPr marL="141288" marR="0" indent="-141288" algn="l" defTabSz="932742" rtl="0" eaLnBrk="1" fontAlgn="auto" latinLnBrk="0" hangingPunct="1">
              <a:lnSpc>
                <a:spcPct val="100000"/>
              </a:lnSpc>
              <a:spcBef>
                <a:spcPts val="1200"/>
              </a:spcBef>
              <a:spcAft>
                <a:spcPts val="0"/>
              </a:spcAft>
              <a:buClrTx/>
              <a:buSzPct val="90000"/>
              <a:buFont typeface="Wingdings" panose="05000000000000000000" pitchFamily="2" charset="2"/>
              <a:buNone/>
              <a:tabLst/>
              <a:defRPr lang="en-US" sz="1500" kern="1200" spc="0" baseline="0" dirty="0" smtClean="0">
                <a:solidFill>
                  <a:schemeClr val="tx1"/>
                </a:solidFill>
                <a:latin typeface="+mn-lt"/>
                <a:ea typeface="+mn-ea"/>
                <a:cs typeface="Segoe UI" panose="020B0502040204020203" pitchFamily="34" charset="0"/>
              </a:defRPr>
            </a:lvl1pPr>
            <a:lvl2pPr marL="285750" marR="0" indent="-125413"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lang="en-US" sz="1400" kern="1200" spc="0" baseline="0" dirty="0" smtClean="0">
                <a:solidFill>
                  <a:schemeClr val="tx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600"/>
              </a:spcAft>
              <a:buClrTx/>
              <a:buSzPct val="90000"/>
              <a:buFont typeface="Wingdings" panose="05000000000000000000" pitchFamily="2" charset="2"/>
              <a:buNone/>
              <a:tabLst/>
              <a:defRPr lang="en-US" sz="1400" kern="1200" spc="0" baseline="0" dirty="0" smtClean="0">
                <a:solidFill>
                  <a:schemeClr val="tx1"/>
                </a:solidFill>
                <a:latin typeface="+mn-lt"/>
                <a:ea typeface="+mn-ea"/>
                <a:cs typeface="+mn-cs"/>
              </a:defRPr>
            </a:lvl3pPr>
            <a:lvl4pPr marL="566738" marR="0" indent="-11430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lang="en-US" sz="1200" kern="1200" cap="all" spc="0" baseline="0" dirty="0" smtClean="0">
                <a:solidFill>
                  <a:schemeClr val="tx1"/>
                </a:solidFill>
                <a:latin typeface="+mn-lt"/>
                <a:ea typeface="+mn-ea"/>
                <a:cs typeface="+mn-cs"/>
              </a:defRPr>
            </a:lvl4pPr>
            <a:lvl5pPr marL="685800" marR="0" indent="-109538"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lang="en-US" sz="1200" kern="1200" spc="0" baseline="0" dirty="0">
                <a:solidFill>
                  <a:schemeClr val="tx1"/>
                </a:soli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Segoe UI Light" panose="020B0502040204020203" pitchFamily="34" charset="0"/>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Segoe UI Light" panose="020B0502040204020203" pitchFamily="34" charset="0"/>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I Ops with standard performance monitoring, feedback loops to dev teams, returns tracking</a:t>
            </a:r>
          </a:p>
        </p:txBody>
      </p:sp>
      <p:sp>
        <p:nvSpPr>
          <p:cNvPr id="25" name="TextBox 24">
            <a:extLst>
              <a:ext uri="{FF2B5EF4-FFF2-40B4-BE49-F238E27FC236}">
                <a16:creationId xmlns:a16="http://schemas.microsoft.com/office/drawing/2014/main" id="{B004A723-29A4-CD3E-59E0-098134F5F2EB}"/>
              </a:ext>
            </a:extLst>
          </p:cNvPr>
          <p:cNvSpPr txBox="1"/>
          <p:nvPr/>
        </p:nvSpPr>
        <p:spPr>
          <a:xfrm>
            <a:off x="749129" y="2232077"/>
            <a:ext cx="107032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Clear transformation ambition and deep alignment across to every use case. Well-defined criteria that align to strategy. Robust responsible AI and security policies and practices. Operating model to experiment and scale successful AI</a:t>
            </a:r>
          </a:p>
        </p:txBody>
      </p:sp>
    </p:spTree>
    <p:extLst>
      <p:ext uri="{BB962C8B-B14F-4D97-AF65-F5344CB8AC3E}">
        <p14:creationId xmlns:p14="http://schemas.microsoft.com/office/powerpoint/2010/main" val="27628015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a:extLst>
            <a:ext uri="{FF2B5EF4-FFF2-40B4-BE49-F238E27FC236}">
              <a16:creationId xmlns:a16="http://schemas.microsoft.com/office/drawing/2014/main" id="{17611559-1A0F-B247-D393-35CEFA341448}"/>
            </a:ext>
          </a:extLst>
        </p:cNvPr>
        <p:cNvGrpSpPr/>
        <p:nvPr/>
      </p:nvGrpSpPr>
      <p:grpSpPr>
        <a:xfrm>
          <a:off x="0" y="0"/>
          <a:ext cx="0" cy="0"/>
          <a:chOff x="0" y="0"/>
          <a:chExt cx="0" cy="0"/>
        </a:xfrm>
      </p:grpSpPr>
      <p:sp>
        <p:nvSpPr>
          <p:cNvPr id="238" name="Rectangle: Rounded Corners 237">
            <a:extLst>
              <a:ext uri="{FF2B5EF4-FFF2-40B4-BE49-F238E27FC236}">
                <a16:creationId xmlns:a16="http://schemas.microsoft.com/office/drawing/2014/main" id="{3621698F-D062-9127-F24A-9418D86B6A6B}"/>
              </a:ext>
            </a:extLst>
          </p:cNvPr>
          <p:cNvSpPr/>
          <p:nvPr/>
        </p:nvSpPr>
        <p:spPr bwMode="auto">
          <a:xfrm>
            <a:off x="311888" y="510363"/>
            <a:ext cx="11717079" cy="5883349"/>
          </a:xfrm>
          <a:prstGeom prst="round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39" name="Arrow: U-Turn 238">
            <a:extLst>
              <a:ext uri="{FF2B5EF4-FFF2-40B4-BE49-F238E27FC236}">
                <a16:creationId xmlns:a16="http://schemas.microsoft.com/office/drawing/2014/main" id="{5593719C-2494-7FE6-9BA3-061ACF393BFD}"/>
              </a:ext>
            </a:extLst>
          </p:cNvPr>
          <p:cNvSpPr/>
          <p:nvPr/>
        </p:nvSpPr>
        <p:spPr bwMode="auto">
          <a:xfrm>
            <a:off x="4737951" y="2239306"/>
            <a:ext cx="7003843" cy="975333"/>
          </a:xfrm>
          <a:prstGeom prst="uturnArrow">
            <a:avLst>
              <a:gd name="adj1" fmla="val 0"/>
              <a:gd name="adj2" fmla="val 0"/>
              <a:gd name="adj3" fmla="val 0"/>
              <a:gd name="adj4" fmla="val 35590"/>
              <a:gd name="adj5" fmla="val 77643"/>
            </a:avLst>
          </a:prstGeom>
          <a:noFill/>
          <a:ln w="6350" cap="flat" cmpd="sng" algn="ctr">
            <a:solidFill>
              <a:srgbClr val="702573">
                <a:lumMod val="60000"/>
                <a:lumOff val="40000"/>
              </a:srgb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240" name="Arrow: U-Turn 239">
            <a:extLst>
              <a:ext uri="{FF2B5EF4-FFF2-40B4-BE49-F238E27FC236}">
                <a16:creationId xmlns:a16="http://schemas.microsoft.com/office/drawing/2014/main" id="{9EE54FA1-128B-1D2A-4D2B-E677F5BD422B}"/>
              </a:ext>
            </a:extLst>
          </p:cNvPr>
          <p:cNvSpPr/>
          <p:nvPr/>
        </p:nvSpPr>
        <p:spPr bwMode="auto">
          <a:xfrm>
            <a:off x="4793504" y="2789781"/>
            <a:ext cx="1999307" cy="453516"/>
          </a:xfrm>
          <a:prstGeom prst="uturnArrow">
            <a:avLst>
              <a:gd name="adj1" fmla="val 0"/>
              <a:gd name="adj2" fmla="val 0"/>
              <a:gd name="adj3" fmla="val 0"/>
              <a:gd name="adj4" fmla="val 30995"/>
              <a:gd name="adj5" fmla="val 40195"/>
            </a:avLst>
          </a:prstGeom>
          <a:noFill/>
          <a:ln w="6350" cap="flat" cmpd="sng" algn="ctr">
            <a:solidFill>
              <a:srgbClr val="702573">
                <a:lumMod val="20000"/>
                <a:lumOff val="80000"/>
              </a:srgb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241" name="Rectangle: Rounded Corners 240">
            <a:extLst>
              <a:ext uri="{FF2B5EF4-FFF2-40B4-BE49-F238E27FC236}">
                <a16:creationId xmlns:a16="http://schemas.microsoft.com/office/drawing/2014/main" id="{E890B96B-E977-F806-22CE-C2EED739DD9F}"/>
              </a:ext>
            </a:extLst>
          </p:cNvPr>
          <p:cNvSpPr/>
          <p:nvPr/>
        </p:nvSpPr>
        <p:spPr bwMode="auto">
          <a:xfrm>
            <a:off x="5144144" y="3066006"/>
            <a:ext cx="6597651" cy="1784606"/>
          </a:xfrm>
          <a:prstGeom prst="roundRect">
            <a:avLst>
              <a:gd name="adj" fmla="val 13978"/>
            </a:avLst>
          </a:prstGeom>
          <a:solidFill>
            <a:srgbClr val="C03BC4">
              <a:lumMod val="20000"/>
              <a:lumOff val="80000"/>
              <a:alpha val="28000"/>
            </a:srgbClr>
          </a:solidFill>
          <a:ln w="6350" cap="flat" cmpd="sng" algn="ctr">
            <a:solidFill>
              <a:srgbClr val="C03BC4">
                <a:alpha val="41000"/>
              </a:srgb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242" name="Freeform: Shape 241">
            <a:extLst>
              <a:ext uri="{FF2B5EF4-FFF2-40B4-BE49-F238E27FC236}">
                <a16:creationId xmlns:a16="http://schemas.microsoft.com/office/drawing/2014/main" id="{DCF3DAD3-BBFC-57C0-5F3E-D3B00C5468D2}"/>
              </a:ext>
            </a:extLst>
          </p:cNvPr>
          <p:cNvSpPr/>
          <p:nvPr/>
        </p:nvSpPr>
        <p:spPr bwMode="auto">
          <a:xfrm>
            <a:off x="2400197" y="2486570"/>
            <a:ext cx="2528050" cy="968758"/>
          </a:xfrm>
          <a:custGeom>
            <a:avLst/>
            <a:gdLst>
              <a:gd name="connsiteX0" fmla="*/ 0 w 2528050"/>
              <a:gd name="connsiteY0" fmla="*/ 0 h 968758"/>
              <a:gd name="connsiteX1" fmla="*/ 2285644 w 2528050"/>
              <a:gd name="connsiteY1" fmla="*/ 0 h 968758"/>
              <a:gd name="connsiteX2" fmla="*/ 2528050 w 2528050"/>
              <a:gd name="connsiteY2" fmla="*/ 242406 h 968758"/>
              <a:gd name="connsiteX3" fmla="*/ 2528050 w 2528050"/>
              <a:gd name="connsiteY3" fmla="*/ 852314 h 968758"/>
              <a:gd name="connsiteX4" fmla="*/ 2480602 w 2528050"/>
              <a:gd name="connsiteY4" fmla="*/ 869681 h 968758"/>
              <a:gd name="connsiteX5" fmla="*/ 1825265 w 2528050"/>
              <a:gd name="connsiteY5" fmla="*/ 968758 h 968758"/>
              <a:gd name="connsiteX6" fmla="*/ 124720 w 2528050"/>
              <a:gd name="connsiteY6" fmla="*/ 166787 h 968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8050" h="968758">
                <a:moveTo>
                  <a:pt x="0" y="0"/>
                </a:moveTo>
                <a:lnTo>
                  <a:pt x="2285644" y="0"/>
                </a:lnTo>
                <a:cubicBezTo>
                  <a:pt x="2419521" y="0"/>
                  <a:pt x="2528050" y="108529"/>
                  <a:pt x="2528050" y="242406"/>
                </a:cubicBezTo>
                <a:lnTo>
                  <a:pt x="2528050" y="852314"/>
                </a:lnTo>
                <a:lnTo>
                  <a:pt x="2480602" y="869681"/>
                </a:lnTo>
                <a:cubicBezTo>
                  <a:pt x="2273582" y="934071"/>
                  <a:pt x="2053474" y="968758"/>
                  <a:pt x="1825265" y="968758"/>
                </a:cubicBezTo>
                <a:cubicBezTo>
                  <a:pt x="1140638" y="968758"/>
                  <a:pt x="528926" y="656571"/>
                  <a:pt x="124720" y="166787"/>
                </a:cubicBezTo>
                <a:close/>
              </a:path>
            </a:pathLst>
          </a:custGeom>
          <a:solidFill>
            <a:srgbClr val="FFFFFF">
              <a:alpha val="38000"/>
            </a:srgbClr>
          </a:solidFill>
          <a:ln w="4484" cap="flat">
            <a:noFill/>
            <a:prstDash val="solid"/>
            <a:miter/>
          </a:ln>
          <a:effectLst>
            <a:outerShdw blurRad="444500" dist="355600" dir="1800000" sx="90000" sy="90000" algn="tl" rotWithShape="0">
              <a:srgbClr val="FFF8F5">
                <a:lumMod val="25000"/>
                <a:alpha val="15000"/>
              </a:srgb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rgbClr val="091F2C"/>
                </a:solidFill>
                <a:latin typeface="Segoe Sans Display"/>
              </a:defRPr>
            </a:lvl1pPr>
            <a:lvl2pPr marL="457200" algn="l" defTabSz="914400" rtl="0" eaLnBrk="1" latinLnBrk="0" hangingPunct="1">
              <a:defRPr sz="1800" kern="1200">
                <a:solidFill>
                  <a:srgbClr val="091F2C"/>
                </a:solidFill>
                <a:latin typeface="Segoe Sans Display"/>
              </a:defRPr>
            </a:lvl2pPr>
            <a:lvl3pPr marL="914400" algn="l" defTabSz="914400" rtl="0" eaLnBrk="1" latinLnBrk="0" hangingPunct="1">
              <a:defRPr sz="1800" kern="1200">
                <a:solidFill>
                  <a:srgbClr val="091F2C"/>
                </a:solidFill>
                <a:latin typeface="Segoe Sans Display"/>
              </a:defRPr>
            </a:lvl3pPr>
            <a:lvl4pPr marL="1371600" algn="l" defTabSz="914400" rtl="0" eaLnBrk="1" latinLnBrk="0" hangingPunct="1">
              <a:defRPr sz="1800" kern="1200">
                <a:solidFill>
                  <a:srgbClr val="091F2C"/>
                </a:solidFill>
                <a:latin typeface="Segoe Sans Display"/>
              </a:defRPr>
            </a:lvl4pPr>
            <a:lvl5pPr marL="1828800" algn="l" defTabSz="914400" rtl="0" eaLnBrk="1" latinLnBrk="0" hangingPunct="1">
              <a:defRPr sz="1800" kern="1200">
                <a:solidFill>
                  <a:srgbClr val="091F2C"/>
                </a:solidFill>
                <a:latin typeface="Segoe Sans Display"/>
              </a:defRPr>
            </a:lvl5pPr>
            <a:lvl6pPr marL="2286000" algn="l" defTabSz="914400" rtl="0" eaLnBrk="1" latinLnBrk="0" hangingPunct="1">
              <a:defRPr sz="1800" kern="1200">
                <a:solidFill>
                  <a:srgbClr val="091F2C"/>
                </a:solidFill>
                <a:latin typeface="Segoe Sans Display"/>
              </a:defRPr>
            </a:lvl6pPr>
            <a:lvl7pPr marL="2743200" algn="l" defTabSz="914400" rtl="0" eaLnBrk="1" latinLnBrk="0" hangingPunct="1">
              <a:defRPr sz="1800" kern="1200">
                <a:solidFill>
                  <a:srgbClr val="091F2C"/>
                </a:solidFill>
                <a:latin typeface="Segoe Sans Display"/>
              </a:defRPr>
            </a:lvl7pPr>
            <a:lvl8pPr marL="3200400" algn="l" defTabSz="914400" rtl="0" eaLnBrk="1" latinLnBrk="0" hangingPunct="1">
              <a:defRPr sz="1800" kern="1200">
                <a:solidFill>
                  <a:srgbClr val="091F2C"/>
                </a:solidFill>
                <a:latin typeface="Segoe Sans Display"/>
              </a:defRPr>
            </a:lvl8pPr>
            <a:lvl9pPr marL="3657600" algn="l" defTabSz="914400" rtl="0" eaLnBrk="1" latinLnBrk="0" hangingPunct="1">
              <a:defRPr sz="1800" kern="1200">
                <a:solidFill>
                  <a:srgbClr val="091F2C"/>
                </a:solidFill>
                <a:latin typeface="Segoe Sans Display"/>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43" name="Graphic 278">
            <a:extLst>
              <a:ext uri="{FF2B5EF4-FFF2-40B4-BE49-F238E27FC236}">
                <a16:creationId xmlns:a16="http://schemas.microsoft.com/office/drawing/2014/main" id="{A2FC0468-EE7E-178A-80F7-683E0A9FF5FF}"/>
              </a:ext>
            </a:extLst>
          </p:cNvPr>
          <p:cNvSpPr/>
          <p:nvPr/>
        </p:nvSpPr>
        <p:spPr>
          <a:xfrm>
            <a:off x="692798" y="2645319"/>
            <a:ext cx="5143498" cy="2625980"/>
          </a:xfrm>
          <a:custGeom>
            <a:avLst/>
            <a:gdLst>
              <a:gd name="connsiteX0" fmla="*/ 369761 w 7665243"/>
              <a:gd name="connsiteY0" fmla="*/ 3913441 h 3913441"/>
              <a:gd name="connsiteX1" fmla="*/ 225838 w 7665243"/>
              <a:gd name="connsiteY1" fmla="*/ 3884390 h 3913441"/>
              <a:gd name="connsiteX2" fmla="*/ 108299 w 7665243"/>
              <a:gd name="connsiteY2" fmla="*/ 3805142 h 3913441"/>
              <a:gd name="connsiteX3" fmla="*/ 29051 w 7665243"/>
              <a:gd name="connsiteY3" fmla="*/ 3687604 h 3913441"/>
              <a:gd name="connsiteX4" fmla="*/ 0 w 7665243"/>
              <a:gd name="connsiteY4" fmla="*/ 3543681 h 3913441"/>
              <a:gd name="connsiteX5" fmla="*/ 0 w 7665243"/>
              <a:gd name="connsiteY5" fmla="*/ 369856 h 3913441"/>
              <a:gd name="connsiteX6" fmla="*/ 29051 w 7665243"/>
              <a:gd name="connsiteY6" fmla="*/ 225933 h 3913441"/>
              <a:gd name="connsiteX7" fmla="*/ 108299 w 7665243"/>
              <a:gd name="connsiteY7" fmla="*/ 108395 h 3913441"/>
              <a:gd name="connsiteX8" fmla="*/ 225838 w 7665243"/>
              <a:gd name="connsiteY8" fmla="*/ 29147 h 3913441"/>
              <a:gd name="connsiteX9" fmla="*/ 369761 w 7665243"/>
              <a:gd name="connsiteY9" fmla="*/ 0 h 3913441"/>
              <a:gd name="connsiteX10" fmla="*/ 2465070 w 7665243"/>
              <a:gd name="connsiteY10" fmla="*/ 0 h 3913441"/>
              <a:gd name="connsiteX11" fmla="*/ 2609088 w 7665243"/>
              <a:gd name="connsiteY11" fmla="*/ 29051 h 3913441"/>
              <a:gd name="connsiteX12" fmla="*/ 2726627 w 7665243"/>
              <a:gd name="connsiteY12" fmla="*/ 108299 h 3913441"/>
              <a:gd name="connsiteX13" fmla="*/ 2750058 w 7665243"/>
              <a:gd name="connsiteY13" fmla="*/ 133826 h 3913441"/>
              <a:gd name="connsiteX14" fmla="*/ 5231225 w 7665243"/>
              <a:gd name="connsiteY14" fmla="*/ 1289209 h 3913441"/>
              <a:gd name="connsiteX15" fmla="*/ 6891433 w 7665243"/>
              <a:gd name="connsiteY15" fmla="*/ 830104 h 3913441"/>
              <a:gd name="connsiteX16" fmla="*/ 6935057 w 7665243"/>
              <a:gd name="connsiteY16" fmla="*/ 808101 h 3913441"/>
              <a:gd name="connsiteX17" fmla="*/ 7068026 w 7665243"/>
              <a:gd name="connsiteY17" fmla="*/ 781240 h 3913441"/>
              <a:gd name="connsiteX18" fmla="*/ 7453598 w 7665243"/>
              <a:gd name="connsiteY18" fmla="*/ 781240 h 3913441"/>
              <a:gd name="connsiteX19" fmla="*/ 7535990 w 7665243"/>
              <a:gd name="connsiteY19" fmla="*/ 797909 h 3913441"/>
              <a:gd name="connsiteX20" fmla="*/ 7603236 w 7665243"/>
              <a:gd name="connsiteY20" fmla="*/ 843248 h 3913441"/>
              <a:gd name="connsiteX21" fmla="*/ 7648671 w 7665243"/>
              <a:gd name="connsiteY21" fmla="*/ 910590 h 3913441"/>
              <a:gd name="connsiteX22" fmla="*/ 7665244 w 7665243"/>
              <a:gd name="connsiteY22" fmla="*/ 992981 h 3913441"/>
              <a:gd name="connsiteX23" fmla="*/ 7665244 w 7665243"/>
              <a:gd name="connsiteY23" fmla="*/ 2920460 h 3913441"/>
              <a:gd name="connsiteX24" fmla="*/ 7648575 w 7665243"/>
              <a:gd name="connsiteY24" fmla="*/ 3002852 h 3913441"/>
              <a:gd name="connsiteX25" fmla="*/ 7603236 w 7665243"/>
              <a:gd name="connsiteY25" fmla="*/ 3070098 h 3913441"/>
              <a:gd name="connsiteX26" fmla="*/ 7535894 w 7665243"/>
              <a:gd name="connsiteY26" fmla="*/ 3115437 h 3913441"/>
              <a:gd name="connsiteX27" fmla="*/ 7453504 w 7665243"/>
              <a:gd name="connsiteY27" fmla="*/ 3132106 h 3913441"/>
              <a:gd name="connsiteX28" fmla="*/ 7067931 w 7665243"/>
              <a:gd name="connsiteY28" fmla="*/ 3132106 h 3913441"/>
              <a:gd name="connsiteX29" fmla="*/ 6935057 w 7665243"/>
              <a:gd name="connsiteY29" fmla="*/ 3105245 h 3913441"/>
              <a:gd name="connsiteX30" fmla="*/ 6891433 w 7665243"/>
              <a:gd name="connsiteY30" fmla="*/ 3083243 h 3913441"/>
              <a:gd name="connsiteX31" fmla="*/ 5231225 w 7665243"/>
              <a:gd name="connsiteY31" fmla="*/ 2624138 h 3913441"/>
              <a:gd name="connsiteX32" fmla="*/ 2750153 w 7665243"/>
              <a:gd name="connsiteY32" fmla="*/ 3779425 h 3913441"/>
              <a:gd name="connsiteX33" fmla="*/ 2726627 w 7665243"/>
              <a:gd name="connsiteY33" fmla="*/ 3805047 h 3913441"/>
              <a:gd name="connsiteX34" fmla="*/ 2609088 w 7665243"/>
              <a:gd name="connsiteY34" fmla="*/ 3884295 h 3913441"/>
              <a:gd name="connsiteX35" fmla="*/ 2465165 w 7665243"/>
              <a:gd name="connsiteY35" fmla="*/ 3913346 h 3913441"/>
              <a:gd name="connsiteX36" fmla="*/ 369761 w 7665243"/>
              <a:gd name="connsiteY36" fmla="*/ 3913346 h 3913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665243" h="3913441">
                <a:moveTo>
                  <a:pt x="369761" y="3913441"/>
                </a:moveTo>
                <a:cubicBezTo>
                  <a:pt x="317754" y="3913441"/>
                  <a:pt x="273368" y="3904488"/>
                  <a:pt x="225838" y="3884390"/>
                </a:cubicBezTo>
                <a:cubicBezTo>
                  <a:pt x="179927" y="3864959"/>
                  <a:pt x="143637" y="3840575"/>
                  <a:pt x="108299" y="3805142"/>
                </a:cubicBezTo>
                <a:cubicBezTo>
                  <a:pt x="72962" y="3769709"/>
                  <a:pt x="48482" y="3733514"/>
                  <a:pt x="29051" y="3687604"/>
                </a:cubicBezTo>
                <a:cubicBezTo>
                  <a:pt x="8954" y="3640074"/>
                  <a:pt x="0" y="3595688"/>
                  <a:pt x="0" y="3543681"/>
                </a:cubicBezTo>
                <a:lnTo>
                  <a:pt x="0" y="369856"/>
                </a:lnTo>
                <a:cubicBezTo>
                  <a:pt x="0" y="317849"/>
                  <a:pt x="8954" y="273463"/>
                  <a:pt x="29051" y="225933"/>
                </a:cubicBezTo>
                <a:cubicBezTo>
                  <a:pt x="48482" y="180023"/>
                  <a:pt x="72866" y="143732"/>
                  <a:pt x="108299" y="108395"/>
                </a:cubicBezTo>
                <a:cubicBezTo>
                  <a:pt x="143732" y="73057"/>
                  <a:pt x="179927" y="48578"/>
                  <a:pt x="225838" y="29147"/>
                </a:cubicBezTo>
                <a:cubicBezTo>
                  <a:pt x="273272" y="8954"/>
                  <a:pt x="317754" y="0"/>
                  <a:pt x="369761" y="0"/>
                </a:cubicBezTo>
                <a:lnTo>
                  <a:pt x="2465070" y="0"/>
                </a:lnTo>
                <a:cubicBezTo>
                  <a:pt x="2517077" y="0"/>
                  <a:pt x="2561558" y="8954"/>
                  <a:pt x="2609088" y="29051"/>
                </a:cubicBezTo>
                <a:cubicBezTo>
                  <a:pt x="2654903" y="48482"/>
                  <a:pt x="2691194" y="72866"/>
                  <a:pt x="2726627" y="108299"/>
                </a:cubicBezTo>
                <a:cubicBezTo>
                  <a:pt x="2735009" y="116681"/>
                  <a:pt x="2742914" y="125254"/>
                  <a:pt x="2750058" y="133826"/>
                </a:cubicBezTo>
                <a:cubicBezTo>
                  <a:pt x="3384614" y="888968"/>
                  <a:pt x="4301109" y="1289209"/>
                  <a:pt x="5231225" y="1289209"/>
                </a:cubicBezTo>
                <a:cubicBezTo>
                  <a:pt x="5799963" y="1289209"/>
                  <a:pt x="6373749" y="1139666"/>
                  <a:pt x="6891433" y="830104"/>
                </a:cubicBezTo>
                <a:cubicBezTo>
                  <a:pt x="6904959" y="822008"/>
                  <a:pt x="6919246" y="814769"/>
                  <a:pt x="6935057" y="808101"/>
                </a:cubicBezTo>
                <a:cubicBezTo>
                  <a:pt x="6979539" y="789242"/>
                  <a:pt x="7019259" y="781240"/>
                  <a:pt x="7068026" y="781240"/>
                </a:cubicBezTo>
                <a:lnTo>
                  <a:pt x="7453598" y="781240"/>
                </a:lnTo>
                <a:cubicBezTo>
                  <a:pt x="7484555" y="781240"/>
                  <a:pt x="7507700" y="785908"/>
                  <a:pt x="7535990" y="797909"/>
                </a:cubicBezTo>
                <a:cubicBezTo>
                  <a:pt x="7562946" y="809339"/>
                  <a:pt x="7582472" y="822484"/>
                  <a:pt x="7603236" y="843248"/>
                </a:cubicBezTo>
                <a:cubicBezTo>
                  <a:pt x="7624096" y="864108"/>
                  <a:pt x="7637241" y="883634"/>
                  <a:pt x="7648671" y="910590"/>
                </a:cubicBezTo>
                <a:cubicBezTo>
                  <a:pt x="7660577" y="938879"/>
                  <a:pt x="7665244" y="961930"/>
                  <a:pt x="7665244" y="992981"/>
                </a:cubicBezTo>
                <a:lnTo>
                  <a:pt x="7665244" y="2920460"/>
                </a:lnTo>
                <a:cubicBezTo>
                  <a:pt x="7665244" y="2951416"/>
                  <a:pt x="7660577" y="2974562"/>
                  <a:pt x="7648575" y="3002852"/>
                </a:cubicBezTo>
                <a:cubicBezTo>
                  <a:pt x="7637145" y="3029807"/>
                  <a:pt x="7624001" y="3049334"/>
                  <a:pt x="7603236" y="3070098"/>
                </a:cubicBezTo>
                <a:cubicBezTo>
                  <a:pt x="7582376" y="3090958"/>
                  <a:pt x="7562946" y="3104103"/>
                  <a:pt x="7535894" y="3115437"/>
                </a:cubicBezTo>
                <a:cubicBezTo>
                  <a:pt x="7507605" y="3127439"/>
                  <a:pt x="7484460" y="3132106"/>
                  <a:pt x="7453504" y="3132106"/>
                </a:cubicBezTo>
                <a:lnTo>
                  <a:pt x="7067931" y="3132106"/>
                </a:lnTo>
                <a:cubicBezTo>
                  <a:pt x="7019259" y="3132106"/>
                  <a:pt x="6979539" y="3124105"/>
                  <a:pt x="6935057" y="3105245"/>
                </a:cubicBezTo>
                <a:cubicBezTo>
                  <a:pt x="6919246" y="3098578"/>
                  <a:pt x="6904959" y="3091339"/>
                  <a:pt x="6891433" y="3083243"/>
                </a:cubicBezTo>
                <a:cubicBezTo>
                  <a:pt x="6373844" y="2773775"/>
                  <a:pt x="5799868" y="2624138"/>
                  <a:pt x="5231225" y="2624138"/>
                </a:cubicBezTo>
                <a:cubicBezTo>
                  <a:pt x="4301014" y="2624138"/>
                  <a:pt x="3384804" y="3024188"/>
                  <a:pt x="2750153" y="3779425"/>
                </a:cubicBezTo>
                <a:cubicBezTo>
                  <a:pt x="2742914" y="3787997"/>
                  <a:pt x="2735009" y="3796570"/>
                  <a:pt x="2726627" y="3805047"/>
                </a:cubicBezTo>
                <a:cubicBezTo>
                  <a:pt x="2691194" y="3840480"/>
                  <a:pt x="2654999" y="3864864"/>
                  <a:pt x="2609088" y="3884295"/>
                </a:cubicBezTo>
                <a:cubicBezTo>
                  <a:pt x="2561558" y="3904393"/>
                  <a:pt x="2517172" y="3913346"/>
                  <a:pt x="2465165" y="3913346"/>
                </a:cubicBezTo>
                <a:lnTo>
                  <a:pt x="369761" y="3913346"/>
                </a:lnTo>
                <a:close/>
              </a:path>
            </a:pathLst>
          </a:custGeom>
          <a:solidFill>
            <a:srgbClr val="FFFFFF">
              <a:alpha val="70000"/>
            </a:srgbClr>
          </a:solidFill>
          <a:ln w="4484" cap="flat">
            <a:noFill/>
            <a:prstDash val="solid"/>
            <a:miter/>
          </a:ln>
          <a:effectLst>
            <a:outerShdw blurRad="444500" dist="355600" dir="1800000" sx="90000" sy="90000" algn="tl" rotWithShape="0">
              <a:srgbClr val="FFF8F5">
                <a:lumMod val="25000"/>
                <a:alpha val="15000"/>
              </a:srgb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rgbClr val="091F2C"/>
                </a:solidFill>
                <a:latin typeface="Segoe Sans Display"/>
              </a:defRPr>
            </a:lvl1pPr>
            <a:lvl2pPr marL="457200" algn="l" defTabSz="914400" rtl="0" eaLnBrk="1" latinLnBrk="0" hangingPunct="1">
              <a:defRPr sz="1800" kern="1200">
                <a:solidFill>
                  <a:srgbClr val="091F2C"/>
                </a:solidFill>
                <a:latin typeface="Segoe Sans Display"/>
              </a:defRPr>
            </a:lvl2pPr>
            <a:lvl3pPr marL="914400" algn="l" defTabSz="914400" rtl="0" eaLnBrk="1" latinLnBrk="0" hangingPunct="1">
              <a:defRPr sz="1800" kern="1200">
                <a:solidFill>
                  <a:srgbClr val="091F2C"/>
                </a:solidFill>
                <a:latin typeface="Segoe Sans Display"/>
              </a:defRPr>
            </a:lvl3pPr>
            <a:lvl4pPr marL="1371600" algn="l" defTabSz="914400" rtl="0" eaLnBrk="1" latinLnBrk="0" hangingPunct="1">
              <a:defRPr sz="1800" kern="1200">
                <a:solidFill>
                  <a:srgbClr val="091F2C"/>
                </a:solidFill>
                <a:latin typeface="Segoe Sans Display"/>
              </a:defRPr>
            </a:lvl4pPr>
            <a:lvl5pPr marL="1828800" algn="l" defTabSz="914400" rtl="0" eaLnBrk="1" latinLnBrk="0" hangingPunct="1">
              <a:defRPr sz="1800" kern="1200">
                <a:solidFill>
                  <a:srgbClr val="091F2C"/>
                </a:solidFill>
                <a:latin typeface="Segoe Sans Display"/>
              </a:defRPr>
            </a:lvl5pPr>
            <a:lvl6pPr marL="2286000" algn="l" defTabSz="914400" rtl="0" eaLnBrk="1" latinLnBrk="0" hangingPunct="1">
              <a:defRPr sz="1800" kern="1200">
                <a:solidFill>
                  <a:srgbClr val="091F2C"/>
                </a:solidFill>
                <a:latin typeface="Segoe Sans Display"/>
              </a:defRPr>
            </a:lvl6pPr>
            <a:lvl7pPr marL="2743200" algn="l" defTabSz="914400" rtl="0" eaLnBrk="1" latinLnBrk="0" hangingPunct="1">
              <a:defRPr sz="1800" kern="1200">
                <a:solidFill>
                  <a:srgbClr val="091F2C"/>
                </a:solidFill>
                <a:latin typeface="Segoe Sans Display"/>
              </a:defRPr>
            </a:lvl7pPr>
            <a:lvl8pPr marL="3200400" algn="l" defTabSz="914400" rtl="0" eaLnBrk="1" latinLnBrk="0" hangingPunct="1">
              <a:defRPr sz="1800" kern="1200">
                <a:solidFill>
                  <a:srgbClr val="091F2C"/>
                </a:solidFill>
                <a:latin typeface="Segoe Sans Display"/>
              </a:defRPr>
            </a:lvl8pPr>
            <a:lvl9pPr marL="3657600" algn="l" defTabSz="914400" rtl="0" eaLnBrk="1" latinLnBrk="0" hangingPunct="1">
              <a:defRPr sz="1800" kern="1200">
                <a:solidFill>
                  <a:srgbClr val="091F2C"/>
                </a:solidFill>
                <a:latin typeface="Segoe Sans Display"/>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44" name="Freeform: Shape 243">
            <a:extLst>
              <a:ext uri="{FF2B5EF4-FFF2-40B4-BE49-F238E27FC236}">
                <a16:creationId xmlns:a16="http://schemas.microsoft.com/office/drawing/2014/main" id="{FAB579CA-A964-56FD-F6BB-3DCD4CAB3C78}"/>
              </a:ext>
            </a:extLst>
          </p:cNvPr>
          <p:cNvSpPr/>
          <p:nvPr/>
        </p:nvSpPr>
        <p:spPr bwMode="auto">
          <a:xfrm flipV="1">
            <a:off x="2400197" y="4460056"/>
            <a:ext cx="2528050" cy="968758"/>
          </a:xfrm>
          <a:custGeom>
            <a:avLst/>
            <a:gdLst>
              <a:gd name="connsiteX0" fmla="*/ 0 w 2528050"/>
              <a:gd name="connsiteY0" fmla="*/ 0 h 968758"/>
              <a:gd name="connsiteX1" fmla="*/ 2285644 w 2528050"/>
              <a:gd name="connsiteY1" fmla="*/ 0 h 968758"/>
              <a:gd name="connsiteX2" fmla="*/ 2528050 w 2528050"/>
              <a:gd name="connsiteY2" fmla="*/ 242406 h 968758"/>
              <a:gd name="connsiteX3" fmla="*/ 2528050 w 2528050"/>
              <a:gd name="connsiteY3" fmla="*/ 852314 h 968758"/>
              <a:gd name="connsiteX4" fmla="*/ 2480602 w 2528050"/>
              <a:gd name="connsiteY4" fmla="*/ 869681 h 968758"/>
              <a:gd name="connsiteX5" fmla="*/ 1825265 w 2528050"/>
              <a:gd name="connsiteY5" fmla="*/ 968758 h 968758"/>
              <a:gd name="connsiteX6" fmla="*/ 124720 w 2528050"/>
              <a:gd name="connsiteY6" fmla="*/ 166787 h 968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8050" h="968758">
                <a:moveTo>
                  <a:pt x="0" y="0"/>
                </a:moveTo>
                <a:lnTo>
                  <a:pt x="2285644" y="0"/>
                </a:lnTo>
                <a:cubicBezTo>
                  <a:pt x="2419521" y="0"/>
                  <a:pt x="2528050" y="108529"/>
                  <a:pt x="2528050" y="242406"/>
                </a:cubicBezTo>
                <a:lnTo>
                  <a:pt x="2528050" y="852314"/>
                </a:lnTo>
                <a:lnTo>
                  <a:pt x="2480602" y="869681"/>
                </a:lnTo>
                <a:cubicBezTo>
                  <a:pt x="2273582" y="934071"/>
                  <a:pt x="2053474" y="968758"/>
                  <a:pt x="1825265" y="968758"/>
                </a:cubicBezTo>
                <a:cubicBezTo>
                  <a:pt x="1140638" y="968758"/>
                  <a:pt x="528926" y="656571"/>
                  <a:pt x="124720" y="166787"/>
                </a:cubicBezTo>
                <a:close/>
              </a:path>
            </a:pathLst>
          </a:custGeom>
          <a:gradFill>
            <a:gsLst>
              <a:gs pos="24000">
                <a:srgbClr val="FFFFFF">
                  <a:alpha val="38000"/>
                </a:srgbClr>
              </a:gs>
              <a:gs pos="100000">
                <a:srgbClr val="FFFFFF">
                  <a:alpha val="0"/>
                </a:srgbClr>
              </a:gs>
            </a:gsLst>
            <a:lin ang="16200000" scaled="1"/>
          </a:gradFill>
          <a:ln w="4484" cap="flat">
            <a:noFill/>
            <a:prstDash val="solid"/>
            <a:miter/>
          </a:ln>
          <a:effectLst>
            <a:outerShdw blurRad="444500" dist="355600" dir="1800000" sx="90000" sy="90000" algn="tl" rotWithShape="0">
              <a:srgbClr val="FFF8F5">
                <a:lumMod val="25000"/>
                <a:alpha val="15000"/>
              </a:srgb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rgbClr val="091F2C"/>
                </a:solidFill>
                <a:latin typeface="Segoe Sans Display"/>
              </a:defRPr>
            </a:lvl1pPr>
            <a:lvl2pPr marL="457200" algn="l" defTabSz="914400" rtl="0" eaLnBrk="1" latinLnBrk="0" hangingPunct="1">
              <a:defRPr sz="1800" kern="1200">
                <a:solidFill>
                  <a:srgbClr val="091F2C"/>
                </a:solidFill>
                <a:latin typeface="Segoe Sans Display"/>
              </a:defRPr>
            </a:lvl2pPr>
            <a:lvl3pPr marL="914400" algn="l" defTabSz="914400" rtl="0" eaLnBrk="1" latinLnBrk="0" hangingPunct="1">
              <a:defRPr sz="1800" kern="1200">
                <a:solidFill>
                  <a:srgbClr val="091F2C"/>
                </a:solidFill>
                <a:latin typeface="Segoe Sans Display"/>
              </a:defRPr>
            </a:lvl3pPr>
            <a:lvl4pPr marL="1371600" algn="l" defTabSz="914400" rtl="0" eaLnBrk="1" latinLnBrk="0" hangingPunct="1">
              <a:defRPr sz="1800" kern="1200">
                <a:solidFill>
                  <a:srgbClr val="091F2C"/>
                </a:solidFill>
                <a:latin typeface="Segoe Sans Display"/>
              </a:defRPr>
            </a:lvl4pPr>
            <a:lvl5pPr marL="1828800" algn="l" defTabSz="914400" rtl="0" eaLnBrk="1" latinLnBrk="0" hangingPunct="1">
              <a:defRPr sz="1800" kern="1200">
                <a:solidFill>
                  <a:srgbClr val="091F2C"/>
                </a:solidFill>
                <a:latin typeface="Segoe Sans Display"/>
              </a:defRPr>
            </a:lvl5pPr>
            <a:lvl6pPr marL="2286000" algn="l" defTabSz="914400" rtl="0" eaLnBrk="1" latinLnBrk="0" hangingPunct="1">
              <a:defRPr sz="1800" kern="1200">
                <a:solidFill>
                  <a:srgbClr val="091F2C"/>
                </a:solidFill>
                <a:latin typeface="Segoe Sans Display"/>
              </a:defRPr>
            </a:lvl6pPr>
            <a:lvl7pPr marL="2743200" algn="l" defTabSz="914400" rtl="0" eaLnBrk="1" latinLnBrk="0" hangingPunct="1">
              <a:defRPr sz="1800" kern="1200">
                <a:solidFill>
                  <a:srgbClr val="091F2C"/>
                </a:solidFill>
                <a:latin typeface="Segoe Sans Display"/>
              </a:defRPr>
            </a:lvl7pPr>
            <a:lvl8pPr marL="3200400" algn="l" defTabSz="914400" rtl="0" eaLnBrk="1" latinLnBrk="0" hangingPunct="1">
              <a:defRPr sz="1800" kern="1200">
                <a:solidFill>
                  <a:srgbClr val="091F2C"/>
                </a:solidFill>
                <a:latin typeface="Segoe Sans Display"/>
              </a:defRPr>
            </a:lvl8pPr>
            <a:lvl9pPr marL="3657600" algn="l" defTabSz="914400" rtl="0" eaLnBrk="1" latinLnBrk="0" hangingPunct="1">
              <a:defRPr sz="1800" kern="1200">
                <a:solidFill>
                  <a:srgbClr val="091F2C"/>
                </a:solidFill>
                <a:latin typeface="Segoe Sans Display"/>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45" name="Rectangle: Rounded Corners 244">
            <a:extLst>
              <a:ext uri="{FF2B5EF4-FFF2-40B4-BE49-F238E27FC236}">
                <a16:creationId xmlns:a16="http://schemas.microsoft.com/office/drawing/2014/main" id="{D1B64635-31B5-B574-58E1-00BA18A112E6}"/>
              </a:ext>
            </a:extLst>
          </p:cNvPr>
          <p:cNvSpPr/>
          <p:nvPr/>
        </p:nvSpPr>
        <p:spPr bwMode="auto">
          <a:xfrm>
            <a:off x="747997" y="2698500"/>
            <a:ext cx="1754548" cy="2514600"/>
          </a:xfrm>
          <a:prstGeom prst="roundRect">
            <a:avLst>
              <a:gd name="adj" fmla="val 10777"/>
            </a:avLst>
          </a:prstGeom>
          <a:solidFill>
            <a:srgbClr val="FFFFFF">
              <a:alpha val="70000"/>
            </a:srgbClr>
          </a:solidFill>
          <a:ln w="6350" cap="flat" cmpd="sng" algn="ctr">
            <a:gradFill>
              <a:gsLst>
                <a:gs pos="0">
                  <a:srgbClr val="FFFFFF">
                    <a:alpha val="30000"/>
                  </a:srgbClr>
                </a:gs>
                <a:gs pos="100000">
                  <a:srgbClr val="FFFFFF">
                    <a:alpha val="59000"/>
                  </a:srgbClr>
                </a:gs>
              </a:gsLst>
              <a:lin ang="5400000" scaled="1"/>
            </a:gradFill>
            <a:prstDash val="solid"/>
            <a:headEnd type="none" w="med" len="med"/>
            <a:tailEnd type="none" w="med" len="med"/>
          </a:ln>
          <a:effectLst>
            <a:outerShdw blurRad="381000" dist="254000" dir="2700000" sx="90000" sy="90000" algn="tl" rotWithShape="0">
              <a:srgbClr val="FFF8F5">
                <a:lumMod val="25000"/>
                <a:alpha val="20000"/>
              </a:srgb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grpSp>
        <p:nvGrpSpPr>
          <p:cNvPr id="246" name="Group 245">
            <a:extLst>
              <a:ext uri="{FF2B5EF4-FFF2-40B4-BE49-F238E27FC236}">
                <a16:creationId xmlns:a16="http://schemas.microsoft.com/office/drawing/2014/main" id="{DB9ADCBE-F7F0-B432-3784-17FEC00BC6E7}"/>
              </a:ext>
            </a:extLst>
          </p:cNvPr>
          <p:cNvGrpSpPr/>
          <p:nvPr/>
        </p:nvGrpSpPr>
        <p:grpSpPr>
          <a:xfrm>
            <a:off x="811859" y="2746125"/>
            <a:ext cx="1626826" cy="2419350"/>
            <a:chOff x="742198" y="2221005"/>
            <a:chExt cx="1523557" cy="2214378"/>
          </a:xfrm>
        </p:grpSpPr>
        <p:sp>
          <p:nvSpPr>
            <p:cNvPr id="247" name="Rectangle: Rounded Corners 246">
              <a:extLst>
                <a:ext uri="{FF2B5EF4-FFF2-40B4-BE49-F238E27FC236}">
                  <a16:creationId xmlns:a16="http://schemas.microsoft.com/office/drawing/2014/main" id="{5BD115E1-590E-EADD-2BA1-D43B2C3E1FFD}"/>
                </a:ext>
              </a:extLst>
            </p:cNvPr>
            <p:cNvSpPr>
              <a:spLocks/>
            </p:cNvSpPr>
            <p:nvPr/>
          </p:nvSpPr>
          <p:spPr>
            <a:xfrm>
              <a:off x="742198" y="2221005"/>
              <a:ext cx="1523557" cy="521188"/>
            </a:xfrm>
            <a:prstGeom prst="roundRect">
              <a:avLst>
                <a:gd name="adj" fmla="val 24900"/>
              </a:avLst>
            </a:prstGeom>
            <a:solidFill>
              <a:srgbClr val="FFF8F5">
                <a:lumMod val="90000"/>
              </a:srgbClr>
            </a:solidFill>
            <a:ln w="10795" cap="flat" cmpd="sng" algn="ctr">
              <a:noFill/>
              <a:prstDash val="solid"/>
            </a:ln>
            <a:effectLst>
              <a:outerShdw blurRad="190500" dist="76200" dir="3600000" sx="90000" sy="90000" algn="tr" rotWithShape="0">
                <a:srgbClr val="FFF8F5">
                  <a:lumMod val="50000"/>
                  <a:alpha val="1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91F2C"/>
                  </a:solidFill>
                  <a:effectLst/>
                  <a:uLnTx/>
                  <a:uFillTx/>
                  <a:latin typeface="Segoe Sans Display Semibold"/>
                  <a:ea typeface="+mn-ea"/>
                  <a:cs typeface="+mn-cs"/>
                </a:rPr>
                <a:t>Increase Online Sales</a:t>
              </a:r>
              <a:br>
                <a:rPr kumimoji="0" lang="en-US" sz="900" b="0" i="0" u="none" strike="noStrike" kern="1200" cap="none" spc="0" normalizeH="0" baseline="0" noProof="0">
                  <a:ln>
                    <a:noFill/>
                  </a:ln>
                  <a:solidFill>
                    <a:srgbClr val="091F2C"/>
                  </a:solidFill>
                  <a:effectLst/>
                  <a:uLnTx/>
                  <a:uFillTx/>
                  <a:latin typeface="Segoe Sans Display Semibold"/>
                  <a:ea typeface="+mn-ea"/>
                  <a:cs typeface="+mn-cs"/>
                </a:rPr>
              </a:br>
              <a:r>
                <a:rPr kumimoji="0" lang="en-US" sz="900" b="0" i="0" u="none" strike="noStrike" kern="1200" cap="none" spc="0" normalizeH="0" baseline="0" noProof="0">
                  <a:ln>
                    <a:noFill/>
                  </a:ln>
                  <a:solidFill>
                    <a:srgbClr val="091F2C"/>
                  </a:solidFill>
                  <a:effectLst/>
                  <a:uLnTx/>
                  <a:uFillTx/>
                  <a:latin typeface="Segoe Sans Display Semibold"/>
                  <a:ea typeface="+mn-ea"/>
                  <a:cs typeface="+mn-cs"/>
                </a:rPr>
                <a:t>By 25%</a:t>
              </a:r>
            </a:p>
          </p:txBody>
        </p:sp>
        <p:sp>
          <p:nvSpPr>
            <p:cNvPr id="248" name="Rectangle: Rounded Corners 247">
              <a:extLst>
                <a:ext uri="{FF2B5EF4-FFF2-40B4-BE49-F238E27FC236}">
                  <a16:creationId xmlns:a16="http://schemas.microsoft.com/office/drawing/2014/main" id="{51303383-2B2F-0D96-52EE-622E5CCBE99F}"/>
                </a:ext>
              </a:extLst>
            </p:cNvPr>
            <p:cNvSpPr>
              <a:spLocks/>
            </p:cNvSpPr>
            <p:nvPr/>
          </p:nvSpPr>
          <p:spPr>
            <a:xfrm>
              <a:off x="742198" y="2785402"/>
              <a:ext cx="1523557" cy="521188"/>
            </a:xfrm>
            <a:prstGeom prst="roundRect">
              <a:avLst>
                <a:gd name="adj" fmla="val 24900"/>
              </a:avLst>
            </a:prstGeom>
            <a:solidFill>
              <a:srgbClr val="FFF8F5">
                <a:lumMod val="90000"/>
              </a:srgbClr>
            </a:solidFill>
            <a:ln w="10795" cap="flat" cmpd="sng" algn="ctr">
              <a:noFill/>
              <a:prstDash val="solid"/>
            </a:ln>
            <a:effectLst>
              <a:outerShdw blurRad="190500" dist="76200" dir="3600000" sx="90000" sy="90000" algn="tr" rotWithShape="0">
                <a:srgbClr val="FFF8F5">
                  <a:lumMod val="50000"/>
                  <a:alpha val="1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91F2C"/>
                  </a:solidFill>
                  <a:effectLst/>
                  <a:uLnTx/>
                  <a:uFillTx/>
                  <a:latin typeface="Segoe Sans Display Semibold"/>
                  <a:ea typeface="+mn-ea"/>
                  <a:cs typeface="+mn-cs"/>
                </a:rPr>
                <a:t>Improve </a:t>
              </a:r>
              <a:r>
                <a:rPr kumimoji="0" lang="en-US" sz="900" b="0" i="0" u="none" strike="noStrike" kern="1200" cap="none" spc="0" normalizeH="0" baseline="0" noProof="0" err="1">
                  <a:ln>
                    <a:noFill/>
                  </a:ln>
                  <a:solidFill>
                    <a:srgbClr val="091F2C"/>
                  </a:solidFill>
                  <a:effectLst/>
                  <a:uLnTx/>
                  <a:uFillTx/>
                  <a:latin typeface="Segoe Sans Display Semibold"/>
                  <a:ea typeface="+mn-ea"/>
                  <a:cs typeface="+mn-cs"/>
                </a:rPr>
                <a:t>Csat</a:t>
              </a:r>
              <a:r>
                <a:rPr kumimoji="0" lang="en-US" sz="900" b="0" i="0" u="none" strike="noStrike" kern="1200" cap="none" spc="0" normalizeH="0" baseline="0" noProof="0">
                  <a:ln>
                    <a:noFill/>
                  </a:ln>
                  <a:solidFill>
                    <a:srgbClr val="091F2C"/>
                  </a:solidFill>
                  <a:effectLst/>
                  <a:uLnTx/>
                  <a:uFillTx/>
                  <a:latin typeface="Segoe Sans Display Semibold"/>
                  <a:ea typeface="+mn-ea"/>
                  <a:cs typeface="+mn-cs"/>
                </a:rPr>
                <a:t> Index</a:t>
              </a:r>
              <a:br>
                <a:rPr kumimoji="0" lang="en-US" sz="900" b="0" i="0" u="none" strike="noStrike" kern="1200" cap="none" spc="0" normalizeH="0" baseline="0" noProof="0">
                  <a:ln>
                    <a:noFill/>
                  </a:ln>
                  <a:solidFill>
                    <a:srgbClr val="091F2C"/>
                  </a:solidFill>
                  <a:effectLst/>
                  <a:uLnTx/>
                  <a:uFillTx/>
                  <a:latin typeface="Segoe Sans Display Semibold"/>
                  <a:ea typeface="+mn-ea"/>
                  <a:cs typeface="+mn-cs"/>
                </a:rPr>
              </a:br>
              <a:r>
                <a:rPr kumimoji="0" lang="en-US" sz="900" b="0" i="0" u="none" strike="noStrike" kern="1200" cap="none" spc="0" normalizeH="0" baseline="0" noProof="0">
                  <a:ln>
                    <a:noFill/>
                  </a:ln>
                  <a:solidFill>
                    <a:srgbClr val="091F2C"/>
                  </a:solidFill>
                  <a:effectLst/>
                  <a:uLnTx/>
                  <a:uFillTx/>
                  <a:latin typeface="Segoe Sans Display Semibold"/>
                  <a:ea typeface="+mn-ea"/>
                  <a:cs typeface="+mn-cs"/>
                </a:rPr>
                <a:t>By 5%</a:t>
              </a:r>
            </a:p>
          </p:txBody>
        </p:sp>
        <p:sp>
          <p:nvSpPr>
            <p:cNvPr id="249" name="Rectangle: Rounded Corners 248">
              <a:extLst>
                <a:ext uri="{FF2B5EF4-FFF2-40B4-BE49-F238E27FC236}">
                  <a16:creationId xmlns:a16="http://schemas.microsoft.com/office/drawing/2014/main" id="{CBBE8C83-B889-4846-1153-526D097FD500}"/>
                </a:ext>
              </a:extLst>
            </p:cNvPr>
            <p:cNvSpPr>
              <a:spLocks/>
            </p:cNvSpPr>
            <p:nvPr/>
          </p:nvSpPr>
          <p:spPr>
            <a:xfrm>
              <a:off x="742198" y="3349798"/>
              <a:ext cx="1523557" cy="521188"/>
            </a:xfrm>
            <a:prstGeom prst="roundRect">
              <a:avLst>
                <a:gd name="adj" fmla="val 24900"/>
              </a:avLst>
            </a:prstGeom>
            <a:solidFill>
              <a:srgbClr val="FFF8F5">
                <a:lumMod val="90000"/>
              </a:srgbClr>
            </a:solidFill>
            <a:ln w="10795" cap="flat" cmpd="sng" algn="ctr">
              <a:noFill/>
              <a:prstDash val="solid"/>
            </a:ln>
            <a:effectLst>
              <a:outerShdw blurRad="190500" dist="76200" dir="3600000" sx="90000" sy="90000" algn="tr" rotWithShape="0">
                <a:srgbClr val="FFF8F5">
                  <a:lumMod val="50000"/>
                  <a:alpha val="1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91F2C"/>
                  </a:solidFill>
                  <a:effectLst/>
                  <a:uLnTx/>
                  <a:uFillTx/>
                  <a:latin typeface="Segoe Sans Display Semibold"/>
                  <a:ea typeface="+mn-ea"/>
                  <a:cs typeface="+mn-cs"/>
                </a:rPr>
                <a:t>Reduce Customer</a:t>
              </a:r>
              <a:br>
                <a:rPr kumimoji="0" lang="en-US" sz="900" b="0" i="0" u="none" strike="noStrike" kern="1200" cap="none" spc="0" normalizeH="0" baseline="0" noProof="0">
                  <a:ln>
                    <a:noFill/>
                  </a:ln>
                  <a:solidFill>
                    <a:srgbClr val="091F2C"/>
                  </a:solidFill>
                  <a:effectLst/>
                  <a:uLnTx/>
                  <a:uFillTx/>
                  <a:latin typeface="Segoe Sans Display Semibold"/>
                  <a:ea typeface="+mn-ea"/>
                  <a:cs typeface="+mn-cs"/>
                </a:rPr>
              </a:br>
              <a:r>
                <a:rPr kumimoji="0" lang="en-US" sz="900" b="0" i="0" u="none" strike="noStrike" kern="1200" cap="none" spc="0" normalizeH="0" baseline="0" noProof="0">
                  <a:ln>
                    <a:noFill/>
                  </a:ln>
                  <a:solidFill>
                    <a:srgbClr val="091F2C"/>
                  </a:solidFill>
                  <a:effectLst/>
                  <a:uLnTx/>
                  <a:uFillTx/>
                  <a:latin typeface="Segoe Sans Display Semibold"/>
                  <a:ea typeface="+mn-ea"/>
                  <a:cs typeface="+mn-cs"/>
                </a:rPr>
                <a:t>Returns By 10%</a:t>
              </a:r>
              <a:endParaRPr kumimoji="0" lang="en-US" sz="20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50" name="Rectangle: Rounded Corners 249">
              <a:extLst>
                <a:ext uri="{FF2B5EF4-FFF2-40B4-BE49-F238E27FC236}">
                  <a16:creationId xmlns:a16="http://schemas.microsoft.com/office/drawing/2014/main" id="{D676DC00-B458-A15A-1D5F-47F58FD7FBB1}"/>
                </a:ext>
              </a:extLst>
            </p:cNvPr>
            <p:cNvSpPr>
              <a:spLocks/>
            </p:cNvSpPr>
            <p:nvPr/>
          </p:nvSpPr>
          <p:spPr>
            <a:xfrm>
              <a:off x="742198" y="3914195"/>
              <a:ext cx="1523557" cy="521188"/>
            </a:xfrm>
            <a:prstGeom prst="roundRect">
              <a:avLst>
                <a:gd name="adj" fmla="val 24900"/>
              </a:avLst>
            </a:prstGeom>
            <a:solidFill>
              <a:srgbClr val="FFF8F5">
                <a:lumMod val="90000"/>
              </a:srgbClr>
            </a:solidFill>
            <a:ln w="10795" cap="flat" cmpd="sng" algn="ctr">
              <a:noFill/>
              <a:prstDash val="solid"/>
            </a:ln>
            <a:effectLst>
              <a:outerShdw blurRad="190500" dist="76200" dir="3600000" sx="90000" sy="90000" algn="tr" rotWithShape="0">
                <a:srgbClr val="FFF8F5">
                  <a:lumMod val="50000"/>
                  <a:alpha val="1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91F2C"/>
                  </a:solidFill>
                  <a:effectLst/>
                  <a:uLnTx/>
                  <a:uFillTx/>
                  <a:latin typeface="Segoe Sans Display Semibold"/>
                  <a:ea typeface="+mn-ea"/>
                  <a:cs typeface="+mn-cs"/>
                </a:rPr>
                <a:t>Reduce Checkout Lines</a:t>
              </a:r>
            </a:p>
          </p:txBody>
        </p:sp>
      </p:grpSp>
      <p:sp>
        <p:nvSpPr>
          <p:cNvPr id="251" name="Rectangle: Rounded Corners 250">
            <a:extLst>
              <a:ext uri="{FF2B5EF4-FFF2-40B4-BE49-F238E27FC236}">
                <a16:creationId xmlns:a16="http://schemas.microsoft.com/office/drawing/2014/main" id="{DAAF3B23-5E10-9172-F17F-9AF45BE78791}"/>
              </a:ext>
            </a:extLst>
          </p:cNvPr>
          <p:cNvSpPr>
            <a:spLocks/>
          </p:cNvSpPr>
          <p:nvPr/>
        </p:nvSpPr>
        <p:spPr>
          <a:xfrm>
            <a:off x="5348189" y="3247209"/>
            <a:ext cx="424605" cy="213809"/>
          </a:xfrm>
          <a:prstGeom prst="roundRect">
            <a:avLst>
              <a:gd name="adj" fmla="val 32000"/>
            </a:avLst>
          </a:prstGeom>
          <a:solidFill>
            <a:srgbClr val="D4EC8E">
              <a:lumMod val="75000"/>
              <a:alpha val="44000"/>
            </a:srgbClr>
          </a:solid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lIns="45720" rIns="4572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91F2C"/>
                </a:solidFill>
                <a:effectLst/>
                <a:uLnTx/>
                <a:uFillTx/>
                <a:latin typeface="Segoe Sans Display Semibold"/>
                <a:ea typeface="+mn-ea"/>
                <a:cs typeface="+mn-cs"/>
              </a:rPr>
              <a:t>Pov</a:t>
            </a: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 1</a:t>
            </a:r>
          </a:p>
        </p:txBody>
      </p:sp>
      <p:sp>
        <p:nvSpPr>
          <p:cNvPr id="252" name="Rectangle: Rounded Corners 251">
            <a:extLst>
              <a:ext uri="{FF2B5EF4-FFF2-40B4-BE49-F238E27FC236}">
                <a16:creationId xmlns:a16="http://schemas.microsoft.com/office/drawing/2014/main" id="{1410F7C2-329B-A71D-6A5B-4037BA5BE715}"/>
              </a:ext>
            </a:extLst>
          </p:cNvPr>
          <p:cNvSpPr>
            <a:spLocks/>
          </p:cNvSpPr>
          <p:nvPr/>
        </p:nvSpPr>
        <p:spPr>
          <a:xfrm>
            <a:off x="5348189" y="3493570"/>
            <a:ext cx="424605" cy="213809"/>
          </a:xfrm>
          <a:prstGeom prst="roundRect">
            <a:avLst>
              <a:gd name="adj" fmla="val 32000"/>
            </a:avLst>
          </a:prstGeom>
          <a:solidFill>
            <a:srgbClr val="D4EC8E">
              <a:lumMod val="75000"/>
              <a:alpha val="44000"/>
            </a:srgbClr>
          </a:solid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lIns="45720" rIns="4572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91F2C"/>
                </a:solidFill>
                <a:effectLst/>
                <a:uLnTx/>
                <a:uFillTx/>
                <a:latin typeface="Segoe Sans Display Semibold"/>
                <a:ea typeface="+mn-ea"/>
                <a:cs typeface="+mn-cs"/>
              </a:rPr>
              <a:t>Pov</a:t>
            </a: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 2</a:t>
            </a:r>
          </a:p>
        </p:txBody>
      </p:sp>
      <p:sp>
        <p:nvSpPr>
          <p:cNvPr id="253" name="Rectangle: Rounded Corners 252">
            <a:extLst>
              <a:ext uri="{FF2B5EF4-FFF2-40B4-BE49-F238E27FC236}">
                <a16:creationId xmlns:a16="http://schemas.microsoft.com/office/drawing/2014/main" id="{3BDAE1B7-37C0-C0AB-2ABF-C709FA144B8D}"/>
              </a:ext>
            </a:extLst>
          </p:cNvPr>
          <p:cNvSpPr>
            <a:spLocks/>
          </p:cNvSpPr>
          <p:nvPr/>
        </p:nvSpPr>
        <p:spPr>
          <a:xfrm>
            <a:off x="5348189" y="3739930"/>
            <a:ext cx="424605" cy="213809"/>
          </a:xfrm>
          <a:prstGeom prst="roundRect">
            <a:avLst>
              <a:gd name="adj" fmla="val 32000"/>
            </a:avLst>
          </a:prstGeom>
          <a:solidFill>
            <a:srgbClr val="D4EC8E">
              <a:lumMod val="75000"/>
              <a:alpha val="44000"/>
            </a:srgbClr>
          </a:solid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lIns="45720" rIns="4572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91F2C"/>
                </a:solidFill>
                <a:effectLst/>
                <a:uLnTx/>
                <a:uFillTx/>
                <a:latin typeface="Segoe Sans Display Semibold"/>
                <a:ea typeface="+mn-ea"/>
                <a:cs typeface="+mn-cs"/>
              </a:rPr>
              <a:t>Pov</a:t>
            </a: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 3</a:t>
            </a:r>
          </a:p>
        </p:txBody>
      </p:sp>
      <p:sp>
        <p:nvSpPr>
          <p:cNvPr id="254" name="Rectangle: Rounded Corners 253">
            <a:extLst>
              <a:ext uri="{FF2B5EF4-FFF2-40B4-BE49-F238E27FC236}">
                <a16:creationId xmlns:a16="http://schemas.microsoft.com/office/drawing/2014/main" id="{CE786A37-3880-76E2-B6B8-E07B3200F141}"/>
              </a:ext>
            </a:extLst>
          </p:cNvPr>
          <p:cNvSpPr>
            <a:spLocks/>
          </p:cNvSpPr>
          <p:nvPr/>
        </p:nvSpPr>
        <p:spPr>
          <a:xfrm>
            <a:off x="5348189" y="3978553"/>
            <a:ext cx="424605" cy="213809"/>
          </a:xfrm>
          <a:prstGeom prst="roundRect">
            <a:avLst>
              <a:gd name="adj" fmla="val 32000"/>
            </a:avLst>
          </a:prstGeom>
          <a:solidFill>
            <a:srgbClr val="0078D4">
              <a:lumMod val="75000"/>
            </a:srgbClr>
          </a:solidFill>
          <a:ln w="6694" cap="flat" cmpd="sng" algn="ctr">
            <a:solidFill>
              <a:srgbClr val="FFFFFF"/>
            </a:solidFill>
            <a:prstDash val="solid"/>
            <a:miter/>
          </a:ln>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FFFFFF"/>
                </a:solidFill>
                <a:effectLst/>
                <a:uLnTx/>
                <a:uFillTx/>
                <a:latin typeface="Segoe Sans Display Semibold"/>
                <a:ea typeface="+mn-ea"/>
                <a:cs typeface="+mn-cs"/>
              </a:rPr>
              <a:t>Pov</a:t>
            </a:r>
            <a:r>
              <a:rPr kumimoji="0" lang="en-US" sz="800" b="0" i="0" u="none" strike="noStrike" kern="1200" cap="none" spc="0" normalizeH="0" baseline="0" noProof="0">
                <a:ln>
                  <a:noFill/>
                </a:ln>
                <a:solidFill>
                  <a:srgbClr val="FFFFFF"/>
                </a:solidFill>
                <a:effectLst/>
                <a:uLnTx/>
                <a:uFillTx/>
                <a:latin typeface="Segoe Sans Display Semibold"/>
                <a:ea typeface="+mn-ea"/>
                <a:cs typeface="+mn-cs"/>
              </a:rPr>
              <a:t> 4</a:t>
            </a:r>
          </a:p>
        </p:txBody>
      </p:sp>
      <p:sp>
        <p:nvSpPr>
          <p:cNvPr id="255" name="Rectangle: Rounded Corners 254">
            <a:extLst>
              <a:ext uri="{FF2B5EF4-FFF2-40B4-BE49-F238E27FC236}">
                <a16:creationId xmlns:a16="http://schemas.microsoft.com/office/drawing/2014/main" id="{82C76B4D-3518-586C-E8D0-1F4A61A1A194}"/>
              </a:ext>
            </a:extLst>
          </p:cNvPr>
          <p:cNvSpPr>
            <a:spLocks/>
          </p:cNvSpPr>
          <p:nvPr/>
        </p:nvSpPr>
        <p:spPr>
          <a:xfrm>
            <a:off x="5348189" y="4217175"/>
            <a:ext cx="424605" cy="213809"/>
          </a:xfrm>
          <a:prstGeom prst="roundRect">
            <a:avLst>
              <a:gd name="adj" fmla="val 32000"/>
            </a:avLst>
          </a:prstGeom>
          <a:solidFill>
            <a:srgbClr val="0078D4">
              <a:lumMod val="75000"/>
            </a:srgbClr>
          </a:solidFill>
          <a:ln w="6694" cap="flat" cmpd="sng" algn="ctr">
            <a:solidFill>
              <a:srgbClr val="FFFFFF"/>
            </a:solidFill>
            <a:prstDash val="solid"/>
            <a:miter/>
          </a:ln>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FFFFFF"/>
                </a:solidFill>
                <a:effectLst/>
                <a:uLnTx/>
                <a:uFillTx/>
                <a:latin typeface="Segoe Sans Display Semibold"/>
                <a:ea typeface="+mn-ea"/>
                <a:cs typeface="+mn-cs"/>
              </a:rPr>
              <a:t>Pov</a:t>
            </a:r>
            <a:r>
              <a:rPr kumimoji="0" lang="en-US" sz="800" b="0" i="0" u="none" strike="noStrike" kern="1200" cap="none" spc="0" normalizeH="0" baseline="0" noProof="0">
                <a:ln>
                  <a:noFill/>
                </a:ln>
                <a:solidFill>
                  <a:srgbClr val="FFFFFF"/>
                </a:solidFill>
                <a:effectLst/>
                <a:uLnTx/>
                <a:uFillTx/>
                <a:latin typeface="Segoe Sans Display Semibold"/>
                <a:ea typeface="+mn-ea"/>
                <a:cs typeface="+mn-cs"/>
              </a:rPr>
              <a:t> 5</a:t>
            </a:r>
          </a:p>
        </p:txBody>
      </p:sp>
      <p:sp>
        <p:nvSpPr>
          <p:cNvPr id="256" name="Rectangle: Rounded Corners 255">
            <a:extLst>
              <a:ext uri="{FF2B5EF4-FFF2-40B4-BE49-F238E27FC236}">
                <a16:creationId xmlns:a16="http://schemas.microsoft.com/office/drawing/2014/main" id="{CAFB2A8A-3FDB-31A0-A1DB-2444642F9A23}"/>
              </a:ext>
            </a:extLst>
          </p:cNvPr>
          <p:cNvSpPr>
            <a:spLocks/>
          </p:cNvSpPr>
          <p:nvPr/>
        </p:nvSpPr>
        <p:spPr>
          <a:xfrm>
            <a:off x="5348189" y="4455796"/>
            <a:ext cx="424605" cy="213809"/>
          </a:xfrm>
          <a:prstGeom prst="roundRect">
            <a:avLst>
              <a:gd name="adj" fmla="val 32000"/>
            </a:avLst>
          </a:prstGeom>
          <a:solidFill>
            <a:srgbClr val="0078D4">
              <a:lumMod val="75000"/>
            </a:srgbClr>
          </a:solidFill>
          <a:ln w="6694" cap="flat" cmpd="sng" algn="ctr">
            <a:solidFill>
              <a:srgbClr val="FFFFFF"/>
            </a:solidFill>
            <a:prstDash val="solid"/>
            <a:miter/>
          </a:ln>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FFFFFF"/>
                </a:solidFill>
                <a:effectLst/>
                <a:uLnTx/>
                <a:uFillTx/>
                <a:latin typeface="Segoe Sans Display Semibold"/>
                <a:ea typeface="+mn-ea"/>
                <a:cs typeface="+mn-cs"/>
              </a:rPr>
              <a:t>Pov</a:t>
            </a:r>
            <a:r>
              <a:rPr kumimoji="0" lang="en-US" sz="800" b="0" i="0" u="none" strike="noStrike" kern="1200" cap="none" spc="0" normalizeH="0" baseline="0" noProof="0">
                <a:ln>
                  <a:noFill/>
                </a:ln>
                <a:solidFill>
                  <a:srgbClr val="FFFFFF"/>
                </a:solidFill>
                <a:effectLst/>
                <a:uLnTx/>
                <a:uFillTx/>
                <a:latin typeface="Segoe Sans Display Semibold"/>
                <a:ea typeface="+mn-ea"/>
                <a:cs typeface="+mn-cs"/>
              </a:rPr>
              <a:t> 6</a:t>
            </a:r>
          </a:p>
        </p:txBody>
      </p:sp>
      <p:grpSp>
        <p:nvGrpSpPr>
          <p:cNvPr id="257" name="Group 256">
            <a:extLst>
              <a:ext uri="{FF2B5EF4-FFF2-40B4-BE49-F238E27FC236}">
                <a16:creationId xmlns:a16="http://schemas.microsoft.com/office/drawing/2014/main" id="{8CFE0032-643C-78DA-AD40-C81CD8A01242}"/>
              </a:ext>
            </a:extLst>
          </p:cNvPr>
          <p:cNvGrpSpPr/>
          <p:nvPr/>
        </p:nvGrpSpPr>
        <p:grpSpPr>
          <a:xfrm>
            <a:off x="2628221" y="3217881"/>
            <a:ext cx="855704" cy="1480856"/>
            <a:chOff x="2549789" y="2552982"/>
            <a:chExt cx="855704" cy="1480856"/>
          </a:xfrm>
          <a:solidFill>
            <a:srgbClr val="D4EC8E">
              <a:lumMod val="75000"/>
              <a:alpha val="27000"/>
            </a:srgbClr>
          </a:solidFill>
        </p:grpSpPr>
        <p:sp>
          <p:nvSpPr>
            <p:cNvPr id="258" name="Oval 257">
              <a:extLst>
                <a:ext uri="{FF2B5EF4-FFF2-40B4-BE49-F238E27FC236}">
                  <a16:creationId xmlns:a16="http://schemas.microsoft.com/office/drawing/2014/main" id="{A99A2137-8F84-5B40-6F03-E6594F85786F}"/>
                </a:ext>
              </a:extLst>
            </p:cNvPr>
            <p:cNvSpPr>
              <a:spLocks/>
            </p:cNvSpPr>
            <p:nvPr/>
          </p:nvSpPr>
          <p:spPr>
            <a:xfrm>
              <a:off x="2592231" y="2552982"/>
              <a:ext cx="248600" cy="252904"/>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59" name="Oval 258">
              <a:extLst>
                <a:ext uri="{FF2B5EF4-FFF2-40B4-BE49-F238E27FC236}">
                  <a16:creationId xmlns:a16="http://schemas.microsoft.com/office/drawing/2014/main" id="{9C5333C0-7AE1-0009-3C4C-A6CB2FE45C13}"/>
                </a:ext>
              </a:extLst>
            </p:cNvPr>
            <p:cNvSpPr>
              <a:spLocks/>
            </p:cNvSpPr>
            <p:nvPr/>
          </p:nvSpPr>
          <p:spPr>
            <a:xfrm>
              <a:off x="2869027" y="2559844"/>
              <a:ext cx="284670" cy="289598"/>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0" name="Oval 259">
              <a:extLst>
                <a:ext uri="{FF2B5EF4-FFF2-40B4-BE49-F238E27FC236}">
                  <a16:creationId xmlns:a16="http://schemas.microsoft.com/office/drawing/2014/main" id="{AC91525B-B360-1DB4-12DD-F78EE6DD43EF}"/>
                </a:ext>
              </a:extLst>
            </p:cNvPr>
            <p:cNvSpPr>
              <a:spLocks/>
            </p:cNvSpPr>
            <p:nvPr/>
          </p:nvSpPr>
          <p:spPr>
            <a:xfrm>
              <a:off x="2690039" y="2986001"/>
              <a:ext cx="169842" cy="172782"/>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1" name="Oval 260">
              <a:extLst>
                <a:ext uri="{FF2B5EF4-FFF2-40B4-BE49-F238E27FC236}">
                  <a16:creationId xmlns:a16="http://schemas.microsoft.com/office/drawing/2014/main" id="{5A79990E-AF12-AA19-C958-DA01CFCA8AE0}"/>
                </a:ext>
              </a:extLst>
            </p:cNvPr>
            <p:cNvSpPr>
              <a:spLocks/>
            </p:cNvSpPr>
            <p:nvPr/>
          </p:nvSpPr>
          <p:spPr>
            <a:xfrm>
              <a:off x="3045773" y="3026569"/>
              <a:ext cx="223444" cy="227312"/>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2" name="Oval 261">
              <a:extLst>
                <a:ext uri="{FF2B5EF4-FFF2-40B4-BE49-F238E27FC236}">
                  <a16:creationId xmlns:a16="http://schemas.microsoft.com/office/drawing/2014/main" id="{EAD69B22-BD6A-026F-B39C-A6969877BBB5}"/>
                </a:ext>
              </a:extLst>
            </p:cNvPr>
            <p:cNvSpPr>
              <a:spLocks/>
            </p:cNvSpPr>
            <p:nvPr/>
          </p:nvSpPr>
          <p:spPr>
            <a:xfrm>
              <a:off x="3108106" y="2652713"/>
              <a:ext cx="246202" cy="250464"/>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3" name="Oval 262">
              <a:extLst>
                <a:ext uri="{FF2B5EF4-FFF2-40B4-BE49-F238E27FC236}">
                  <a16:creationId xmlns:a16="http://schemas.microsoft.com/office/drawing/2014/main" id="{C7F78C4C-465E-8024-3D44-DB0D98BE85C1}"/>
                </a:ext>
              </a:extLst>
            </p:cNvPr>
            <p:cNvSpPr>
              <a:spLocks/>
            </p:cNvSpPr>
            <p:nvPr/>
          </p:nvSpPr>
          <p:spPr>
            <a:xfrm>
              <a:off x="2549789" y="3197030"/>
              <a:ext cx="311574" cy="316968"/>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4" name="Oval 263">
              <a:extLst>
                <a:ext uri="{FF2B5EF4-FFF2-40B4-BE49-F238E27FC236}">
                  <a16:creationId xmlns:a16="http://schemas.microsoft.com/office/drawing/2014/main" id="{518DD4DD-7696-8AE8-D671-87377C16FBFD}"/>
                </a:ext>
              </a:extLst>
            </p:cNvPr>
            <p:cNvSpPr>
              <a:spLocks/>
            </p:cNvSpPr>
            <p:nvPr/>
          </p:nvSpPr>
          <p:spPr>
            <a:xfrm>
              <a:off x="2636788" y="2647343"/>
              <a:ext cx="404068" cy="411062"/>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5" name="Oval 264">
              <a:extLst>
                <a:ext uri="{FF2B5EF4-FFF2-40B4-BE49-F238E27FC236}">
                  <a16:creationId xmlns:a16="http://schemas.microsoft.com/office/drawing/2014/main" id="{B240AF51-8EC5-2098-5689-851BD69CCC9B}"/>
                </a:ext>
              </a:extLst>
            </p:cNvPr>
            <p:cNvSpPr>
              <a:spLocks/>
            </p:cNvSpPr>
            <p:nvPr/>
          </p:nvSpPr>
          <p:spPr>
            <a:xfrm>
              <a:off x="2824923" y="2886773"/>
              <a:ext cx="282608" cy="287500"/>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6" name="Oval 265">
              <a:extLst>
                <a:ext uri="{FF2B5EF4-FFF2-40B4-BE49-F238E27FC236}">
                  <a16:creationId xmlns:a16="http://schemas.microsoft.com/office/drawing/2014/main" id="{1E6606A4-0E29-F830-985C-9EA9B764DA60}"/>
                </a:ext>
              </a:extLst>
            </p:cNvPr>
            <p:cNvSpPr>
              <a:spLocks/>
            </p:cNvSpPr>
            <p:nvPr/>
          </p:nvSpPr>
          <p:spPr>
            <a:xfrm>
              <a:off x="3011419" y="3236831"/>
              <a:ext cx="311574" cy="316968"/>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7" name="Oval 266">
              <a:extLst>
                <a:ext uri="{FF2B5EF4-FFF2-40B4-BE49-F238E27FC236}">
                  <a16:creationId xmlns:a16="http://schemas.microsoft.com/office/drawing/2014/main" id="{F9858DA8-67BE-8018-8A89-C662239AB2E4}"/>
                </a:ext>
              </a:extLst>
            </p:cNvPr>
            <p:cNvSpPr>
              <a:spLocks/>
            </p:cNvSpPr>
            <p:nvPr/>
          </p:nvSpPr>
          <p:spPr>
            <a:xfrm>
              <a:off x="2820966" y="3195891"/>
              <a:ext cx="238940" cy="243076"/>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8" name="Oval 267">
              <a:extLst>
                <a:ext uri="{FF2B5EF4-FFF2-40B4-BE49-F238E27FC236}">
                  <a16:creationId xmlns:a16="http://schemas.microsoft.com/office/drawing/2014/main" id="{7DF926CA-2498-C535-C42F-915A1C02A54D}"/>
                </a:ext>
              </a:extLst>
            </p:cNvPr>
            <p:cNvSpPr>
              <a:spLocks/>
            </p:cNvSpPr>
            <p:nvPr/>
          </p:nvSpPr>
          <p:spPr>
            <a:xfrm>
              <a:off x="2842512" y="3740098"/>
              <a:ext cx="160244" cy="163018"/>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9" name="Oval 268">
              <a:extLst>
                <a:ext uri="{FF2B5EF4-FFF2-40B4-BE49-F238E27FC236}">
                  <a16:creationId xmlns:a16="http://schemas.microsoft.com/office/drawing/2014/main" id="{E0D8B7EE-66C9-BC19-ACC8-BFD2B6D42BF7}"/>
                </a:ext>
              </a:extLst>
            </p:cNvPr>
            <p:cNvSpPr>
              <a:spLocks/>
            </p:cNvSpPr>
            <p:nvPr/>
          </p:nvSpPr>
          <p:spPr>
            <a:xfrm>
              <a:off x="3153468" y="3477840"/>
              <a:ext cx="213620" cy="217318"/>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0" name="Oval 269">
              <a:extLst>
                <a:ext uri="{FF2B5EF4-FFF2-40B4-BE49-F238E27FC236}">
                  <a16:creationId xmlns:a16="http://schemas.microsoft.com/office/drawing/2014/main" id="{2E060900-0157-F4AB-23B5-8B4DB5671BB0}"/>
                </a:ext>
              </a:extLst>
            </p:cNvPr>
            <p:cNvSpPr>
              <a:spLocks/>
            </p:cNvSpPr>
            <p:nvPr/>
          </p:nvSpPr>
          <p:spPr>
            <a:xfrm>
              <a:off x="2816534" y="3357126"/>
              <a:ext cx="402916" cy="409892"/>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1" name="Oval 270">
              <a:extLst>
                <a:ext uri="{FF2B5EF4-FFF2-40B4-BE49-F238E27FC236}">
                  <a16:creationId xmlns:a16="http://schemas.microsoft.com/office/drawing/2014/main" id="{4B7C6442-7B4E-8165-CE5F-F34602B82722}"/>
                </a:ext>
              </a:extLst>
            </p:cNvPr>
            <p:cNvSpPr>
              <a:spLocks/>
            </p:cNvSpPr>
            <p:nvPr/>
          </p:nvSpPr>
          <p:spPr>
            <a:xfrm>
              <a:off x="2663082" y="3489590"/>
              <a:ext cx="246806" cy="251078"/>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2" name="Oval 271">
              <a:extLst>
                <a:ext uri="{FF2B5EF4-FFF2-40B4-BE49-F238E27FC236}">
                  <a16:creationId xmlns:a16="http://schemas.microsoft.com/office/drawing/2014/main" id="{93157C80-0DD8-9DB0-92D0-41F360BF73F6}"/>
                </a:ext>
              </a:extLst>
            </p:cNvPr>
            <p:cNvSpPr>
              <a:spLocks/>
            </p:cNvSpPr>
            <p:nvPr/>
          </p:nvSpPr>
          <p:spPr>
            <a:xfrm>
              <a:off x="2693106" y="3823666"/>
              <a:ext cx="206595" cy="210172"/>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3" name="Oval 272">
              <a:extLst>
                <a:ext uri="{FF2B5EF4-FFF2-40B4-BE49-F238E27FC236}">
                  <a16:creationId xmlns:a16="http://schemas.microsoft.com/office/drawing/2014/main" id="{79E3BEFC-76D1-8A4D-1DB4-DA9365529841}"/>
                </a:ext>
              </a:extLst>
            </p:cNvPr>
            <p:cNvSpPr>
              <a:spLocks/>
            </p:cNvSpPr>
            <p:nvPr/>
          </p:nvSpPr>
          <p:spPr>
            <a:xfrm>
              <a:off x="3176159" y="3800475"/>
              <a:ext cx="229334" cy="233304"/>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4" name="Oval 273">
              <a:extLst>
                <a:ext uri="{FF2B5EF4-FFF2-40B4-BE49-F238E27FC236}">
                  <a16:creationId xmlns:a16="http://schemas.microsoft.com/office/drawing/2014/main" id="{AE8FFEB0-A15C-5F68-21F4-8179B8597D8C}"/>
                </a:ext>
              </a:extLst>
            </p:cNvPr>
            <p:cNvSpPr>
              <a:spLocks/>
            </p:cNvSpPr>
            <p:nvPr/>
          </p:nvSpPr>
          <p:spPr>
            <a:xfrm>
              <a:off x="2943100" y="3645613"/>
              <a:ext cx="311574" cy="316968"/>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75" name="Rectangle: Rounded Corners 274">
            <a:extLst>
              <a:ext uri="{FF2B5EF4-FFF2-40B4-BE49-F238E27FC236}">
                <a16:creationId xmlns:a16="http://schemas.microsoft.com/office/drawing/2014/main" id="{BFBDAEEC-5D5C-23C1-9E27-E8A274A6D08B}"/>
              </a:ext>
            </a:extLst>
          </p:cNvPr>
          <p:cNvSpPr>
            <a:spLocks/>
          </p:cNvSpPr>
          <p:nvPr/>
        </p:nvSpPr>
        <p:spPr>
          <a:xfrm>
            <a:off x="3677552" y="3606403"/>
            <a:ext cx="1286330" cy="213809"/>
          </a:xfrm>
          <a:prstGeom prst="roundRect">
            <a:avLst>
              <a:gd name="adj" fmla="val 50000"/>
            </a:avLst>
          </a:prstGeom>
          <a:solidFill>
            <a:srgbClr val="FFFFFF"/>
          </a:solidFill>
          <a:ln w="10795" cap="flat" cmpd="sng" algn="ctr">
            <a:noFill/>
            <a:prstDash val="solid"/>
          </a:ln>
          <a:effectLst/>
        </p:spPr>
        <p:txBody>
          <a:bodyPr lIns="457200" rIns="9144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High Biz Value</a:t>
            </a:r>
          </a:p>
        </p:txBody>
      </p:sp>
      <p:grpSp>
        <p:nvGrpSpPr>
          <p:cNvPr id="276" name="Group 275">
            <a:extLst>
              <a:ext uri="{FF2B5EF4-FFF2-40B4-BE49-F238E27FC236}">
                <a16:creationId xmlns:a16="http://schemas.microsoft.com/office/drawing/2014/main" id="{4C2AB1AD-E122-E6B3-8AEF-6DDC2CA86F1F}"/>
              </a:ext>
            </a:extLst>
          </p:cNvPr>
          <p:cNvGrpSpPr/>
          <p:nvPr/>
        </p:nvGrpSpPr>
        <p:grpSpPr>
          <a:xfrm>
            <a:off x="3723387" y="3652650"/>
            <a:ext cx="377637" cy="121314"/>
            <a:chOff x="3545130" y="3554408"/>
            <a:chExt cx="407695" cy="130970"/>
          </a:xfrm>
          <a:solidFill>
            <a:srgbClr val="D4EC8E">
              <a:lumMod val="75000"/>
              <a:alpha val="54000"/>
            </a:srgbClr>
          </a:solidFill>
        </p:grpSpPr>
        <p:sp>
          <p:nvSpPr>
            <p:cNvPr id="277" name="Oval 276">
              <a:extLst>
                <a:ext uri="{FF2B5EF4-FFF2-40B4-BE49-F238E27FC236}">
                  <a16:creationId xmlns:a16="http://schemas.microsoft.com/office/drawing/2014/main" id="{71BE0EF1-22A5-52E2-C0F9-DA7FFE037B4D}"/>
                </a:ext>
              </a:extLst>
            </p:cNvPr>
            <p:cNvSpPr>
              <a:spLocks/>
            </p:cNvSpPr>
            <p:nvPr/>
          </p:nvSpPr>
          <p:spPr>
            <a:xfrm>
              <a:off x="3545130" y="3554408"/>
              <a:ext cx="128742" cy="130970"/>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8" name="Oval 277">
              <a:extLst>
                <a:ext uri="{FF2B5EF4-FFF2-40B4-BE49-F238E27FC236}">
                  <a16:creationId xmlns:a16="http://schemas.microsoft.com/office/drawing/2014/main" id="{955537C2-18DB-8ECD-1342-6FBBE955322F}"/>
                </a:ext>
              </a:extLst>
            </p:cNvPr>
            <p:cNvSpPr>
              <a:spLocks/>
            </p:cNvSpPr>
            <p:nvPr/>
          </p:nvSpPr>
          <p:spPr>
            <a:xfrm>
              <a:off x="3684607" y="3554408"/>
              <a:ext cx="128742" cy="130970"/>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9" name="Oval 278">
              <a:extLst>
                <a:ext uri="{FF2B5EF4-FFF2-40B4-BE49-F238E27FC236}">
                  <a16:creationId xmlns:a16="http://schemas.microsoft.com/office/drawing/2014/main" id="{56880504-5801-B00B-4EB1-86CCAC372A7D}"/>
                </a:ext>
              </a:extLst>
            </p:cNvPr>
            <p:cNvSpPr>
              <a:spLocks/>
            </p:cNvSpPr>
            <p:nvPr/>
          </p:nvSpPr>
          <p:spPr>
            <a:xfrm>
              <a:off x="3824083" y="3554408"/>
              <a:ext cx="128742" cy="130970"/>
            </a:xfrm>
            <a:prstGeom prst="ellipse">
              <a:avLst/>
            </a:prstGeom>
            <a:grpFill/>
            <a:ln w="6694" cap="flat" cmpd="sng" algn="ctr">
              <a:solidFill>
                <a:srgbClr val="FFFFFF"/>
              </a:solidFill>
              <a:prstDash val="solid"/>
              <a:miter/>
            </a:ln>
            <a:effectLst>
              <a:outerShdw blurRad="88900" dist="101600" dir="2700000" sx="80000" sy="80000" algn="tl" rotWithShape="0">
                <a:srgbClr val="702573">
                  <a:lumMod val="75000"/>
                  <a:alpha val="30000"/>
                </a:srgbClr>
              </a:outerShdw>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80" name="Rectangle: Rounded Corners 279">
            <a:extLst>
              <a:ext uri="{FF2B5EF4-FFF2-40B4-BE49-F238E27FC236}">
                <a16:creationId xmlns:a16="http://schemas.microsoft.com/office/drawing/2014/main" id="{4859C38A-9BFC-073B-D13A-59A04FEAC43C}"/>
              </a:ext>
            </a:extLst>
          </p:cNvPr>
          <p:cNvSpPr>
            <a:spLocks/>
          </p:cNvSpPr>
          <p:nvPr/>
        </p:nvSpPr>
        <p:spPr>
          <a:xfrm>
            <a:off x="3677552" y="3852763"/>
            <a:ext cx="1286330" cy="213809"/>
          </a:xfrm>
          <a:prstGeom prst="roundRect">
            <a:avLst>
              <a:gd name="adj" fmla="val 50000"/>
            </a:avLst>
          </a:prstGeom>
          <a:solidFill>
            <a:srgbClr val="FFFFFF"/>
          </a:solidFill>
          <a:ln w="10795" cap="flat" cmpd="sng" algn="ctr">
            <a:noFill/>
            <a:prstDash val="solid"/>
          </a:ln>
          <a:effectLst/>
        </p:spPr>
        <p:txBody>
          <a:bodyPr lIns="457200" rIns="9144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Low Biz Value</a:t>
            </a:r>
          </a:p>
        </p:txBody>
      </p:sp>
      <p:grpSp>
        <p:nvGrpSpPr>
          <p:cNvPr id="281" name="Group 280">
            <a:extLst>
              <a:ext uri="{FF2B5EF4-FFF2-40B4-BE49-F238E27FC236}">
                <a16:creationId xmlns:a16="http://schemas.microsoft.com/office/drawing/2014/main" id="{ED27A8DC-4308-0817-19E1-1BB2F9E1FC31}"/>
              </a:ext>
            </a:extLst>
          </p:cNvPr>
          <p:cNvGrpSpPr/>
          <p:nvPr/>
        </p:nvGrpSpPr>
        <p:grpSpPr>
          <a:xfrm>
            <a:off x="3723387" y="3899010"/>
            <a:ext cx="377637" cy="121314"/>
            <a:chOff x="3545130" y="3800768"/>
            <a:chExt cx="407695" cy="130970"/>
          </a:xfrm>
          <a:solidFill>
            <a:srgbClr val="0078D4">
              <a:lumMod val="75000"/>
            </a:srgbClr>
          </a:solidFill>
        </p:grpSpPr>
        <p:sp>
          <p:nvSpPr>
            <p:cNvPr id="282" name="Oval 281">
              <a:extLst>
                <a:ext uri="{FF2B5EF4-FFF2-40B4-BE49-F238E27FC236}">
                  <a16:creationId xmlns:a16="http://schemas.microsoft.com/office/drawing/2014/main" id="{A15C4888-A72A-2CFB-C081-7838A01C514D}"/>
                </a:ext>
              </a:extLst>
            </p:cNvPr>
            <p:cNvSpPr>
              <a:spLocks/>
            </p:cNvSpPr>
            <p:nvPr/>
          </p:nvSpPr>
          <p:spPr>
            <a:xfrm>
              <a:off x="3545130" y="3800768"/>
              <a:ext cx="128742" cy="130970"/>
            </a:xfrm>
            <a:prstGeom prst="ellipse">
              <a:avLst/>
            </a:prstGeom>
            <a:grpFill/>
            <a:ln w="6694" cap="flat" cmpd="sng" algn="ctr">
              <a:solidFill>
                <a:srgbClr val="FFFFFF"/>
              </a:solidFill>
              <a:prstDash val="solid"/>
              <a:miter/>
            </a:ln>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3" name="Oval 282">
              <a:extLst>
                <a:ext uri="{FF2B5EF4-FFF2-40B4-BE49-F238E27FC236}">
                  <a16:creationId xmlns:a16="http://schemas.microsoft.com/office/drawing/2014/main" id="{FB660E5A-967E-ABD2-7316-3E61E6EEE720}"/>
                </a:ext>
              </a:extLst>
            </p:cNvPr>
            <p:cNvSpPr>
              <a:spLocks/>
            </p:cNvSpPr>
            <p:nvPr/>
          </p:nvSpPr>
          <p:spPr>
            <a:xfrm>
              <a:off x="3684607" y="3800768"/>
              <a:ext cx="128742" cy="130970"/>
            </a:xfrm>
            <a:prstGeom prst="ellipse">
              <a:avLst/>
            </a:prstGeom>
            <a:grpFill/>
            <a:ln w="6694" cap="flat" cmpd="sng" algn="ctr">
              <a:solidFill>
                <a:srgbClr val="FFFFFF"/>
              </a:solidFill>
              <a:prstDash val="solid"/>
              <a:miter/>
            </a:ln>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4" name="Oval 283">
              <a:extLst>
                <a:ext uri="{FF2B5EF4-FFF2-40B4-BE49-F238E27FC236}">
                  <a16:creationId xmlns:a16="http://schemas.microsoft.com/office/drawing/2014/main" id="{69955F06-8E9F-8A59-B425-5315CAA42DA0}"/>
                </a:ext>
              </a:extLst>
            </p:cNvPr>
            <p:cNvSpPr>
              <a:spLocks/>
            </p:cNvSpPr>
            <p:nvPr/>
          </p:nvSpPr>
          <p:spPr>
            <a:xfrm>
              <a:off x="3824083" y="3800768"/>
              <a:ext cx="128742" cy="130970"/>
            </a:xfrm>
            <a:prstGeom prst="ellipse">
              <a:avLst/>
            </a:prstGeom>
            <a:grpFill/>
            <a:ln w="6694" cap="flat" cmpd="sng" algn="ctr">
              <a:solidFill>
                <a:srgbClr val="FFFFFF"/>
              </a:solidFill>
              <a:prstDash val="solid"/>
              <a:miter/>
            </a:ln>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85" name="Rectangle: Rounded Corners 284">
            <a:extLst>
              <a:ext uri="{FF2B5EF4-FFF2-40B4-BE49-F238E27FC236}">
                <a16:creationId xmlns:a16="http://schemas.microsoft.com/office/drawing/2014/main" id="{3C155CEE-D8BB-8B0E-2452-95F10D6A0F96}"/>
              </a:ext>
            </a:extLst>
          </p:cNvPr>
          <p:cNvSpPr>
            <a:spLocks/>
          </p:cNvSpPr>
          <p:nvPr/>
        </p:nvSpPr>
        <p:spPr>
          <a:xfrm>
            <a:off x="3677552" y="4091386"/>
            <a:ext cx="1286330" cy="213809"/>
          </a:xfrm>
          <a:prstGeom prst="roundRect">
            <a:avLst>
              <a:gd name="adj" fmla="val 50000"/>
            </a:avLst>
          </a:prstGeom>
          <a:solidFill>
            <a:srgbClr val="FFFFFF"/>
          </a:solidFill>
          <a:ln w="10795" cap="flat" cmpd="sng" algn="ctr">
            <a:noFill/>
            <a:prstDash val="solid"/>
          </a:ln>
          <a:effectLst/>
        </p:spPr>
        <p:txBody>
          <a:bodyPr lIns="457200" rIns="9144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De-prioritized</a:t>
            </a:r>
          </a:p>
        </p:txBody>
      </p:sp>
      <p:sp>
        <p:nvSpPr>
          <p:cNvPr id="286" name="Oval 285">
            <a:extLst>
              <a:ext uri="{FF2B5EF4-FFF2-40B4-BE49-F238E27FC236}">
                <a16:creationId xmlns:a16="http://schemas.microsoft.com/office/drawing/2014/main" id="{9BC2728B-C8FF-09E8-C2D9-FF8F4200819D}"/>
              </a:ext>
            </a:extLst>
          </p:cNvPr>
          <p:cNvSpPr>
            <a:spLocks/>
          </p:cNvSpPr>
          <p:nvPr/>
        </p:nvSpPr>
        <p:spPr>
          <a:xfrm>
            <a:off x="3723389" y="4137633"/>
            <a:ext cx="119250" cy="121314"/>
          </a:xfrm>
          <a:prstGeom prst="ellipse">
            <a:avLst/>
          </a:prstGeom>
          <a:solidFill>
            <a:srgbClr val="0078D4">
              <a:lumMod val="60000"/>
              <a:lumOff val="40000"/>
              <a:alpha val="70000"/>
            </a:srgbClr>
          </a:solidFill>
          <a:ln w="6694" cap="flat" cmpd="sng" algn="ctr">
            <a:solidFill>
              <a:srgbClr val="FFFFFF"/>
            </a:solidFill>
            <a:prstDash val="solid"/>
            <a:miter/>
          </a:ln>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287" name="Rectangle: Rounded Corners 286">
            <a:extLst>
              <a:ext uri="{FF2B5EF4-FFF2-40B4-BE49-F238E27FC236}">
                <a16:creationId xmlns:a16="http://schemas.microsoft.com/office/drawing/2014/main" id="{AB74D2B2-2098-3736-F2BC-019542FB7CDB}"/>
              </a:ext>
            </a:extLst>
          </p:cNvPr>
          <p:cNvSpPr/>
          <p:nvPr/>
        </p:nvSpPr>
        <p:spPr bwMode="auto">
          <a:xfrm>
            <a:off x="5891595" y="3249815"/>
            <a:ext cx="343955" cy="1417182"/>
          </a:xfrm>
          <a:prstGeom prst="roundRect">
            <a:avLst>
              <a:gd name="adj" fmla="val 26923"/>
            </a:avLst>
          </a:prstGeom>
          <a:solidFill>
            <a:srgbClr val="FFFFFF"/>
          </a:solidFill>
          <a:ln w="10795" cap="flat" cmpd="sng" algn="ctr">
            <a:solidFill>
              <a:srgbClr val="C03BC4"/>
            </a:solidFill>
            <a:prstDash val="solid"/>
          </a:ln>
          <a:effectLst>
            <a:outerShdw blurRad="101600" dist="63500" dir="3600000" sx="90000" sy="90000" algn="tr" rotWithShape="0">
              <a:srgbClr val="FFF8F5">
                <a:lumMod val="50000"/>
                <a:alpha val="10000"/>
              </a:srgbClr>
            </a:outerShdw>
          </a:effectLst>
        </p:spPr>
        <p:txBody>
          <a:bodyPr vert="vert27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Experimentation / Innovation</a:t>
            </a:r>
          </a:p>
        </p:txBody>
      </p:sp>
      <p:grpSp>
        <p:nvGrpSpPr>
          <p:cNvPr id="288" name="Group 287">
            <a:extLst>
              <a:ext uri="{FF2B5EF4-FFF2-40B4-BE49-F238E27FC236}">
                <a16:creationId xmlns:a16="http://schemas.microsoft.com/office/drawing/2014/main" id="{6EDFFF6A-18EE-DA1C-4267-D88F969321C4}"/>
              </a:ext>
            </a:extLst>
          </p:cNvPr>
          <p:cNvGrpSpPr/>
          <p:nvPr/>
        </p:nvGrpSpPr>
        <p:grpSpPr>
          <a:xfrm>
            <a:off x="6293180" y="3248415"/>
            <a:ext cx="1013140" cy="1419788"/>
            <a:chOff x="6171885" y="2383590"/>
            <a:chExt cx="1013140" cy="1419788"/>
          </a:xfrm>
        </p:grpSpPr>
        <p:sp>
          <p:nvSpPr>
            <p:cNvPr id="289" name="Rectangle: Rounded Corners 288">
              <a:extLst>
                <a:ext uri="{FF2B5EF4-FFF2-40B4-BE49-F238E27FC236}">
                  <a16:creationId xmlns:a16="http://schemas.microsoft.com/office/drawing/2014/main" id="{2512E749-FDB0-018F-3CA6-12A8709D0715}"/>
                </a:ext>
              </a:extLst>
            </p:cNvPr>
            <p:cNvSpPr>
              <a:spLocks/>
            </p:cNvSpPr>
            <p:nvPr/>
          </p:nvSpPr>
          <p:spPr>
            <a:xfrm>
              <a:off x="6171885" y="2383590"/>
              <a:ext cx="1013140" cy="696183"/>
            </a:xfrm>
            <a:prstGeom prst="roundRect">
              <a:avLst>
                <a:gd name="adj" fmla="val 18318"/>
              </a:avLst>
            </a:prstGeom>
            <a:solidFill>
              <a:srgbClr val="FFFFFF"/>
            </a:solidFill>
            <a:ln w="3175" cap="flat" cmpd="sng" algn="ctr">
              <a:solidFill>
                <a:srgbClr val="702573">
                  <a:lumMod val="60000"/>
                  <a:lumOff val="40000"/>
                </a:srgbClr>
              </a:solid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702573">
                      <a:lumMod val="60000"/>
                      <a:lumOff val="40000"/>
                    </a:srgbClr>
                  </a:solidFill>
                  <a:effectLst/>
                  <a:uLnTx/>
                  <a:uFillTx/>
                  <a:latin typeface="Segoe Sans Display Semibold"/>
                  <a:ea typeface="+mn-ea"/>
                  <a:cs typeface="+mn-cs"/>
                </a:rPr>
                <a:t>Pov</a:t>
              </a:r>
              <a:r>
                <a:rPr kumimoji="0" lang="en-US" sz="800" b="0" i="0" u="none" strike="noStrike" kern="1200" cap="none" spc="0" normalizeH="0" baseline="0" noProof="0">
                  <a:ln>
                    <a:noFill/>
                  </a:ln>
                  <a:solidFill>
                    <a:srgbClr val="702573">
                      <a:lumMod val="60000"/>
                      <a:lumOff val="40000"/>
                    </a:srgbClr>
                  </a:solidFill>
                  <a:effectLst/>
                  <a:uLnTx/>
                  <a:uFillTx/>
                  <a:latin typeface="Segoe Sans Display Semibold"/>
                  <a:ea typeface="+mn-ea"/>
                  <a:cs typeface="+mn-cs"/>
                </a:rPr>
                <a:t> 1</a:t>
              </a:r>
            </a:p>
          </p:txBody>
        </p:sp>
        <p:sp>
          <p:nvSpPr>
            <p:cNvPr id="290" name="Rectangle: Rounded Corners 289">
              <a:extLst>
                <a:ext uri="{FF2B5EF4-FFF2-40B4-BE49-F238E27FC236}">
                  <a16:creationId xmlns:a16="http://schemas.microsoft.com/office/drawing/2014/main" id="{CA00F91B-2D15-C6B3-B6A9-8A6D55ADD410}"/>
                </a:ext>
              </a:extLst>
            </p:cNvPr>
            <p:cNvSpPr>
              <a:spLocks/>
            </p:cNvSpPr>
            <p:nvPr/>
          </p:nvSpPr>
          <p:spPr>
            <a:xfrm>
              <a:off x="6171885" y="3112324"/>
              <a:ext cx="1013140" cy="213809"/>
            </a:xfrm>
            <a:prstGeom prst="roundRect">
              <a:avLst>
                <a:gd name="adj" fmla="val 32000"/>
              </a:avLst>
            </a:prstGeom>
            <a:solidFill>
              <a:srgbClr val="C03BC4">
                <a:lumMod val="20000"/>
                <a:lumOff val="80000"/>
              </a:srgbClr>
            </a:solid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91F2C"/>
                  </a:solidFill>
                  <a:effectLst/>
                  <a:uLnTx/>
                  <a:uFillTx/>
                  <a:latin typeface="Segoe Sans Display Semibold"/>
                  <a:ea typeface="+mn-ea"/>
                  <a:cs typeface="+mn-cs"/>
                </a:rPr>
                <a:t>GenAI</a:t>
              </a: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 Ops p1</a:t>
              </a:r>
            </a:p>
          </p:txBody>
        </p:sp>
        <p:sp>
          <p:nvSpPr>
            <p:cNvPr id="291" name="Rectangle: Rounded Corners 290">
              <a:extLst>
                <a:ext uri="{FF2B5EF4-FFF2-40B4-BE49-F238E27FC236}">
                  <a16:creationId xmlns:a16="http://schemas.microsoft.com/office/drawing/2014/main" id="{80E833DA-5D6E-7AB2-4424-EFBED42427D1}"/>
                </a:ext>
              </a:extLst>
            </p:cNvPr>
            <p:cNvSpPr>
              <a:spLocks/>
            </p:cNvSpPr>
            <p:nvPr/>
          </p:nvSpPr>
          <p:spPr>
            <a:xfrm>
              <a:off x="6171885" y="3350947"/>
              <a:ext cx="1013140" cy="213809"/>
            </a:xfrm>
            <a:prstGeom prst="roundRect">
              <a:avLst>
                <a:gd name="adj" fmla="val 32000"/>
              </a:avLst>
            </a:prstGeom>
            <a:solidFill>
              <a:srgbClr val="C03BC4">
                <a:lumMod val="20000"/>
                <a:lumOff val="80000"/>
              </a:srgbClr>
            </a:solidFill>
            <a:ln w="6694" cap="flat" cmpd="sng" algn="ctr">
              <a:solidFill>
                <a:srgbClr val="FFFFFF"/>
              </a:solidFill>
              <a:prstDash val="solid"/>
              <a:miter/>
            </a:ln>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91F2C"/>
                  </a:solidFill>
                  <a:effectLst/>
                  <a:uLnTx/>
                  <a:uFillTx/>
                  <a:latin typeface="Segoe Sans Display Semibold"/>
                  <a:ea typeface="+mn-ea"/>
                  <a:cs typeface="+mn-cs"/>
                </a:rPr>
                <a:t>GenAI</a:t>
              </a: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 Ops p2</a:t>
              </a:r>
            </a:p>
          </p:txBody>
        </p:sp>
        <p:sp>
          <p:nvSpPr>
            <p:cNvPr id="292" name="Rectangle: Rounded Corners 291">
              <a:extLst>
                <a:ext uri="{FF2B5EF4-FFF2-40B4-BE49-F238E27FC236}">
                  <a16:creationId xmlns:a16="http://schemas.microsoft.com/office/drawing/2014/main" id="{E5411F23-55E3-1E0F-D7B2-67D89E737E68}"/>
                </a:ext>
              </a:extLst>
            </p:cNvPr>
            <p:cNvSpPr>
              <a:spLocks/>
            </p:cNvSpPr>
            <p:nvPr/>
          </p:nvSpPr>
          <p:spPr>
            <a:xfrm>
              <a:off x="6171885" y="3589569"/>
              <a:ext cx="1013140" cy="213809"/>
            </a:xfrm>
            <a:prstGeom prst="roundRect">
              <a:avLst>
                <a:gd name="adj" fmla="val 32000"/>
              </a:avLst>
            </a:prstGeom>
            <a:solidFill>
              <a:srgbClr val="C03BC4">
                <a:lumMod val="20000"/>
                <a:lumOff val="80000"/>
              </a:srgbClr>
            </a:solidFill>
            <a:ln w="6694" cap="flat" cmpd="sng" algn="ctr">
              <a:solidFill>
                <a:srgbClr val="FFFFFF"/>
              </a:solidFill>
              <a:prstDash val="solid"/>
              <a:miter/>
            </a:ln>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91F2C"/>
                  </a:solidFill>
                  <a:effectLst/>
                  <a:uLnTx/>
                  <a:uFillTx/>
                  <a:latin typeface="Segoe Sans Display Semibold"/>
                  <a:ea typeface="+mn-ea"/>
                  <a:cs typeface="+mn-cs"/>
                </a:rPr>
                <a:t>GenAI</a:t>
              </a: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 Ops p3</a:t>
              </a:r>
            </a:p>
          </p:txBody>
        </p:sp>
      </p:grpSp>
      <p:sp>
        <p:nvSpPr>
          <p:cNvPr id="293" name="Arrow: U-Turn 292">
            <a:extLst>
              <a:ext uri="{FF2B5EF4-FFF2-40B4-BE49-F238E27FC236}">
                <a16:creationId xmlns:a16="http://schemas.microsoft.com/office/drawing/2014/main" id="{AC26BBE0-11B8-C7B9-50D6-0E215BABA537}"/>
              </a:ext>
            </a:extLst>
          </p:cNvPr>
          <p:cNvSpPr/>
          <p:nvPr/>
        </p:nvSpPr>
        <p:spPr bwMode="auto">
          <a:xfrm flipH="1">
            <a:off x="535633" y="2486570"/>
            <a:ext cx="4392614" cy="846974"/>
          </a:xfrm>
          <a:prstGeom prst="uturnArrow">
            <a:avLst>
              <a:gd name="adj1" fmla="val 25000"/>
              <a:gd name="adj2" fmla="val 0"/>
              <a:gd name="adj3" fmla="val 0"/>
              <a:gd name="adj4" fmla="val 28262"/>
              <a:gd name="adj5" fmla="val 30275"/>
            </a:avLst>
          </a:prstGeom>
          <a:noFill/>
          <a:ln w="6350" cap="flat" cmpd="sng" algn="ctr">
            <a:solidFill>
              <a:srgbClr val="FFF8F5">
                <a:lumMod val="75000"/>
              </a:srgb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294" name="Rectangle: Rounded Corners 293">
            <a:extLst>
              <a:ext uri="{FF2B5EF4-FFF2-40B4-BE49-F238E27FC236}">
                <a16:creationId xmlns:a16="http://schemas.microsoft.com/office/drawing/2014/main" id="{61FBC141-D90D-AD5D-DB28-363A24B592CA}"/>
              </a:ext>
            </a:extLst>
          </p:cNvPr>
          <p:cNvSpPr/>
          <p:nvPr/>
        </p:nvSpPr>
        <p:spPr bwMode="auto">
          <a:xfrm>
            <a:off x="1655455" y="2351498"/>
            <a:ext cx="2098800" cy="262218"/>
          </a:xfrm>
          <a:prstGeom prst="roundRect">
            <a:avLst>
              <a:gd name="adj" fmla="val 50000"/>
            </a:avLst>
          </a:prstGeom>
          <a:solidFill>
            <a:srgbClr val="F87D47"/>
          </a:solidFill>
          <a:ln w="6694" cap="flat" cmpd="sng" algn="ctr">
            <a:solidFill>
              <a:srgbClr val="FFFFFF"/>
            </a:solidFill>
            <a:prstDash val="solid"/>
            <a:miter/>
          </a:ln>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Sans Display Semibold"/>
                <a:ea typeface="+mn-ea"/>
                <a:cs typeface="+mn-cs"/>
              </a:rPr>
              <a:t>Use-case Intake &amp; Prioritization</a:t>
            </a:r>
          </a:p>
        </p:txBody>
      </p:sp>
      <p:grpSp>
        <p:nvGrpSpPr>
          <p:cNvPr id="295" name="Group 294">
            <a:extLst>
              <a:ext uri="{FF2B5EF4-FFF2-40B4-BE49-F238E27FC236}">
                <a16:creationId xmlns:a16="http://schemas.microsoft.com/office/drawing/2014/main" id="{D51D7AB5-E153-449C-632F-1407D228A862}"/>
              </a:ext>
            </a:extLst>
          </p:cNvPr>
          <p:cNvGrpSpPr/>
          <p:nvPr/>
        </p:nvGrpSpPr>
        <p:grpSpPr>
          <a:xfrm>
            <a:off x="7412683" y="3159669"/>
            <a:ext cx="3590952" cy="1597280"/>
            <a:chOff x="7291388" y="2650173"/>
            <a:chExt cx="3590952" cy="1666495"/>
          </a:xfrm>
        </p:grpSpPr>
        <p:sp>
          <p:nvSpPr>
            <p:cNvPr id="296" name="Rectangle: Rounded Corners 295">
              <a:extLst>
                <a:ext uri="{FF2B5EF4-FFF2-40B4-BE49-F238E27FC236}">
                  <a16:creationId xmlns:a16="http://schemas.microsoft.com/office/drawing/2014/main" id="{1D0867F2-F7AE-39CD-45E6-841C276745ED}"/>
                </a:ext>
              </a:extLst>
            </p:cNvPr>
            <p:cNvSpPr/>
            <p:nvPr/>
          </p:nvSpPr>
          <p:spPr bwMode="auto">
            <a:xfrm>
              <a:off x="7291388" y="2650173"/>
              <a:ext cx="3590952" cy="1666495"/>
            </a:xfrm>
            <a:prstGeom prst="roundRect">
              <a:avLst>
                <a:gd name="adj" fmla="val 8197"/>
              </a:avLst>
            </a:prstGeom>
            <a:solidFill>
              <a:srgbClr val="FFFFFF"/>
            </a:solidFill>
            <a:ln w="6350" cap="flat" cmpd="sng" algn="ctr">
              <a:noFill/>
              <a:prstDash val="solid"/>
              <a:headEnd type="none" w="med" len="med"/>
              <a:tailEnd type="none" w="med" len="med"/>
            </a:ln>
            <a:effectLst>
              <a:outerShdw blurRad="254000" dist="139700" dir="2700000" sx="95000" sy="95000" algn="tl" rotWithShape="0">
                <a:srgbClr val="FFF8F5">
                  <a:lumMod val="10000"/>
                  <a:alpha val="15000"/>
                </a:srgb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297" name="Rectangle: Rounded Corners 296">
              <a:extLst>
                <a:ext uri="{FF2B5EF4-FFF2-40B4-BE49-F238E27FC236}">
                  <a16:creationId xmlns:a16="http://schemas.microsoft.com/office/drawing/2014/main" id="{36D9CAF3-1BA4-EF92-5A07-FA2707DD2074}"/>
                </a:ext>
              </a:extLst>
            </p:cNvPr>
            <p:cNvSpPr>
              <a:spLocks/>
            </p:cNvSpPr>
            <p:nvPr/>
          </p:nvSpPr>
          <p:spPr>
            <a:xfrm>
              <a:off x="7378700" y="2920140"/>
              <a:ext cx="839119" cy="316526"/>
            </a:xfrm>
            <a:prstGeom prst="roundRect">
              <a:avLst>
                <a:gd name="adj" fmla="val 20000"/>
              </a:avLst>
            </a:prstGeom>
            <a:solidFill>
              <a:srgbClr val="C03BC4">
                <a:lumMod val="20000"/>
                <a:lumOff val="80000"/>
              </a:srgbClr>
            </a:solid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Initialization</a:t>
              </a:r>
            </a:p>
          </p:txBody>
        </p:sp>
        <p:sp>
          <p:nvSpPr>
            <p:cNvPr id="298" name="Rectangle: Rounded Corners 297">
              <a:extLst>
                <a:ext uri="{FF2B5EF4-FFF2-40B4-BE49-F238E27FC236}">
                  <a16:creationId xmlns:a16="http://schemas.microsoft.com/office/drawing/2014/main" id="{A0AA1B65-ABC0-F56B-7927-BF125DCB89A7}"/>
                </a:ext>
              </a:extLst>
            </p:cNvPr>
            <p:cNvSpPr>
              <a:spLocks/>
            </p:cNvSpPr>
            <p:nvPr/>
          </p:nvSpPr>
          <p:spPr>
            <a:xfrm>
              <a:off x="8237770" y="2920140"/>
              <a:ext cx="839119" cy="316526"/>
            </a:xfrm>
            <a:prstGeom prst="roundRect">
              <a:avLst>
                <a:gd name="adj" fmla="val 20000"/>
              </a:avLst>
            </a:prstGeom>
            <a:solidFill>
              <a:srgbClr val="C03BC4">
                <a:lumMod val="20000"/>
                <a:lumOff val="80000"/>
              </a:srgbClr>
            </a:solid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Experimentation</a:t>
              </a:r>
            </a:p>
          </p:txBody>
        </p:sp>
        <p:sp>
          <p:nvSpPr>
            <p:cNvPr id="299" name="Rectangle: Rounded Corners 298">
              <a:extLst>
                <a:ext uri="{FF2B5EF4-FFF2-40B4-BE49-F238E27FC236}">
                  <a16:creationId xmlns:a16="http://schemas.microsoft.com/office/drawing/2014/main" id="{08CEA3B7-8513-BE47-B136-87573A1CCD66}"/>
                </a:ext>
              </a:extLst>
            </p:cNvPr>
            <p:cNvSpPr>
              <a:spLocks/>
            </p:cNvSpPr>
            <p:nvPr/>
          </p:nvSpPr>
          <p:spPr>
            <a:xfrm>
              <a:off x="9096839" y="2920140"/>
              <a:ext cx="839119" cy="316526"/>
            </a:xfrm>
            <a:prstGeom prst="roundRect">
              <a:avLst>
                <a:gd name="adj" fmla="val 20000"/>
              </a:avLst>
            </a:prstGeom>
            <a:solidFill>
              <a:srgbClr val="C03BC4">
                <a:lumMod val="20000"/>
                <a:lumOff val="80000"/>
              </a:srgbClr>
            </a:solid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Evaluation &amp; Refinement</a:t>
              </a:r>
            </a:p>
          </p:txBody>
        </p:sp>
        <p:sp>
          <p:nvSpPr>
            <p:cNvPr id="300" name="Rectangle: Rounded Corners 299">
              <a:extLst>
                <a:ext uri="{FF2B5EF4-FFF2-40B4-BE49-F238E27FC236}">
                  <a16:creationId xmlns:a16="http://schemas.microsoft.com/office/drawing/2014/main" id="{0CFF47E9-C156-0336-C242-1798390A9BC8}"/>
                </a:ext>
              </a:extLst>
            </p:cNvPr>
            <p:cNvSpPr>
              <a:spLocks/>
            </p:cNvSpPr>
            <p:nvPr/>
          </p:nvSpPr>
          <p:spPr>
            <a:xfrm>
              <a:off x="9955909" y="2920140"/>
              <a:ext cx="839119" cy="316526"/>
            </a:xfrm>
            <a:prstGeom prst="roundRect">
              <a:avLst>
                <a:gd name="adj" fmla="val 20000"/>
              </a:avLst>
            </a:prstGeom>
            <a:solidFill>
              <a:srgbClr val="C03BC4">
                <a:lumMod val="20000"/>
                <a:lumOff val="80000"/>
              </a:srgbClr>
            </a:solid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Deployment</a:t>
              </a:r>
            </a:p>
          </p:txBody>
        </p:sp>
        <p:sp>
          <p:nvSpPr>
            <p:cNvPr id="301" name="Rectangle: Rounded Corners 300">
              <a:extLst>
                <a:ext uri="{FF2B5EF4-FFF2-40B4-BE49-F238E27FC236}">
                  <a16:creationId xmlns:a16="http://schemas.microsoft.com/office/drawing/2014/main" id="{59543CA3-4D67-AA53-F114-4622E593A283}"/>
                </a:ext>
              </a:extLst>
            </p:cNvPr>
            <p:cNvSpPr>
              <a:spLocks/>
            </p:cNvSpPr>
            <p:nvPr/>
          </p:nvSpPr>
          <p:spPr>
            <a:xfrm>
              <a:off x="7378700" y="4040967"/>
              <a:ext cx="3416328" cy="201623"/>
            </a:xfrm>
            <a:prstGeom prst="roundRect">
              <a:avLst>
                <a:gd name="adj" fmla="val 38897"/>
              </a:avLst>
            </a:prstGeom>
            <a:solidFill>
              <a:srgbClr val="FFFFFF"/>
            </a:solidFill>
            <a:ln w="3175" cap="flat" cmpd="sng" algn="ctr">
              <a:solidFill>
                <a:srgbClr val="702573">
                  <a:lumMod val="60000"/>
                  <a:lumOff val="40000"/>
                </a:srgbClr>
              </a:solidFill>
              <a:prstDash val="solid"/>
            </a:ln>
            <a:effectLst>
              <a:outerShdw blurRad="127000" dist="25400" dir="3600000" sx="95000" sy="95000" algn="tr" rotWithShape="0">
                <a:srgbClr val="FFF8F5">
                  <a:lumMod val="1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02573">
                      <a:lumMod val="60000"/>
                      <a:lumOff val="40000"/>
                    </a:srgbClr>
                  </a:solidFill>
                  <a:effectLst/>
                  <a:uLnTx/>
                  <a:uFillTx/>
                  <a:latin typeface="Segoe Sans Display Semibold"/>
                  <a:ea typeface="+mn-ea"/>
                  <a:cs typeface="+mn-cs"/>
                </a:rPr>
                <a:t>Development of POV 1 *</a:t>
              </a:r>
            </a:p>
          </p:txBody>
        </p:sp>
      </p:grpSp>
      <p:sp>
        <p:nvSpPr>
          <p:cNvPr id="302" name="Arrow: U-Turn 301">
            <a:extLst>
              <a:ext uri="{FF2B5EF4-FFF2-40B4-BE49-F238E27FC236}">
                <a16:creationId xmlns:a16="http://schemas.microsoft.com/office/drawing/2014/main" id="{DA731468-C02C-9D15-67D2-23A54E536042}"/>
              </a:ext>
            </a:extLst>
          </p:cNvPr>
          <p:cNvSpPr/>
          <p:nvPr/>
        </p:nvSpPr>
        <p:spPr bwMode="auto">
          <a:xfrm>
            <a:off x="6792812" y="2601011"/>
            <a:ext cx="4123512" cy="363330"/>
          </a:xfrm>
          <a:prstGeom prst="uturnArrow">
            <a:avLst>
              <a:gd name="adj1" fmla="val 0"/>
              <a:gd name="adj2" fmla="val 0"/>
              <a:gd name="adj3" fmla="val 0"/>
              <a:gd name="adj4" fmla="val 70838"/>
              <a:gd name="adj5" fmla="val 100000"/>
            </a:avLst>
          </a:prstGeom>
          <a:noFill/>
          <a:ln w="6350" cap="flat" cmpd="sng" algn="ctr">
            <a:solidFill>
              <a:srgbClr val="702573">
                <a:lumMod val="20000"/>
                <a:lumOff val="80000"/>
              </a:srgb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303" name="Rectangle: Rounded Corners 302">
            <a:extLst>
              <a:ext uri="{FF2B5EF4-FFF2-40B4-BE49-F238E27FC236}">
                <a16:creationId xmlns:a16="http://schemas.microsoft.com/office/drawing/2014/main" id="{D48BF33E-9379-7DFB-A325-2DA35D642798}"/>
              </a:ext>
            </a:extLst>
          </p:cNvPr>
          <p:cNvSpPr/>
          <p:nvPr/>
        </p:nvSpPr>
        <p:spPr bwMode="auto">
          <a:xfrm>
            <a:off x="5491057" y="2702899"/>
            <a:ext cx="900031" cy="179492"/>
          </a:xfrm>
          <a:prstGeom prst="roundRect">
            <a:avLst>
              <a:gd name="adj" fmla="val 29394"/>
            </a:avLst>
          </a:prstGeom>
          <a:solidFill>
            <a:srgbClr val="702573">
              <a:lumMod val="20000"/>
              <a:lumOff val="80000"/>
            </a:srgbClr>
          </a:solidFill>
          <a:ln w="6694" cap="flat" cmpd="sng" algn="ctr">
            <a:solidFill>
              <a:srgbClr val="FFFFFF"/>
            </a:solidFill>
            <a:prstDash val="solid"/>
            <a:miter/>
          </a:ln>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02573"/>
                </a:solidFill>
                <a:effectLst/>
                <a:uLnTx/>
                <a:uFillTx/>
                <a:latin typeface="Segoe Sans Display Semibold"/>
                <a:ea typeface="+mn-ea"/>
                <a:cs typeface="+mn-cs"/>
              </a:rPr>
              <a:t>Feasibility</a:t>
            </a:r>
          </a:p>
        </p:txBody>
      </p:sp>
      <p:sp>
        <p:nvSpPr>
          <p:cNvPr id="304" name="Rectangle: Rounded Corners 303">
            <a:extLst>
              <a:ext uri="{FF2B5EF4-FFF2-40B4-BE49-F238E27FC236}">
                <a16:creationId xmlns:a16="http://schemas.microsoft.com/office/drawing/2014/main" id="{B4245A12-21BA-A6DD-2FF3-56C2171A4AD4}"/>
              </a:ext>
            </a:extLst>
          </p:cNvPr>
          <p:cNvSpPr/>
          <p:nvPr/>
        </p:nvSpPr>
        <p:spPr bwMode="auto">
          <a:xfrm>
            <a:off x="7987557" y="2141884"/>
            <a:ext cx="1277738" cy="226352"/>
          </a:xfrm>
          <a:prstGeom prst="roundRect">
            <a:avLst>
              <a:gd name="adj" fmla="val 50000"/>
            </a:avLst>
          </a:prstGeom>
          <a:solidFill>
            <a:srgbClr val="702573">
              <a:lumMod val="60000"/>
              <a:lumOff val="40000"/>
            </a:srgbClr>
          </a:solidFill>
          <a:ln w="6694" cap="flat" cmpd="sng" algn="ctr">
            <a:solidFill>
              <a:srgbClr val="FFFFFF"/>
            </a:solidFill>
            <a:prstDash val="solid"/>
            <a:miter/>
          </a:ln>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Sans Display Semibold"/>
                <a:ea typeface="+mn-ea"/>
                <a:cs typeface="+mn-cs"/>
              </a:rPr>
              <a:t>AI  Factory</a:t>
            </a:r>
          </a:p>
        </p:txBody>
      </p:sp>
      <p:sp>
        <p:nvSpPr>
          <p:cNvPr id="305" name="Rectangle: Rounded Corners 304">
            <a:extLst>
              <a:ext uri="{FF2B5EF4-FFF2-40B4-BE49-F238E27FC236}">
                <a16:creationId xmlns:a16="http://schemas.microsoft.com/office/drawing/2014/main" id="{4FA345FC-39DE-3FA9-6E05-083CAFC03C8A}"/>
              </a:ext>
            </a:extLst>
          </p:cNvPr>
          <p:cNvSpPr/>
          <p:nvPr/>
        </p:nvSpPr>
        <p:spPr bwMode="auto">
          <a:xfrm>
            <a:off x="7726464" y="2469901"/>
            <a:ext cx="1986506" cy="262218"/>
          </a:xfrm>
          <a:prstGeom prst="roundRect">
            <a:avLst>
              <a:gd name="adj" fmla="val 50000"/>
            </a:avLst>
          </a:prstGeom>
          <a:solidFill>
            <a:srgbClr val="702573">
              <a:lumMod val="20000"/>
              <a:lumOff val="80000"/>
            </a:srgbClr>
          </a:solidFill>
          <a:ln w="6694" cap="flat" cmpd="sng" algn="ctr">
            <a:solidFill>
              <a:srgbClr val="FFFFFF"/>
            </a:solidFill>
            <a:prstDash val="solid"/>
            <a:miter/>
          </a:ln>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702573"/>
                </a:solidFill>
                <a:effectLst/>
                <a:uLnTx/>
                <a:uFillTx/>
                <a:latin typeface="Segoe Sans Display Semibold"/>
                <a:ea typeface="+mn-ea"/>
                <a:cs typeface="+mn-cs"/>
              </a:rPr>
              <a:t>Development and Factory Scale</a:t>
            </a:r>
          </a:p>
        </p:txBody>
      </p:sp>
      <p:sp>
        <p:nvSpPr>
          <p:cNvPr id="306" name="Rectangle: Rounded Corners 305">
            <a:extLst>
              <a:ext uri="{FF2B5EF4-FFF2-40B4-BE49-F238E27FC236}">
                <a16:creationId xmlns:a16="http://schemas.microsoft.com/office/drawing/2014/main" id="{DDBCAE65-4939-619C-EE10-527D5C4217EA}"/>
              </a:ext>
            </a:extLst>
          </p:cNvPr>
          <p:cNvSpPr>
            <a:spLocks/>
          </p:cNvSpPr>
          <p:nvPr/>
        </p:nvSpPr>
        <p:spPr>
          <a:xfrm>
            <a:off x="11048852" y="3579028"/>
            <a:ext cx="637742" cy="316526"/>
          </a:xfrm>
          <a:prstGeom prst="roundRect">
            <a:avLst>
              <a:gd name="adj" fmla="val 20000"/>
            </a:avLst>
          </a:prstGeom>
          <a:solidFill>
            <a:srgbClr val="FFFFFF"/>
          </a:solidFill>
          <a:ln w="3175" cap="flat" cmpd="sng" algn="ctr">
            <a:solidFill>
              <a:srgbClr val="702573">
                <a:lumMod val="60000"/>
                <a:lumOff val="40000"/>
              </a:srgbClr>
            </a:solidFill>
            <a:prstDash val="solid"/>
          </a:ln>
          <a:effectLst>
            <a:outerShdw blurRad="127000" dist="25400" dir="3600000" sx="95000" sy="95000" algn="tr" rotWithShape="0">
              <a:srgbClr val="FFF8F5">
                <a:lumMod val="1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02573">
                    <a:lumMod val="60000"/>
                    <a:lumOff val="40000"/>
                  </a:srgbClr>
                </a:solidFill>
                <a:effectLst/>
                <a:uLnTx/>
                <a:uFillTx/>
                <a:latin typeface="Segoe Sans Display Semibold"/>
                <a:ea typeface="+mn-ea"/>
                <a:cs typeface="+mn-cs"/>
              </a:rPr>
              <a:t>POV 2 *</a:t>
            </a:r>
          </a:p>
        </p:txBody>
      </p:sp>
      <p:sp>
        <p:nvSpPr>
          <p:cNvPr id="307" name="Rectangle 306">
            <a:extLst>
              <a:ext uri="{FF2B5EF4-FFF2-40B4-BE49-F238E27FC236}">
                <a16:creationId xmlns:a16="http://schemas.microsoft.com/office/drawing/2014/main" id="{B95E1156-4B33-48F3-E3E4-0AC1936EDCC9}"/>
              </a:ext>
            </a:extLst>
          </p:cNvPr>
          <p:cNvSpPr>
            <a:spLocks/>
          </p:cNvSpPr>
          <p:nvPr/>
        </p:nvSpPr>
        <p:spPr>
          <a:xfrm>
            <a:off x="11048852" y="3934539"/>
            <a:ext cx="637742" cy="492443"/>
          </a:xfrm>
          <a:prstGeom prst="rect">
            <a:avLst/>
          </a:prstGeom>
          <a:no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sp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a:ln>
                  <a:noFill/>
                </a:ln>
                <a:solidFill>
                  <a:srgbClr val="091F2C"/>
                </a:solidFill>
                <a:effectLst/>
                <a:uLnTx/>
                <a:uFillTx/>
                <a:latin typeface="Segoe Sans Display Semibold"/>
                <a:ea typeface="+mn-ea"/>
                <a:cs typeface="+mn-cs"/>
              </a:rPr>
              <a:t>*Can do in parallel with 1 if have resources</a:t>
            </a:r>
          </a:p>
        </p:txBody>
      </p:sp>
      <p:grpSp>
        <p:nvGrpSpPr>
          <p:cNvPr id="308" name="Group 307">
            <a:extLst>
              <a:ext uri="{FF2B5EF4-FFF2-40B4-BE49-F238E27FC236}">
                <a16:creationId xmlns:a16="http://schemas.microsoft.com/office/drawing/2014/main" id="{325D8E92-3A27-7087-9584-E80A3F5A4BBD}"/>
              </a:ext>
            </a:extLst>
          </p:cNvPr>
          <p:cNvGrpSpPr>
            <a:grpSpLocks/>
          </p:cNvGrpSpPr>
          <p:nvPr/>
        </p:nvGrpSpPr>
        <p:grpSpPr>
          <a:xfrm rot="5400000">
            <a:off x="6711292" y="2876639"/>
            <a:ext cx="160154" cy="162926"/>
            <a:chOff x="3415005" y="4805857"/>
            <a:chExt cx="170372" cy="170372"/>
          </a:xfrm>
        </p:grpSpPr>
        <p:sp>
          <p:nvSpPr>
            <p:cNvPr id="309" name="Oval 308">
              <a:extLst>
                <a:ext uri="{FF2B5EF4-FFF2-40B4-BE49-F238E27FC236}">
                  <a16:creationId xmlns:a16="http://schemas.microsoft.com/office/drawing/2014/main" id="{06D305E0-6BF1-3A4C-77E0-43E2FC71E66C}"/>
                </a:ext>
              </a:extLst>
            </p:cNvPr>
            <p:cNvSpPr/>
            <p:nvPr/>
          </p:nvSpPr>
          <p:spPr bwMode="auto">
            <a:xfrm>
              <a:off x="3415005" y="4805857"/>
              <a:ext cx="170372" cy="170372"/>
            </a:xfrm>
            <a:prstGeom prst="ellipse">
              <a:avLst/>
            </a:prstGeom>
            <a:solidFill>
              <a:srgbClr val="702573">
                <a:lumMod val="60000"/>
                <a:lumOff val="4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endParaRPr>
            </a:p>
          </p:txBody>
        </p:sp>
        <p:pic>
          <p:nvPicPr>
            <p:cNvPr id="310" name="Graphic 384">
              <a:extLst>
                <a:ext uri="{FF2B5EF4-FFF2-40B4-BE49-F238E27FC236}">
                  <a16:creationId xmlns:a16="http://schemas.microsoft.com/office/drawing/2014/main" id="{140C5E9E-3992-E010-54C7-881410A0A51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71752" y="4842164"/>
              <a:ext cx="56879" cy="97759"/>
            </a:xfrm>
            <a:prstGeom prst="rect">
              <a:avLst/>
            </a:prstGeom>
          </p:spPr>
        </p:pic>
      </p:grpSp>
      <p:sp>
        <p:nvSpPr>
          <p:cNvPr id="311" name="Rectangle: Rounded Corners 310">
            <a:extLst>
              <a:ext uri="{FF2B5EF4-FFF2-40B4-BE49-F238E27FC236}">
                <a16:creationId xmlns:a16="http://schemas.microsoft.com/office/drawing/2014/main" id="{B17277A4-3779-18CE-58BA-F10088D2A020}"/>
              </a:ext>
            </a:extLst>
          </p:cNvPr>
          <p:cNvSpPr/>
          <p:nvPr/>
        </p:nvSpPr>
        <p:spPr bwMode="auto">
          <a:xfrm>
            <a:off x="5144144" y="4959739"/>
            <a:ext cx="5859491" cy="935192"/>
          </a:xfrm>
          <a:prstGeom prst="roundRect">
            <a:avLst>
              <a:gd name="adj" fmla="val 17822"/>
            </a:avLst>
          </a:prstGeom>
          <a:solidFill>
            <a:srgbClr val="FFF8F5">
              <a:alpha val="70000"/>
            </a:srgbClr>
          </a:solidFill>
          <a:ln w="6350"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312" name="Rectangle: Rounded Corners 311">
            <a:extLst>
              <a:ext uri="{FF2B5EF4-FFF2-40B4-BE49-F238E27FC236}">
                <a16:creationId xmlns:a16="http://schemas.microsoft.com/office/drawing/2014/main" id="{BF75A45D-BDAF-32C4-1CF1-F3DC1765A781}"/>
              </a:ext>
            </a:extLst>
          </p:cNvPr>
          <p:cNvSpPr>
            <a:spLocks/>
          </p:cNvSpPr>
          <p:nvPr/>
        </p:nvSpPr>
        <p:spPr>
          <a:xfrm>
            <a:off x="5244183" y="5079244"/>
            <a:ext cx="1071790" cy="696183"/>
          </a:xfrm>
          <a:prstGeom prst="roundRect">
            <a:avLst>
              <a:gd name="adj" fmla="val 18318"/>
            </a:avLst>
          </a:prstGeom>
          <a:solidFill>
            <a:srgbClr val="0078D4">
              <a:lumMod val="20000"/>
              <a:lumOff val="80000"/>
            </a:srgbClr>
          </a:solidFill>
          <a:ln w="3175" cap="flat" cmpd="sng" algn="ctr">
            <a:solidFill>
              <a:srgbClr val="8DC8E8"/>
            </a:solidFill>
            <a:prstDash val="solid"/>
          </a:ln>
          <a:effectLst>
            <a:outerShdw blurRad="190500" dist="76200" dir="3600000" sx="90000" sy="90000" algn="tr" rotWithShape="0">
              <a:srgbClr val="FFF8F5">
                <a:lumMod val="50000"/>
                <a:alpha val="10000"/>
              </a:srgbClr>
            </a:outerShdw>
          </a:effectLst>
        </p:spPr>
        <p:txBody>
          <a:bodyPr lIns="91440" tIns="0" rIns="9144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Landing Zone Architecture Foundation</a:t>
            </a:r>
          </a:p>
        </p:txBody>
      </p:sp>
      <p:sp>
        <p:nvSpPr>
          <p:cNvPr id="313" name="Rectangle: Rounded Corners 312">
            <a:extLst>
              <a:ext uri="{FF2B5EF4-FFF2-40B4-BE49-F238E27FC236}">
                <a16:creationId xmlns:a16="http://schemas.microsoft.com/office/drawing/2014/main" id="{FF44439C-642C-6EBA-07B7-19BB85B0B454}"/>
              </a:ext>
            </a:extLst>
          </p:cNvPr>
          <p:cNvSpPr>
            <a:spLocks/>
          </p:cNvSpPr>
          <p:nvPr/>
        </p:nvSpPr>
        <p:spPr>
          <a:xfrm>
            <a:off x="6391088" y="5079243"/>
            <a:ext cx="1071790" cy="312641"/>
          </a:xfrm>
          <a:prstGeom prst="roundRect">
            <a:avLst>
              <a:gd name="adj" fmla="val 31100"/>
            </a:avLst>
          </a:prstGeom>
          <a:solidFill>
            <a:srgbClr val="0078D4">
              <a:lumMod val="20000"/>
              <a:lumOff val="80000"/>
            </a:srgbClr>
          </a:solidFill>
          <a:ln w="3175" cap="flat" cmpd="sng" algn="ctr">
            <a:solidFill>
              <a:srgbClr val="8DC8E8"/>
            </a:solidFill>
            <a:prstDash val="solid"/>
          </a:ln>
          <a:effectLst>
            <a:outerShdw blurRad="190500" dist="76200" dir="3600000" sx="90000" sy="90000" algn="tr" rotWithShape="0">
              <a:srgbClr val="FFF8F5">
                <a:lumMod val="50000"/>
                <a:alpha val="10000"/>
              </a:srgbClr>
            </a:outerShdw>
          </a:effectLst>
        </p:spPr>
        <p:txBody>
          <a:bodyPr lIns="91440" tIns="0" rIns="9144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Redundancy Plans</a:t>
            </a:r>
          </a:p>
        </p:txBody>
      </p:sp>
      <p:sp>
        <p:nvSpPr>
          <p:cNvPr id="314" name="Rectangle: Rounded Corners 313">
            <a:extLst>
              <a:ext uri="{FF2B5EF4-FFF2-40B4-BE49-F238E27FC236}">
                <a16:creationId xmlns:a16="http://schemas.microsoft.com/office/drawing/2014/main" id="{15BB25DC-5D1C-2D55-B552-4873EE2D6AB6}"/>
              </a:ext>
            </a:extLst>
          </p:cNvPr>
          <p:cNvSpPr>
            <a:spLocks/>
          </p:cNvSpPr>
          <p:nvPr/>
        </p:nvSpPr>
        <p:spPr>
          <a:xfrm>
            <a:off x="6391088" y="5462785"/>
            <a:ext cx="1071790" cy="312641"/>
          </a:xfrm>
          <a:prstGeom prst="roundRect">
            <a:avLst>
              <a:gd name="adj" fmla="val 31100"/>
            </a:avLst>
          </a:prstGeom>
          <a:solidFill>
            <a:srgbClr val="0078D4">
              <a:lumMod val="20000"/>
              <a:lumOff val="80000"/>
            </a:srgbClr>
          </a:solidFill>
          <a:ln w="3175" cap="flat" cmpd="sng" algn="ctr">
            <a:solidFill>
              <a:srgbClr val="8DC8E8"/>
            </a:solidFill>
            <a:prstDash val="solid"/>
          </a:ln>
          <a:effectLst>
            <a:outerShdw blurRad="190500" dist="76200" dir="3600000" sx="90000" sy="90000" algn="tr" rotWithShape="0">
              <a:srgbClr val="FFF8F5">
                <a:lumMod val="50000"/>
                <a:alpha val="10000"/>
              </a:srgbClr>
            </a:outerShdw>
          </a:effectLst>
        </p:spPr>
        <p:txBody>
          <a:bodyPr lIns="91440" tIns="0" rIns="9144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Load Balancing Optimizations</a:t>
            </a:r>
          </a:p>
        </p:txBody>
      </p:sp>
      <p:sp>
        <p:nvSpPr>
          <p:cNvPr id="315" name="Rectangle: Rounded Corners 314">
            <a:extLst>
              <a:ext uri="{FF2B5EF4-FFF2-40B4-BE49-F238E27FC236}">
                <a16:creationId xmlns:a16="http://schemas.microsoft.com/office/drawing/2014/main" id="{EADF9ECC-B079-721A-23BA-7720EFF2E256}"/>
              </a:ext>
            </a:extLst>
          </p:cNvPr>
          <p:cNvSpPr>
            <a:spLocks/>
          </p:cNvSpPr>
          <p:nvPr/>
        </p:nvSpPr>
        <p:spPr>
          <a:xfrm>
            <a:off x="7537994" y="5079244"/>
            <a:ext cx="1071790" cy="696183"/>
          </a:xfrm>
          <a:prstGeom prst="roundRect">
            <a:avLst>
              <a:gd name="adj" fmla="val 18318"/>
            </a:avLst>
          </a:prstGeom>
          <a:solidFill>
            <a:srgbClr val="0078D4">
              <a:lumMod val="20000"/>
              <a:lumOff val="80000"/>
            </a:srgbClr>
          </a:solidFill>
          <a:ln w="3175" cap="flat" cmpd="sng" algn="ctr">
            <a:solidFill>
              <a:srgbClr val="8DC8E8"/>
            </a:solidFill>
            <a:prstDash val="solid"/>
          </a:ln>
          <a:effectLst>
            <a:outerShdw blurRad="190500" dist="76200" dir="3600000" sx="90000" sy="90000" algn="tr" rotWithShape="0">
              <a:srgbClr val="FFF8F5">
                <a:lumMod val="50000"/>
                <a:alpha val="10000"/>
              </a:srgbClr>
            </a:outerShdw>
          </a:effectLst>
        </p:spPr>
        <p:txBody>
          <a:bodyPr lIns="91440" tIns="0" rIns="9144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Governance and Security Frameworks</a:t>
            </a:r>
          </a:p>
        </p:txBody>
      </p:sp>
      <p:sp>
        <p:nvSpPr>
          <p:cNvPr id="316" name="Rectangle: Rounded Corners 315">
            <a:extLst>
              <a:ext uri="{FF2B5EF4-FFF2-40B4-BE49-F238E27FC236}">
                <a16:creationId xmlns:a16="http://schemas.microsoft.com/office/drawing/2014/main" id="{94407D06-6834-D002-CEE1-1F072F4DC1E9}"/>
              </a:ext>
            </a:extLst>
          </p:cNvPr>
          <p:cNvSpPr>
            <a:spLocks/>
          </p:cNvSpPr>
          <p:nvPr/>
        </p:nvSpPr>
        <p:spPr>
          <a:xfrm>
            <a:off x="8684899" y="5079244"/>
            <a:ext cx="1071790" cy="696183"/>
          </a:xfrm>
          <a:prstGeom prst="roundRect">
            <a:avLst>
              <a:gd name="adj" fmla="val 18318"/>
            </a:avLst>
          </a:prstGeom>
          <a:solidFill>
            <a:srgbClr val="0078D4">
              <a:lumMod val="20000"/>
              <a:lumOff val="80000"/>
            </a:srgbClr>
          </a:solidFill>
          <a:ln w="3175" cap="flat" cmpd="sng" algn="ctr">
            <a:solidFill>
              <a:srgbClr val="8DC8E8"/>
            </a:solidFill>
            <a:prstDash val="solid"/>
          </a:ln>
          <a:effectLst>
            <a:outerShdw blurRad="190500" dist="76200" dir="3600000" sx="90000" sy="90000" algn="tr" rotWithShape="0">
              <a:srgbClr val="FFF8F5">
                <a:lumMod val="50000"/>
                <a:alpha val="10000"/>
              </a:srgbClr>
            </a:outerShdw>
          </a:effectLst>
        </p:spPr>
        <p:txBody>
          <a:bodyPr lIns="91440" tIns="0" rIns="9144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Well Architected Data Foundation </a:t>
            </a:r>
          </a:p>
        </p:txBody>
      </p:sp>
      <p:sp>
        <p:nvSpPr>
          <p:cNvPr id="317" name="Rectangle: Rounded Corners 316">
            <a:extLst>
              <a:ext uri="{FF2B5EF4-FFF2-40B4-BE49-F238E27FC236}">
                <a16:creationId xmlns:a16="http://schemas.microsoft.com/office/drawing/2014/main" id="{0CC49853-9CAB-FEFE-0940-6816044285BB}"/>
              </a:ext>
            </a:extLst>
          </p:cNvPr>
          <p:cNvSpPr>
            <a:spLocks/>
          </p:cNvSpPr>
          <p:nvPr/>
        </p:nvSpPr>
        <p:spPr>
          <a:xfrm>
            <a:off x="9831805" y="5079244"/>
            <a:ext cx="1071790" cy="696183"/>
          </a:xfrm>
          <a:prstGeom prst="roundRect">
            <a:avLst>
              <a:gd name="adj" fmla="val 18318"/>
            </a:avLst>
          </a:prstGeom>
          <a:solidFill>
            <a:srgbClr val="0078D4">
              <a:lumMod val="20000"/>
              <a:lumOff val="80000"/>
            </a:srgbClr>
          </a:solidFill>
          <a:ln w="3175" cap="flat" cmpd="sng" algn="ctr">
            <a:solidFill>
              <a:srgbClr val="8DC8E8"/>
            </a:solidFill>
            <a:prstDash val="solid"/>
          </a:ln>
          <a:effectLst>
            <a:outerShdw blurRad="190500" dist="76200" dir="3600000" sx="90000" sy="90000" algn="tr" rotWithShape="0">
              <a:srgbClr val="FFF8F5">
                <a:lumMod val="50000"/>
                <a:alpha val="10000"/>
              </a:srgbClr>
            </a:outerShdw>
          </a:effectLst>
        </p:spPr>
        <p:txBody>
          <a:bodyPr lIns="91440" tIns="0" rIns="9144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Modular and Non-Modular Technology Identification</a:t>
            </a:r>
          </a:p>
        </p:txBody>
      </p:sp>
      <p:sp>
        <p:nvSpPr>
          <p:cNvPr id="318" name="Arrow: U-Turn 317">
            <a:extLst>
              <a:ext uri="{FF2B5EF4-FFF2-40B4-BE49-F238E27FC236}">
                <a16:creationId xmlns:a16="http://schemas.microsoft.com/office/drawing/2014/main" id="{B6550E04-4949-7FBA-1AF5-503F5D962656}"/>
              </a:ext>
            </a:extLst>
          </p:cNvPr>
          <p:cNvSpPr/>
          <p:nvPr/>
        </p:nvSpPr>
        <p:spPr bwMode="auto">
          <a:xfrm rot="5400000" flipV="1">
            <a:off x="4993259" y="5096343"/>
            <a:ext cx="935192" cy="661987"/>
          </a:xfrm>
          <a:prstGeom prst="uturnArrow">
            <a:avLst>
              <a:gd name="adj1" fmla="val 0"/>
              <a:gd name="adj2" fmla="val 0"/>
              <a:gd name="adj3" fmla="val 0"/>
              <a:gd name="adj4" fmla="val 25594"/>
              <a:gd name="adj5" fmla="val 25594"/>
            </a:avLst>
          </a:prstGeom>
          <a:noFill/>
          <a:ln w="6350" cap="flat" cmpd="sng" algn="ctr">
            <a:solidFill>
              <a:srgbClr val="0078D4"/>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grpSp>
        <p:nvGrpSpPr>
          <p:cNvPr id="319" name="Group 318">
            <a:extLst>
              <a:ext uri="{FF2B5EF4-FFF2-40B4-BE49-F238E27FC236}">
                <a16:creationId xmlns:a16="http://schemas.microsoft.com/office/drawing/2014/main" id="{196F08A7-DAA0-12D9-B88D-32486B9D71F3}"/>
              </a:ext>
            </a:extLst>
          </p:cNvPr>
          <p:cNvGrpSpPr>
            <a:grpSpLocks/>
          </p:cNvGrpSpPr>
          <p:nvPr/>
        </p:nvGrpSpPr>
        <p:grpSpPr>
          <a:xfrm rot="5400000">
            <a:off x="448985" y="2730675"/>
            <a:ext cx="173736" cy="171298"/>
            <a:chOff x="3415005" y="4805857"/>
            <a:chExt cx="170372" cy="170372"/>
          </a:xfrm>
        </p:grpSpPr>
        <p:sp>
          <p:nvSpPr>
            <p:cNvPr id="320" name="Oval 319">
              <a:extLst>
                <a:ext uri="{FF2B5EF4-FFF2-40B4-BE49-F238E27FC236}">
                  <a16:creationId xmlns:a16="http://schemas.microsoft.com/office/drawing/2014/main" id="{6DE2F249-DFB6-FF84-0345-F1104A67AEE0}"/>
                </a:ext>
              </a:extLst>
            </p:cNvPr>
            <p:cNvSpPr/>
            <p:nvPr/>
          </p:nvSpPr>
          <p:spPr bwMode="auto">
            <a:xfrm>
              <a:off x="3415005" y="4805857"/>
              <a:ext cx="170372" cy="170372"/>
            </a:xfrm>
            <a:prstGeom prst="ellipse">
              <a:avLst/>
            </a:prstGeom>
            <a:solidFill>
              <a:srgbClr val="FFF8F5">
                <a:lumMod val="5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endParaRPr>
            </a:p>
          </p:txBody>
        </p:sp>
        <p:pic>
          <p:nvPicPr>
            <p:cNvPr id="321" name="Graphic 378">
              <a:extLst>
                <a:ext uri="{FF2B5EF4-FFF2-40B4-BE49-F238E27FC236}">
                  <a16:creationId xmlns:a16="http://schemas.microsoft.com/office/drawing/2014/main" id="{D39B8DD8-8A55-D77D-3E6A-C9850744D6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71752" y="4842164"/>
              <a:ext cx="56879" cy="97759"/>
            </a:xfrm>
            <a:prstGeom prst="rect">
              <a:avLst/>
            </a:prstGeom>
          </p:spPr>
        </p:pic>
      </p:grpSp>
      <p:grpSp>
        <p:nvGrpSpPr>
          <p:cNvPr id="322" name="Group 321">
            <a:extLst>
              <a:ext uri="{FF2B5EF4-FFF2-40B4-BE49-F238E27FC236}">
                <a16:creationId xmlns:a16="http://schemas.microsoft.com/office/drawing/2014/main" id="{86426507-3DA6-73AE-CD88-90807C06A8E4}"/>
              </a:ext>
            </a:extLst>
          </p:cNvPr>
          <p:cNvGrpSpPr>
            <a:grpSpLocks/>
          </p:cNvGrpSpPr>
          <p:nvPr/>
        </p:nvGrpSpPr>
        <p:grpSpPr>
          <a:xfrm rot="5400000">
            <a:off x="4697324" y="3195020"/>
            <a:ext cx="160154" cy="162926"/>
            <a:chOff x="3415005" y="4805857"/>
            <a:chExt cx="170372" cy="170372"/>
          </a:xfrm>
        </p:grpSpPr>
        <p:sp>
          <p:nvSpPr>
            <p:cNvPr id="323" name="Oval 322">
              <a:extLst>
                <a:ext uri="{FF2B5EF4-FFF2-40B4-BE49-F238E27FC236}">
                  <a16:creationId xmlns:a16="http://schemas.microsoft.com/office/drawing/2014/main" id="{0C69F2C9-20E9-D8FD-FFB0-A2913A1581C6}"/>
                </a:ext>
              </a:extLst>
            </p:cNvPr>
            <p:cNvSpPr/>
            <p:nvPr/>
          </p:nvSpPr>
          <p:spPr bwMode="auto">
            <a:xfrm>
              <a:off x="3415005" y="4805857"/>
              <a:ext cx="170372" cy="170372"/>
            </a:xfrm>
            <a:prstGeom prst="ellipse">
              <a:avLst/>
            </a:prstGeom>
            <a:solidFill>
              <a:srgbClr val="702573">
                <a:lumMod val="60000"/>
                <a:lumOff val="40000"/>
              </a:srgbClr>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endParaRPr>
            </a:p>
          </p:txBody>
        </p:sp>
        <p:pic>
          <p:nvPicPr>
            <p:cNvPr id="324" name="Graphic 381">
              <a:extLst>
                <a:ext uri="{FF2B5EF4-FFF2-40B4-BE49-F238E27FC236}">
                  <a16:creationId xmlns:a16="http://schemas.microsoft.com/office/drawing/2014/main" id="{C44360A0-2679-E810-96FC-6EADF983E1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71752" y="4842164"/>
              <a:ext cx="56879" cy="97759"/>
            </a:xfrm>
            <a:prstGeom prst="rect">
              <a:avLst/>
            </a:prstGeom>
          </p:spPr>
        </p:pic>
      </p:grpSp>
      <p:grpSp>
        <p:nvGrpSpPr>
          <p:cNvPr id="325" name="Group 324">
            <a:extLst>
              <a:ext uri="{FF2B5EF4-FFF2-40B4-BE49-F238E27FC236}">
                <a16:creationId xmlns:a16="http://schemas.microsoft.com/office/drawing/2014/main" id="{038AD197-FCD6-5A11-D02E-79E374F8CD4A}"/>
              </a:ext>
            </a:extLst>
          </p:cNvPr>
          <p:cNvGrpSpPr>
            <a:grpSpLocks/>
          </p:cNvGrpSpPr>
          <p:nvPr/>
        </p:nvGrpSpPr>
        <p:grpSpPr>
          <a:xfrm>
            <a:off x="5263014" y="5813468"/>
            <a:ext cx="160154" cy="162926"/>
            <a:chOff x="3415005" y="4805857"/>
            <a:chExt cx="170372" cy="170372"/>
          </a:xfrm>
        </p:grpSpPr>
        <p:sp>
          <p:nvSpPr>
            <p:cNvPr id="326" name="Oval 325">
              <a:extLst>
                <a:ext uri="{FF2B5EF4-FFF2-40B4-BE49-F238E27FC236}">
                  <a16:creationId xmlns:a16="http://schemas.microsoft.com/office/drawing/2014/main" id="{30F697D9-7B7A-DEC6-0D04-C36E66E0C0B6}"/>
                </a:ext>
              </a:extLst>
            </p:cNvPr>
            <p:cNvSpPr/>
            <p:nvPr/>
          </p:nvSpPr>
          <p:spPr bwMode="auto">
            <a:xfrm>
              <a:off x="3415005" y="4805857"/>
              <a:ext cx="170372" cy="170372"/>
            </a:xfrm>
            <a:prstGeom prst="ellipse">
              <a:avLst/>
            </a:prstGeom>
            <a:solidFill>
              <a:srgbClr val="0078D4"/>
            </a:solidFill>
            <a:ln w="9525" cap="flat" cmpd="sng" algn="ctr">
              <a:solidFill>
                <a:srgbClr val="0078D4"/>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Sans Display"/>
                <a:ea typeface="Segoe UI" pitchFamily="34" charset="0"/>
                <a:cs typeface="Segoe UI" pitchFamily="34" charset="0"/>
              </a:endParaRPr>
            </a:p>
          </p:txBody>
        </p:sp>
        <p:pic>
          <p:nvPicPr>
            <p:cNvPr id="327" name="Graphic 387">
              <a:extLst>
                <a:ext uri="{FF2B5EF4-FFF2-40B4-BE49-F238E27FC236}">
                  <a16:creationId xmlns:a16="http://schemas.microsoft.com/office/drawing/2014/main" id="{EA7CD3E1-5D9E-D09A-B7E5-883EA35E4D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71752" y="4842164"/>
              <a:ext cx="56879" cy="97759"/>
            </a:xfrm>
            <a:prstGeom prst="rect">
              <a:avLst/>
            </a:prstGeom>
          </p:spPr>
        </p:pic>
      </p:grpSp>
      <p:grpSp>
        <p:nvGrpSpPr>
          <p:cNvPr id="328" name="Group 327">
            <a:extLst>
              <a:ext uri="{FF2B5EF4-FFF2-40B4-BE49-F238E27FC236}">
                <a16:creationId xmlns:a16="http://schemas.microsoft.com/office/drawing/2014/main" id="{D63CDC22-3A2A-6D93-79A0-9C06E0FB989B}"/>
              </a:ext>
            </a:extLst>
          </p:cNvPr>
          <p:cNvGrpSpPr/>
          <p:nvPr/>
        </p:nvGrpSpPr>
        <p:grpSpPr>
          <a:xfrm>
            <a:off x="3735658" y="4137633"/>
            <a:ext cx="365368" cy="121314"/>
            <a:chOff x="3614363" y="3713227"/>
            <a:chExt cx="365368" cy="121314"/>
          </a:xfrm>
        </p:grpSpPr>
        <p:sp>
          <p:nvSpPr>
            <p:cNvPr id="329" name="Oval 328">
              <a:extLst>
                <a:ext uri="{FF2B5EF4-FFF2-40B4-BE49-F238E27FC236}">
                  <a16:creationId xmlns:a16="http://schemas.microsoft.com/office/drawing/2014/main" id="{B54AD92F-D946-8DF3-5433-67E1B6406649}"/>
                </a:ext>
              </a:extLst>
            </p:cNvPr>
            <p:cNvSpPr>
              <a:spLocks/>
            </p:cNvSpPr>
            <p:nvPr/>
          </p:nvSpPr>
          <p:spPr>
            <a:xfrm>
              <a:off x="3731288" y="3713227"/>
              <a:ext cx="119250" cy="121314"/>
            </a:xfrm>
            <a:prstGeom prst="ellipse">
              <a:avLst/>
            </a:prstGeom>
            <a:solidFill>
              <a:srgbClr val="0078D4">
                <a:lumMod val="60000"/>
                <a:lumOff val="40000"/>
                <a:alpha val="70000"/>
              </a:srgbClr>
            </a:solidFill>
            <a:ln w="6694" cap="flat" cmpd="sng" algn="ctr">
              <a:solidFill>
                <a:srgbClr val="FFFFFF"/>
              </a:solidFill>
              <a:prstDash val="solid"/>
              <a:miter/>
            </a:ln>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000000"/>
                </a:solidFill>
                <a:effectLst/>
                <a:uLnTx/>
                <a:uFillTx/>
                <a:latin typeface="Segoe Sans Display"/>
                <a:ea typeface="+mn-ea"/>
                <a:cs typeface="+mn-cs"/>
              </a:endParaRPr>
            </a:p>
          </p:txBody>
        </p:sp>
        <p:sp>
          <p:nvSpPr>
            <p:cNvPr id="330" name="Oval 329">
              <a:extLst>
                <a:ext uri="{FF2B5EF4-FFF2-40B4-BE49-F238E27FC236}">
                  <a16:creationId xmlns:a16="http://schemas.microsoft.com/office/drawing/2014/main" id="{1BCBED98-B693-3C1F-6DFF-B11B92CA390A}"/>
                </a:ext>
              </a:extLst>
            </p:cNvPr>
            <p:cNvSpPr>
              <a:spLocks/>
            </p:cNvSpPr>
            <p:nvPr/>
          </p:nvSpPr>
          <p:spPr>
            <a:xfrm>
              <a:off x="3860481" y="3713227"/>
              <a:ext cx="119250" cy="121314"/>
            </a:xfrm>
            <a:prstGeom prst="ellipse">
              <a:avLst/>
            </a:prstGeom>
            <a:solidFill>
              <a:srgbClr val="0078D4">
                <a:lumMod val="60000"/>
                <a:lumOff val="40000"/>
                <a:alpha val="70000"/>
              </a:srgbClr>
            </a:solidFill>
            <a:ln w="6694" cap="flat" cmpd="sng" algn="ctr">
              <a:solidFill>
                <a:srgbClr val="FFFFFF"/>
              </a:solidFill>
              <a:prstDash val="solid"/>
              <a:miter/>
            </a:ln>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a:ln>
                  <a:noFill/>
                </a:ln>
                <a:solidFill>
                  <a:srgbClr val="000000"/>
                </a:solidFill>
                <a:effectLst/>
                <a:uLnTx/>
                <a:uFillTx/>
                <a:latin typeface="Segoe Sans Display"/>
                <a:ea typeface="+mn-ea"/>
                <a:cs typeface="+mn-cs"/>
              </a:endParaRPr>
            </a:p>
          </p:txBody>
        </p:sp>
        <p:pic>
          <p:nvPicPr>
            <p:cNvPr id="331" name="Graphic 365">
              <a:extLst>
                <a:ext uri="{FF2B5EF4-FFF2-40B4-BE49-F238E27FC236}">
                  <a16:creationId xmlns:a16="http://schemas.microsoft.com/office/drawing/2014/main" id="{F9D123E6-160A-0AA5-8B35-68F1D2AE18E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72750" y="3726528"/>
              <a:ext cx="94712" cy="94712"/>
            </a:xfrm>
            <a:prstGeom prst="rect">
              <a:avLst/>
            </a:prstGeom>
          </p:spPr>
        </p:pic>
        <p:pic>
          <p:nvPicPr>
            <p:cNvPr id="332" name="Graphic 366">
              <a:extLst>
                <a:ext uri="{FF2B5EF4-FFF2-40B4-BE49-F238E27FC236}">
                  <a16:creationId xmlns:a16="http://schemas.microsoft.com/office/drawing/2014/main" id="{7AA1B18A-A132-344A-8E9D-4B683413AEA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43557" y="3726528"/>
              <a:ext cx="94712" cy="94712"/>
            </a:xfrm>
            <a:prstGeom prst="rect">
              <a:avLst/>
            </a:prstGeom>
          </p:spPr>
        </p:pic>
        <p:pic>
          <p:nvPicPr>
            <p:cNvPr id="333" name="Graphic 367">
              <a:extLst>
                <a:ext uri="{FF2B5EF4-FFF2-40B4-BE49-F238E27FC236}">
                  <a16:creationId xmlns:a16="http://schemas.microsoft.com/office/drawing/2014/main" id="{30B161A4-7D54-4561-5597-CB9CEEADEFE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14363" y="3726528"/>
              <a:ext cx="94712" cy="94712"/>
            </a:xfrm>
            <a:prstGeom prst="rect">
              <a:avLst/>
            </a:prstGeom>
          </p:spPr>
        </p:pic>
      </p:grpSp>
      <p:grpSp>
        <p:nvGrpSpPr>
          <p:cNvPr id="334" name="Group 333">
            <a:extLst>
              <a:ext uri="{FF2B5EF4-FFF2-40B4-BE49-F238E27FC236}">
                <a16:creationId xmlns:a16="http://schemas.microsoft.com/office/drawing/2014/main" id="{152C85D3-B3E7-6F42-9215-0D96561CCD33}"/>
              </a:ext>
            </a:extLst>
          </p:cNvPr>
          <p:cNvGrpSpPr/>
          <p:nvPr/>
        </p:nvGrpSpPr>
        <p:grpSpPr>
          <a:xfrm>
            <a:off x="5187434" y="4483049"/>
            <a:ext cx="156592" cy="159302"/>
            <a:chOff x="5072904" y="4077637"/>
            <a:chExt cx="119250" cy="121314"/>
          </a:xfrm>
        </p:grpSpPr>
        <p:sp>
          <p:nvSpPr>
            <p:cNvPr id="335" name="Oval 334">
              <a:extLst>
                <a:ext uri="{FF2B5EF4-FFF2-40B4-BE49-F238E27FC236}">
                  <a16:creationId xmlns:a16="http://schemas.microsoft.com/office/drawing/2014/main" id="{47D0379F-94BA-9718-6D95-9E22FE9FD374}"/>
                </a:ext>
              </a:extLst>
            </p:cNvPr>
            <p:cNvSpPr>
              <a:spLocks/>
            </p:cNvSpPr>
            <p:nvPr/>
          </p:nvSpPr>
          <p:spPr>
            <a:xfrm>
              <a:off x="5072904" y="4077637"/>
              <a:ext cx="119250" cy="121314"/>
            </a:xfrm>
            <a:prstGeom prst="ellipse">
              <a:avLst/>
            </a:prstGeom>
            <a:solidFill>
              <a:srgbClr val="091F2C">
                <a:lumMod val="50000"/>
                <a:lumOff val="50000"/>
                <a:alpha val="70000"/>
              </a:srgbClr>
            </a:solidFill>
            <a:ln w="6694" cap="flat" cmpd="sng" algn="ctr">
              <a:solidFill>
                <a:srgbClr val="FFFFFF"/>
              </a:solidFill>
              <a:prstDash val="solid"/>
              <a:miter/>
            </a:ln>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36" name="Graphic 369">
              <a:extLst>
                <a:ext uri="{FF2B5EF4-FFF2-40B4-BE49-F238E27FC236}">
                  <a16:creationId xmlns:a16="http://schemas.microsoft.com/office/drawing/2014/main" id="{A0944268-A715-79C7-F47B-FE47C95B68D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85173" y="4090938"/>
              <a:ext cx="94712" cy="94712"/>
            </a:xfrm>
            <a:prstGeom prst="rect">
              <a:avLst/>
            </a:prstGeom>
          </p:spPr>
        </p:pic>
      </p:grpSp>
      <p:grpSp>
        <p:nvGrpSpPr>
          <p:cNvPr id="337" name="Group 336">
            <a:extLst>
              <a:ext uri="{FF2B5EF4-FFF2-40B4-BE49-F238E27FC236}">
                <a16:creationId xmlns:a16="http://schemas.microsoft.com/office/drawing/2014/main" id="{22F3A490-06F8-6EEE-DC90-43CEE16821BE}"/>
              </a:ext>
            </a:extLst>
          </p:cNvPr>
          <p:cNvGrpSpPr/>
          <p:nvPr/>
        </p:nvGrpSpPr>
        <p:grpSpPr>
          <a:xfrm>
            <a:off x="5187434" y="4005806"/>
            <a:ext cx="156592" cy="159302"/>
            <a:chOff x="5072904" y="4077637"/>
            <a:chExt cx="119250" cy="121314"/>
          </a:xfrm>
        </p:grpSpPr>
        <p:sp>
          <p:nvSpPr>
            <p:cNvPr id="338" name="Oval 337">
              <a:extLst>
                <a:ext uri="{FF2B5EF4-FFF2-40B4-BE49-F238E27FC236}">
                  <a16:creationId xmlns:a16="http://schemas.microsoft.com/office/drawing/2014/main" id="{74E05EE6-2E24-4F06-2D06-C722D35A2DB6}"/>
                </a:ext>
              </a:extLst>
            </p:cNvPr>
            <p:cNvSpPr>
              <a:spLocks/>
            </p:cNvSpPr>
            <p:nvPr/>
          </p:nvSpPr>
          <p:spPr>
            <a:xfrm>
              <a:off x="5072904" y="4077637"/>
              <a:ext cx="119250" cy="121314"/>
            </a:xfrm>
            <a:prstGeom prst="ellipse">
              <a:avLst/>
            </a:prstGeom>
            <a:solidFill>
              <a:srgbClr val="091F2C">
                <a:lumMod val="50000"/>
                <a:lumOff val="50000"/>
                <a:alpha val="70000"/>
              </a:srgbClr>
            </a:solidFill>
            <a:ln w="6694" cap="flat" cmpd="sng" algn="ctr">
              <a:solidFill>
                <a:srgbClr val="FFFFFF"/>
              </a:solidFill>
              <a:prstDash val="solid"/>
              <a:miter/>
            </a:ln>
            <a:effectLst/>
          </p:spPr>
          <p:txBody>
            <a:bodyPr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339" name="Graphic 373">
              <a:extLst>
                <a:ext uri="{FF2B5EF4-FFF2-40B4-BE49-F238E27FC236}">
                  <a16:creationId xmlns:a16="http://schemas.microsoft.com/office/drawing/2014/main" id="{AD5AE29C-DA2E-2849-D353-84E4F01B5B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85173" y="4090938"/>
              <a:ext cx="94712" cy="94712"/>
            </a:xfrm>
            <a:prstGeom prst="rect">
              <a:avLst/>
            </a:prstGeom>
          </p:spPr>
        </p:pic>
      </p:grpSp>
      <p:sp>
        <p:nvSpPr>
          <p:cNvPr id="340" name="TextBox 5">
            <a:extLst>
              <a:ext uri="{FF2B5EF4-FFF2-40B4-BE49-F238E27FC236}">
                <a16:creationId xmlns:a16="http://schemas.microsoft.com/office/drawing/2014/main" id="{B756D760-670B-65DA-ED63-774473B40D37}"/>
              </a:ext>
            </a:extLst>
          </p:cNvPr>
          <p:cNvSpPr txBox="1"/>
          <p:nvPr/>
        </p:nvSpPr>
        <p:spPr>
          <a:xfrm>
            <a:off x="8741685" y="3218838"/>
            <a:ext cx="1451394" cy="138499"/>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rgbClr val="091F2C"/>
                </a:solidFill>
                <a:latin typeface="Segoe Sans Display"/>
              </a:defRPr>
            </a:lvl1pPr>
            <a:lvl2pPr marL="457200" algn="l" defTabSz="914400" rtl="0" eaLnBrk="1" latinLnBrk="0" hangingPunct="1">
              <a:defRPr sz="1800" kern="1200">
                <a:solidFill>
                  <a:srgbClr val="091F2C"/>
                </a:solidFill>
                <a:latin typeface="Segoe Sans Display"/>
              </a:defRPr>
            </a:lvl2pPr>
            <a:lvl3pPr marL="914400" algn="l" defTabSz="914400" rtl="0" eaLnBrk="1" latinLnBrk="0" hangingPunct="1">
              <a:defRPr sz="1800" kern="1200">
                <a:solidFill>
                  <a:srgbClr val="091F2C"/>
                </a:solidFill>
                <a:latin typeface="Segoe Sans Display"/>
              </a:defRPr>
            </a:lvl3pPr>
            <a:lvl4pPr marL="1371600" algn="l" defTabSz="914400" rtl="0" eaLnBrk="1" latinLnBrk="0" hangingPunct="1">
              <a:defRPr sz="1800" kern="1200">
                <a:solidFill>
                  <a:srgbClr val="091F2C"/>
                </a:solidFill>
                <a:latin typeface="Segoe Sans Display"/>
              </a:defRPr>
            </a:lvl4pPr>
            <a:lvl5pPr marL="1828800" algn="l" defTabSz="914400" rtl="0" eaLnBrk="1" latinLnBrk="0" hangingPunct="1">
              <a:defRPr sz="1800" kern="1200">
                <a:solidFill>
                  <a:srgbClr val="091F2C"/>
                </a:solidFill>
                <a:latin typeface="Segoe Sans Display"/>
              </a:defRPr>
            </a:lvl5pPr>
            <a:lvl6pPr marL="2286000" algn="l" defTabSz="914400" rtl="0" eaLnBrk="1" latinLnBrk="0" hangingPunct="1">
              <a:defRPr sz="1800" kern="1200">
                <a:solidFill>
                  <a:srgbClr val="091F2C"/>
                </a:solidFill>
                <a:latin typeface="Segoe Sans Display"/>
              </a:defRPr>
            </a:lvl6pPr>
            <a:lvl7pPr marL="2743200" algn="l" defTabSz="914400" rtl="0" eaLnBrk="1" latinLnBrk="0" hangingPunct="1">
              <a:defRPr sz="1800" kern="1200">
                <a:solidFill>
                  <a:srgbClr val="091F2C"/>
                </a:solidFill>
                <a:latin typeface="Segoe Sans Display"/>
              </a:defRPr>
            </a:lvl7pPr>
            <a:lvl8pPr marL="3200400" algn="l" defTabSz="914400" rtl="0" eaLnBrk="1" latinLnBrk="0" hangingPunct="1">
              <a:defRPr sz="1800" kern="1200">
                <a:solidFill>
                  <a:srgbClr val="091F2C"/>
                </a:solidFill>
                <a:latin typeface="Segoe Sans Display"/>
              </a:defRPr>
            </a:lvl8pPr>
            <a:lvl9pPr marL="3657600" algn="l" defTabSz="914400" rtl="0" eaLnBrk="1" latinLnBrk="0" hangingPunct="1">
              <a:defRPr sz="1800" kern="1200">
                <a:solidFill>
                  <a:srgbClr val="091F2C"/>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Sans Display Semibold"/>
                <a:ea typeface="+mn-ea"/>
                <a:cs typeface="+mn-cs"/>
              </a:rPr>
              <a:t>Use-case Delivery Pod(s)</a:t>
            </a:r>
          </a:p>
        </p:txBody>
      </p:sp>
      <p:grpSp>
        <p:nvGrpSpPr>
          <p:cNvPr id="341" name="Group 340">
            <a:extLst>
              <a:ext uri="{FF2B5EF4-FFF2-40B4-BE49-F238E27FC236}">
                <a16:creationId xmlns:a16="http://schemas.microsoft.com/office/drawing/2014/main" id="{1B632F9D-99D4-DE6C-E6BA-0352049044F9}"/>
              </a:ext>
            </a:extLst>
          </p:cNvPr>
          <p:cNvGrpSpPr/>
          <p:nvPr/>
        </p:nvGrpSpPr>
        <p:grpSpPr>
          <a:xfrm>
            <a:off x="7499995" y="3739935"/>
            <a:ext cx="3416328" cy="543187"/>
            <a:chOff x="7378700" y="3226875"/>
            <a:chExt cx="3416328" cy="631835"/>
          </a:xfrm>
          <a:solidFill>
            <a:srgbClr val="C03BC4">
              <a:lumMod val="20000"/>
              <a:lumOff val="80000"/>
            </a:srgbClr>
          </a:solidFill>
        </p:grpSpPr>
        <p:sp>
          <p:nvSpPr>
            <p:cNvPr id="342" name="Rectangle: Rounded Corners 341">
              <a:extLst>
                <a:ext uri="{FF2B5EF4-FFF2-40B4-BE49-F238E27FC236}">
                  <a16:creationId xmlns:a16="http://schemas.microsoft.com/office/drawing/2014/main" id="{AC910A68-3CF7-58AF-7D54-A18D93EB6A74}"/>
                </a:ext>
              </a:extLst>
            </p:cNvPr>
            <p:cNvSpPr>
              <a:spLocks/>
            </p:cNvSpPr>
            <p:nvPr/>
          </p:nvSpPr>
          <p:spPr>
            <a:xfrm>
              <a:off x="7378700" y="3226875"/>
              <a:ext cx="3416328" cy="303380"/>
            </a:xfrm>
            <a:prstGeom prst="roundRect">
              <a:avLst>
                <a:gd name="adj" fmla="val 20000"/>
              </a:avLst>
            </a:prstGeom>
            <a:grp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91F2C"/>
                  </a:solidFill>
                  <a:effectLst/>
                  <a:uLnTx/>
                  <a:uFillTx/>
                  <a:latin typeface="Segoe Sans Display Semibold"/>
                  <a:ea typeface="+mn-ea"/>
                  <a:cs typeface="+mn-cs"/>
                </a:rPr>
                <a:t>GenA</a:t>
              </a: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I Ops Process</a:t>
              </a:r>
            </a:p>
          </p:txBody>
        </p:sp>
        <p:sp>
          <p:nvSpPr>
            <p:cNvPr id="343" name="Rectangle: Rounded Corners 342">
              <a:extLst>
                <a:ext uri="{FF2B5EF4-FFF2-40B4-BE49-F238E27FC236}">
                  <a16:creationId xmlns:a16="http://schemas.microsoft.com/office/drawing/2014/main" id="{5C13D0FB-7F53-8CF3-FEAC-C6156B8F6DB3}"/>
                </a:ext>
              </a:extLst>
            </p:cNvPr>
            <p:cNvSpPr>
              <a:spLocks/>
            </p:cNvSpPr>
            <p:nvPr/>
          </p:nvSpPr>
          <p:spPr>
            <a:xfrm>
              <a:off x="7378700" y="3555330"/>
              <a:ext cx="3416328" cy="303380"/>
            </a:xfrm>
            <a:prstGeom prst="roundRect">
              <a:avLst>
                <a:gd name="adj" fmla="val 20000"/>
              </a:avLst>
            </a:prstGeom>
            <a:grp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091F2C"/>
                  </a:solidFill>
                  <a:effectLst/>
                  <a:uLnTx/>
                  <a:uFillTx/>
                  <a:latin typeface="Segoe Sans Display Semibold"/>
                  <a:ea typeface="+mn-ea"/>
                  <a:cs typeface="+mn-cs"/>
                </a:rPr>
                <a:t>GenAI</a:t>
              </a:r>
              <a:r>
                <a:rPr kumimoji="0" lang="en-US" sz="800" b="0" i="0" u="none" strike="noStrike" kern="1200" cap="none" spc="0" normalizeH="0" baseline="0" noProof="0">
                  <a:ln>
                    <a:noFill/>
                  </a:ln>
                  <a:solidFill>
                    <a:srgbClr val="091F2C"/>
                  </a:solidFill>
                  <a:effectLst/>
                  <a:uLnTx/>
                  <a:uFillTx/>
                  <a:latin typeface="Segoe Sans Display Semibold"/>
                  <a:ea typeface="+mn-ea"/>
                  <a:cs typeface="+mn-cs"/>
                </a:rPr>
                <a:t> Ops Technology</a:t>
              </a:r>
            </a:p>
          </p:txBody>
        </p:sp>
      </p:grpSp>
      <p:sp>
        <p:nvSpPr>
          <p:cNvPr id="344" name="Rectangle: Rounded Corners 343">
            <a:extLst>
              <a:ext uri="{FF2B5EF4-FFF2-40B4-BE49-F238E27FC236}">
                <a16:creationId xmlns:a16="http://schemas.microsoft.com/office/drawing/2014/main" id="{AEE30470-8D35-1978-E514-BE6B7841334D}"/>
              </a:ext>
            </a:extLst>
          </p:cNvPr>
          <p:cNvSpPr/>
          <p:nvPr/>
        </p:nvSpPr>
        <p:spPr bwMode="auto">
          <a:xfrm>
            <a:off x="3311536" y="5364911"/>
            <a:ext cx="1773878" cy="288880"/>
          </a:xfrm>
          <a:prstGeom prst="roundRect">
            <a:avLst>
              <a:gd name="adj" fmla="val 50000"/>
            </a:avLst>
          </a:prstGeom>
          <a:solidFill>
            <a:srgbClr val="0078D4"/>
          </a:solidFill>
          <a:ln w="6694" cap="flat" cmpd="sng" algn="ctr">
            <a:solidFill>
              <a:srgbClr val="FFFFFF"/>
            </a:solidFill>
            <a:prstDash val="solid"/>
            <a:miter/>
          </a:ln>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Sans Display Semibold"/>
                <a:ea typeface="+mn-ea"/>
                <a:cs typeface="+mn-cs"/>
              </a:rPr>
              <a:t>AI Foundation Architecture</a:t>
            </a:r>
          </a:p>
        </p:txBody>
      </p:sp>
      <p:sp>
        <p:nvSpPr>
          <p:cNvPr id="345" name="Arrow: U-Turn 344">
            <a:extLst>
              <a:ext uri="{FF2B5EF4-FFF2-40B4-BE49-F238E27FC236}">
                <a16:creationId xmlns:a16="http://schemas.microsoft.com/office/drawing/2014/main" id="{F60C7506-DF65-46DA-0F97-5D1D213FD88F}"/>
              </a:ext>
            </a:extLst>
          </p:cNvPr>
          <p:cNvSpPr/>
          <p:nvPr/>
        </p:nvSpPr>
        <p:spPr bwMode="auto">
          <a:xfrm>
            <a:off x="822252" y="1235999"/>
            <a:ext cx="10919542" cy="975333"/>
          </a:xfrm>
          <a:prstGeom prst="uturnArrow">
            <a:avLst>
              <a:gd name="adj1" fmla="val 0"/>
              <a:gd name="adj2" fmla="val 0"/>
              <a:gd name="adj3" fmla="val 0"/>
              <a:gd name="adj4" fmla="val 35590"/>
              <a:gd name="adj5" fmla="val 77643"/>
            </a:avLst>
          </a:prstGeom>
          <a:solidFill>
            <a:srgbClr val="FEE298"/>
          </a:solidFill>
          <a:ln w="6350" cap="flat" cmpd="sng" algn="ctr">
            <a:solidFill>
              <a:srgbClr val="091F2C"/>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346" name="Rectangle: Rounded Corners 345">
            <a:extLst>
              <a:ext uri="{FF2B5EF4-FFF2-40B4-BE49-F238E27FC236}">
                <a16:creationId xmlns:a16="http://schemas.microsoft.com/office/drawing/2014/main" id="{D1F825B6-CCA5-491C-1571-9ED1CC9F41BF}"/>
              </a:ext>
            </a:extLst>
          </p:cNvPr>
          <p:cNvSpPr/>
          <p:nvPr/>
        </p:nvSpPr>
        <p:spPr bwMode="auto">
          <a:xfrm>
            <a:off x="4963882" y="1125461"/>
            <a:ext cx="2574111" cy="201385"/>
          </a:xfrm>
          <a:prstGeom prst="roundRect">
            <a:avLst>
              <a:gd name="adj" fmla="val 50000"/>
            </a:avLst>
          </a:prstGeom>
          <a:solidFill>
            <a:schemeClr val="accent5"/>
          </a:solidFill>
          <a:ln w="6694" cap="flat" cmpd="sng" algn="ctr">
            <a:solidFill>
              <a:srgbClr val="FFFFFF"/>
            </a:solidFill>
            <a:prstDash val="solid"/>
            <a:miter/>
          </a:ln>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Sans Display Semibold"/>
                <a:ea typeface="+mn-ea"/>
                <a:cs typeface="+mn-cs"/>
              </a:rPr>
              <a:t>Business Value &amp; Technical Leadership</a:t>
            </a:r>
          </a:p>
        </p:txBody>
      </p:sp>
      <p:sp>
        <p:nvSpPr>
          <p:cNvPr id="347" name="Rectangle: Rounded Corners 346">
            <a:extLst>
              <a:ext uri="{FF2B5EF4-FFF2-40B4-BE49-F238E27FC236}">
                <a16:creationId xmlns:a16="http://schemas.microsoft.com/office/drawing/2014/main" id="{45137B25-635C-E265-451A-EA244D477F6E}"/>
              </a:ext>
            </a:extLst>
          </p:cNvPr>
          <p:cNvSpPr/>
          <p:nvPr/>
        </p:nvSpPr>
        <p:spPr bwMode="auto">
          <a:xfrm>
            <a:off x="1902446" y="1376625"/>
            <a:ext cx="9163345" cy="471776"/>
          </a:xfrm>
          <a:prstGeom prst="roundRect">
            <a:avLst>
              <a:gd name="adj" fmla="val 8197"/>
            </a:avLst>
          </a:prstGeom>
          <a:solidFill>
            <a:srgbClr val="FFFFFF"/>
          </a:solidFill>
          <a:ln w="6350" cap="flat" cmpd="sng" algn="ctr">
            <a:noFill/>
            <a:prstDash val="solid"/>
            <a:headEnd type="none" w="med" len="med"/>
            <a:tailEnd type="none" w="med" len="med"/>
          </a:ln>
          <a:effectLst>
            <a:outerShdw blurRad="254000" dist="139700" dir="2700000" sx="95000" sy="95000" algn="tl" rotWithShape="0">
              <a:srgbClr val="FFF8F5">
                <a:lumMod val="10000"/>
                <a:alpha val="15000"/>
              </a:srgbClr>
            </a:outerShdw>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091F2C"/>
              </a:solidFill>
              <a:effectLst/>
              <a:uLnTx/>
              <a:uFillTx/>
              <a:latin typeface="Segoe Sans Display"/>
              <a:ea typeface="+mn-ea"/>
              <a:cs typeface="Segoe UI" pitchFamily="34" charset="0"/>
            </a:endParaRPr>
          </a:p>
        </p:txBody>
      </p:sp>
      <p:sp>
        <p:nvSpPr>
          <p:cNvPr id="348" name="Rectangle: Rounded Corners 347">
            <a:extLst>
              <a:ext uri="{FF2B5EF4-FFF2-40B4-BE49-F238E27FC236}">
                <a16:creationId xmlns:a16="http://schemas.microsoft.com/office/drawing/2014/main" id="{2C3AE49D-91ED-07DF-22AF-B5436D026DDD}"/>
              </a:ext>
            </a:extLst>
          </p:cNvPr>
          <p:cNvSpPr>
            <a:spLocks/>
          </p:cNvSpPr>
          <p:nvPr/>
        </p:nvSpPr>
        <p:spPr>
          <a:xfrm>
            <a:off x="2275343" y="1459924"/>
            <a:ext cx="839119" cy="303380"/>
          </a:xfrm>
          <a:prstGeom prst="roundRect">
            <a:avLst>
              <a:gd name="adj" fmla="val 20000"/>
            </a:avLst>
          </a:prstGeom>
          <a:solidFill>
            <a:schemeClr val="accent5"/>
          </a:solid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Display Semibold"/>
                <a:ea typeface="+mn-ea"/>
                <a:cs typeface="+mn-cs"/>
              </a:rPr>
              <a:t>AI Product Ownership</a:t>
            </a:r>
          </a:p>
        </p:txBody>
      </p:sp>
      <p:sp>
        <p:nvSpPr>
          <p:cNvPr id="349" name="Rectangle: Rounded Corners 348">
            <a:extLst>
              <a:ext uri="{FF2B5EF4-FFF2-40B4-BE49-F238E27FC236}">
                <a16:creationId xmlns:a16="http://schemas.microsoft.com/office/drawing/2014/main" id="{C0F66A82-69F9-A70E-BFE1-42691B99278A}"/>
              </a:ext>
            </a:extLst>
          </p:cNvPr>
          <p:cNvSpPr>
            <a:spLocks/>
          </p:cNvSpPr>
          <p:nvPr/>
        </p:nvSpPr>
        <p:spPr>
          <a:xfrm>
            <a:off x="3560781" y="1459924"/>
            <a:ext cx="839119" cy="303380"/>
          </a:xfrm>
          <a:prstGeom prst="roundRect">
            <a:avLst>
              <a:gd name="adj" fmla="val 20000"/>
            </a:avLst>
          </a:prstGeom>
          <a:solidFill>
            <a:schemeClr val="accent5"/>
          </a:solid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Display Semibold"/>
                <a:ea typeface="+mn-ea"/>
                <a:cs typeface="+mn-cs"/>
              </a:rPr>
              <a:t>Responsible AI </a:t>
            </a:r>
          </a:p>
        </p:txBody>
      </p:sp>
      <p:sp>
        <p:nvSpPr>
          <p:cNvPr id="350" name="Rectangle: Rounded Corners 349">
            <a:extLst>
              <a:ext uri="{FF2B5EF4-FFF2-40B4-BE49-F238E27FC236}">
                <a16:creationId xmlns:a16="http://schemas.microsoft.com/office/drawing/2014/main" id="{B5670209-DBA7-293E-6BDE-ADC950935852}"/>
              </a:ext>
            </a:extLst>
          </p:cNvPr>
          <p:cNvSpPr>
            <a:spLocks/>
          </p:cNvSpPr>
          <p:nvPr/>
        </p:nvSpPr>
        <p:spPr>
          <a:xfrm>
            <a:off x="4759438" y="1459924"/>
            <a:ext cx="839119" cy="303380"/>
          </a:xfrm>
          <a:prstGeom prst="roundRect">
            <a:avLst>
              <a:gd name="adj" fmla="val 20000"/>
            </a:avLst>
          </a:prstGeom>
          <a:solidFill>
            <a:schemeClr val="accent5"/>
          </a:solid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Display Semibold"/>
                <a:ea typeface="+mn-ea"/>
                <a:cs typeface="+mn-cs"/>
              </a:rPr>
              <a:t>User Experience</a:t>
            </a:r>
          </a:p>
        </p:txBody>
      </p:sp>
      <p:sp>
        <p:nvSpPr>
          <p:cNvPr id="351" name="Rectangle: Rounded Corners 350">
            <a:extLst>
              <a:ext uri="{FF2B5EF4-FFF2-40B4-BE49-F238E27FC236}">
                <a16:creationId xmlns:a16="http://schemas.microsoft.com/office/drawing/2014/main" id="{7A4FDE12-6B1F-AEAB-C6DF-AC3932B0B170}"/>
              </a:ext>
            </a:extLst>
          </p:cNvPr>
          <p:cNvSpPr>
            <a:spLocks/>
          </p:cNvSpPr>
          <p:nvPr/>
        </p:nvSpPr>
        <p:spPr>
          <a:xfrm>
            <a:off x="5953692" y="1459924"/>
            <a:ext cx="839119" cy="303380"/>
          </a:xfrm>
          <a:prstGeom prst="roundRect">
            <a:avLst>
              <a:gd name="adj" fmla="val 20000"/>
            </a:avLst>
          </a:prstGeom>
          <a:solidFill>
            <a:schemeClr val="accent5"/>
          </a:solid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Display Semibold"/>
                <a:ea typeface="+mn-ea"/>
                <a:cs typeface="+mn-cs"/>
              </a:rPr>
              <a:t>MSM</a:t>
            </a:r>
          </a:p>
        </p:txBody>
      </p:sp>
      <p:sp>
        <p:nvSpPr>
          <p:cNvPr id="352" name="Rectangle: Rounded Corners 351">
            <a:extLst>
              <a:ext uri="{FF2B5EF4-FFF2-40B4-BE49-F238E27FC236}">
                <a16:creationId xmlns:a16="http://schemas.microsoft.com/office/drawing/2014/main" id="{195177D4-9563-9E7B-4DD5-D01C22BC31F5}"/>
              </a:ext>
            </a:extLst>
          </p:cNvPr>
          <p:cNvSpPr>
            <a:spLocks/>
          </p:cNvSpPr>
          <p:nvPr/>
        </p:nvSpPr>
        <p:spPr>
          <a:xfrm>
            <a:off x="7108223" y="1459924"/>
            <a:ext cx="839119" cy="303380"/>
          </a:xfrm>
          <a:prstGeom prst="roundRect">
            <a:avLst>
              <a:gd name="adj" fmla="val 20000"/>
            </a:avLst>
          </a:prstGeom>
          <a:solidFill>
            <a:schemeClr val="accent5"/>
          </a:solid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Display Semibold"/>
                <a:ea typeface="+mn-ea"/>
                <a:cs typeface="+mn-cs"/>
              </a:rPr>
              <a:t>ACM</a:t>
            </a:r>
          </a:p>
        </p:txBody>
      </p:sp>
      <p:sp>
        <p:nvSpPr>
          <p:cNvPr id="353" name="Rectangle: Rounded Corners 352">
            <a:extLst>
              <a:ext uri="{FF2B5EF4-FFF2-40B4-BE49-F238E27FC236}">
                <a16:creationId xmlns:a16="http://schemas.microsoft.com/office/drawing/2014/main" id="{581F0D92-0571-BBC7-23EA-FE17E483AD89}"/>
              </a:ext>
            </a:extLst>
          </p:cNvPr>
          <p:cNvSpPr>
            <a:spLocks/>
          </p:cNvSpPr>
          <p:nvPr/>
        </p:nvSpPr>
        <p:spPr>
          <a:xfrm>
            <a:off x="8289930" y="1459924"/>
            <a:ext cx="839119" cy="303380"/>
          </a:xfrm>
          <a:prstGeom prst="roundRect">
            <a:avLst>
              <a:gd name="adj" fmla="val 20000"/>
            </a:avLst>
          </a:prstGeom>
          <a:solidFill>
            <a:schemeClr val="accent5"/>
          </a:solid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Display Semibold"/>
                <a:ea typeface="+mn-ea"/>
                <a:cs typeface="+mn-cs"/>
              </a:rPr>
              <a:t>Enterprise Architecture</a:t>
            </a:r>
          </a:p>
        </p:txBody>
      </p:sp>
      <p:sp>
        <p:nvSpPr>
          <p:cNvPr id="354" name="Rectangle: Rounded Corners 353">
            <a:extLst>
              <a:ext uri="{FF2B5EF4-FFF2-40B4-BE49-F238E27FC236}">
                <a16:creationId xmlns:a16="http://schemas.microsoft.com/office/drawing/2014/main" id="{3E2E4AE8-851C-BF67-703B-0C1B4A1BEA06}"/>
              </a:ext>
            </a:extLst>
          </p:cNvPr>
          <p:cNvSpPr>
            <a:spLocks/>
          </p:cNvSpPr>
          <p:nvPr/>
        </p:nvSpPr>
        <p:spPr>
          <a:xfrm>
            <a:off x="9549947" y="1459924"/>
            <a:ext cx="839119" cy="303380"/>
          </a:xfrm>
          <a:prstGeom prst="roundRect">
            <a:avLst>
              <a:gd name="adj" fmla="val 20000"/>
            </a:avLst>
          </a:prstGeom>
          <a:solidFill>
            <a:schemeClr val="accent5"/>
          </a:solidFill>
          <a:ln w="10795" cap="flat" cmpd="sng" algn="ctr">
            <a:noFill/>
            <a:prstDash val="solid"/>
          </a:ln>
          <a:effectLst>
            <a:outerShdw blurRad="190500" dist="76200" dir="3600000" sx="90000" sy="90000" algn="tr" rotWithShape="0">
              <a:srgbClr val="FFF8F5">
                <a:lumMod val="50000"/>
                <a:alpha val="10000"/>
              </a:srgbClr>
            </a:outerShdw>
          </a:effectLst>
        </p:spPr>
        <p:txBody>
          <a:bodyPr lIns="0" tIns="0" rIns="0" bIns="0" rtlCol="0" anchor="ct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Sans Display Semibold"/>
                <a:ea typeface="+mn-ea"/>
                <a:cs typeface="+mn-cs"/>
              </a:rPr>
              <a:t>AI Leadership</a:t>
            </a:r>
          </a:p>
        </p:txBody>
      </p:sp>
    </p:spTree>
    <p:extLst>
      <p:ext uri="{BB962C8B-B14F-4D97-AF65-F5344CB8AC3E}">
        <p14:creationId xmlns:p14="http://schemas.microsoft.com/office/powerpoint/2010/main" val="178195433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8EDBF0-02E6-1797-79AE-6121D1454CFC}"/>
            </a:ext>
          </a:extLst>
        </p:cNvPr>
        <p:cNvGrpSpPr/>
        <p:nvPr/>
      </p:nvGrpSpPr>
      <p:grpSpPr>
        <a:xfrm>
          <a:off x="0" y="0"/>
          <a:ext cx="0" cy="0"/>
          <a:chOff x="0" y="0"/>
          <a:chExt cx="0" cy="0"/>
        </a:xfrm>
      </p:grpSpPr>
      <p:sp>
        <p:nvSpPr>
          <p:cNvPr id="2" name="Title 15">
            <a:extLst>
              <a:ext uri="{FF2B5EF4-FFF2-40B4-BE49-F238E27FC236}">
                <a16:creationId xmlns:a16="http://schemas.microsoft.com/office/drawing/2014/main" id="{21EE22F2-EFD0-2AB1-AD43-BD36A2C35402}"/>
              </a:ext>
            </a:extLst>
          </p:cNvPr>
          <p:cNvSpPr txBox="1">
            <a:spLocks/>
          </p:cNvSpPr>
          <p:nvPr/>
        </p:nvSpPr>
        <p:spPr>
          <a:xfrm>
            <a:off x="393788" y="106897"/>
            <a:ext cx="11018520"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CA" sz="3600" b="0" i="0" u="none" strike="noStrike" kern="1200" cap="none" spc="-50" normalizeH="0" baseline="0" noProof="0">
                <a:ln w="3175">
                  <a:noFill/>
                </a:ln>
                <a:solidFill>
                  <a:srgbClr val="091F2C"/>
                </a:solidFill>
                <a:effectLst/>
                <a:uLnTx/>
                <a:uFillTx/>
                <a:latin typeface="Segoe UI Semibold"/>
                <a:ea typeface="+mn-ea"/>
                <a:cs typeface="Segoe UI" pitchFamily="34" charset="0"/>
              </a:rPr>
              <a:t>4. Plan the Journey</a:t>
            </a:r>
          </a:p>
        </p:txBody>
      </p:sp>
      <p:grpSp>
        <p:nvGrpSpPr>
          <p:cNvPr id="9" name="Group 8">
            <a:extLst>
              <a:ext uri="{FF2B5EF4-FFF2-40B4-BE49-F238E27FC236}">
                <a16:creationId xmlns:a16="http://schemas.microsoft.com/office/drawing/2014/main" id="{2C880C51-7F01-F94D-D977-ABD90DC91B08}"/>
              </a:ext>
            </a:extLst>
          </p:cNvPr>
          <p:cNvGrpSpPr/>
          <p:nvPr/>
        </p:nvGrpSpPr>
        <p:grpSpPr>
          <a:xfrm>
            <a:off x="149960" y="578869"/>
            <a:ext cx="11757866" cy="5732554"/>
            <a:chOff x="170123" y="1348890"/>
            <a:chExt cx="11844254" cy="5142624"/>
          </a:xfrm>
        </p:grpSpPr>
        <p:sp>
          <p:nvSpPr>
            <p:cNvPr id="60" name="Rectangle: Rounded Corners 59">
              <a:extLst>
                <a:ext uri="{FF2B5EF4-FFF2-40B4-BE49-F238E27FC236}">
                  <a16:creationId xmlns:a16="http://schemas.microsoft.com/office/drawing/2014/main" id="{F4DFC11A-E7D2-C869-4D9A-563E7F782DFD}"/>
                </a:ext>
              </a:extLst>
            </p:cNvPr>
            <p:cNvSpPr/>
            <p:nvPr/>
          </p:nvSpPr>
          <p:spPr bwMode="auto">
            <a:xfrm>
              <a:off x="170123" y="5332228"/>
              <a:ext cx="11844254" cy="1159286"/>
            </a:xfrm>
            <a:prstGeom prst="roundRect">
              <a:avLst/>
            </a:prstGeom>
            <a:solidFill>
              <a:srgbClr val="0D2B3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61" name="Rectangle: Rounded Corners 60">
              <a:extLst>
                <a:ext uri="{FF2B5EF4-FFF2-40B4-BE49-F238E27FC236}">
                  <a16:creationId xmlns:a16="http://schemas.microsoft.com/office/drawing/2014/main" id="{8EC267B9-B4DD-FA5C-B3AA-55016E39E6AB}"/>
                </a:ext>
              </a:extLst>
            </p:cNvPr>
            <p:cNvSpPr/>
            <p:nvPr/>
          </p:nvSpPr>
          <p:spPr bwMode="auto">
            <a:xfrm>
              <a:off x="1874875" y="5998309"/>
              <a:ext cx="2486605" cy="365760"/>
            </a:xfrm>
            <a:prstGeom prst="roundRect">
              <a:avLst>
                <a:gd name="adj" fmla="val 50000"/>
              </a:avLst>
            </a:prstGeom>
            <a:solidFill>
              <a:srgbClr val="091F2C"/>
            </a:solidFill>
            <a:ln>
              <a:solidFill>
                <a:srgbClr val="091F2C">
                  <a:lumMod val="75000"/>
                  <a:lumOff val="25000"/>
                </a:srgbClr>
              </a:solid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itchFamily="34" charset="0"/>
                </a:rPr>
                <a:t>Experimentation environments</a:t>
              </a:r>
            </a:p>
          </p:txBody>
        </p:sp>
        <p:sp>
          <p:nvSpPr>
            <p:cNvPr id="62" name="Rectangle: Rounded Corners 61">
              <a:extLst>
                <a:ext uri="{FF2B5EF4-FFF2-40B4-BE49-F238E27FC236}">
                  <a16:creationId xmlns:a16="http://schemas.microsoft.com/office/drawing/2014/main" id="{B74DF485-CF0A-FC02-157F-49C2BF04D5D5}"/>
                </a:ext>
              </a:extLst>
            </p:cNvPr>
            <p:cNvSpPr/>
            <p:nvPr/>
          </p:nvSpPr>
          <p:spPr bwMode="auto">
            <a:xfrm>
              <a:off x="4502693" y="5998309"/>
              <a:ext cx="3402251" cy="365760"/>
            </a:xfrm>
            <a:prstGeom prst="roundRect">
              <a:avLst>
                <a:gd name="adj" fmla="val 50000"/>
              </a:avLst>
            </a:prstGeom>
            <a:solidFill>
              <a:srgbClr val="091F2C"/>
            </a:solidFill>
            <a:ln>
              <a:solidFill>
                <a:srgbClr val="091F2C">
                  <a:lumMod val="75000"/>
                  <a:lumOff val="25000"/>
                </a:srgbClr>
              </a:solid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itchFamily="34" charset="0"/>
                </a:rPr>
                <a:t>Observability and Monitoring</a:t>
              </a:r>
            </a:p>
          </p:txBody>
        </p:sp>
        <p:sp>
          <p:nvSpPr>
            <p:cNvPr id="64" name="Rectangle: Rounded Corners 63">
              <a:extLst>
                <a:ext uri="{FF2B5EF4-FFF2-40B4-BE49-F238E27FC236}">
                  <a16:creationId xmlns:a16="http://schemas.microsoft.com/office/drawing/2014/main" id="{82FC0B84-8B67-AFFD-C5F7-2DFE0B2137E7}"/>
                </a:ext>
              </a:extLst>
            </p:cNvPr>
            <p:cNvSpPr/>
            <p:nvPr/>
          </p:nvSpPr>
          <p:spPr bwMode="auto">
            <a:xfrm>
              <a:off x="7988209" y="5998309"/>
              <a:ext cx="3946450" cy="365760"/>
            </a:xfrm>
            <a:prstGeom prst="roundRect">
              <a:avLst>
                <a:gd name="adj" fmla="val 50000"/>
              </a:avLst>
            </a:prstGeom>
            <a:solidFill>
              <a:srgbClr val="091F2C"/>
            </a:solidFill>
            <a:ln>
              <a:solidFill>
                <a:srgbClr val="091F2C">
                  <a:lumMod val="75000"/>
                  <a:lumOff val="25000"/>
                </a:srgbClr>
              </a:solid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itchFamily="34" charset="0"/>
                </a:rPr>
                <a:t>FinOps, Cost Optimization and GenAI Ops</a:t>
              </a:r>
            </a:p>
          </p:txBody>
        </p:sp>
        <p:sp>
          <p:nvSpPr>
            <p:cNvPr id="65" name="Rectangle: Rounded Corners 64">
              <a:extLst>
                <a:ext uri="{FF2B5EF4-FFF2-40B4-BE49-F238E27FC236}">
                  <a16:creationId xmlns:a16="http://schemas.microsoft.com/office/drawing/2014/main" id="{05D9E002-AB5F-C613-D3DC-0787280D5126}"/>
                </a:ext>
              </a:extLst>
            </p:cNvPr>
            <p:cNvSpPr/>
            <p:nvPr/>
          </p:nvSpPr>
          <p:spPr bwMode="auto">
            <a:xfrm>
              <a:off x="202015" y="1348890"/>
              <a:ext cx="1713611" cy="269384"/>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Business Strategy</a:t>
              </a:r>
            </a:p>
          </p:txBody>
        </p:sp>
        <p:sp>
          <p:nvSpPr>
            <p:cNvPr id="66" name="Rectangle: Rounded Corners 65">
              <a:extLst>
                <a:ext uri="{FF2B5EF4-FFF2-40B4-BE49-F238E27FC236}">
                  <a16:creationId xmlns:a16="http://schemas.microsoft.com/office/drawing/2014/main" id="{F3E1BB26-5499-682C-2AE9-3CB184164A56}"/>
                </a:ext>
              </a:extLst>
            </p:cNvPr>
            <p:cNvSpPr/>
            <p:nvPr/>
          </p:nvSpPr>
          <p:spPr bwMode="auto">
            <a:xfrm>
              <a:off x="191383" y="1560594"/>
              <a:ext cx="2064488" cy="287861"/>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Organization Strategy</a:t>
              </a:r>
            </a:p>
          </p:txBody>
        </p:sp>
        <p:sp>
          <p:nvSpPr>
            <p:cNvPr id="67" name="Rectangle: Rounded Corners 66">
              <a:extLst>
                <a:ext uri="{FF2B5EF4-FFF2-40B4-BE49-F238E27FC236}">
                  <a16:creationId xmlns:a16="http://schemas.microsoft.com/office/drawing/2014/main" id="{0E3606BA-0B41-1704-A7FB-F1C4227512C6}"/>
                </a:ext>
              </a:extLst>
            </p:cNvPr>
            <p:cNvSpPr/>
            <p:nvPr/>
          </p:nvSpPr>
          <p:spPr bwMode="auto">
            <a:xfrm>
              <a:off x="202015" y="1790780"/>
              <a:ext cx="1713611" cy="269384"/>
            </a:xfrm>
            <a:prstGeom prst="round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Segoe UI Semibold"/>
                  <a:ea typeface="Segoe UI" pitchFamily="34" charset="0"/>
                  <a:cs typeface="Segoe UI" pitchFamily="34" charset="0"/>
                </a:rPr>
                <a:t>Data  Strategy</a:t>
              </a:r>
            </a:p>
          </p:txBody>
        </p:sp>
        <p:sp>
          <p:nvSpPr>
            <p:cNvPr id="68" name="Rectangle: Rounded Corners 67">
              <a:extLst>
                <a:ext uri="{FF2B5EF4-FFF2-40B4-BE49-F238E27FC236}">
                  <a16:creationId xmlns:a16="http://schemas.microsoft.com/office/drawing/2014/main" id="{440F8017-43E2-72BB-3916-99D95883267A}"/>
                </a:ext>
              </a:extLst>
            </p:cNvPr>
            <p:cNvSpPr/>
            <p:nvPr/>
          </p:nvSpPr>
          <p:spPr bwMode="auto">
            <a:xfrm>
              <a:off x="1874874" y="5488961"/>
              <a:ext cx="4972871" cy="365760"/>
            </a:xfrm>
            <a:prstGeom prst="roundRect">
              <a:avLst>
                <a:gd name="adj" fmla="val 50000"/>
              </a:avLst>
            </a:prstGeom>
            <a:solidFill>
              <a:srgbClr val="091F2C"/>
            </a:solidFill>
            <a:ln>
              <a:solidFill>
                <a:srgbClr val="091F2C">
                  <a:lumMod val="75000"/>
                  <a:lumOff val="25000"/>
                </a:srgbClr>
              </a:solid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itchFamily="34" charset="0"/>
                </a:rPr>
                <a:t>Data Foundations for AI</a:t>
              </a:r>
            </a:p>
          </p:txBody>
        </p:sp>
        <p:sp>
          <p:nvSpPr>
            <p:cNvPr id="69" name="Rectangle: Rounded Corners 68">
              <a:extLst>
                <a:ext uri="{FF2B5EF4-FFF2-40B4-BE49-F238E27FC236}">
                  <a16:creationId xmlns:a16="http://schemas.microsoft.com/office/drawing/2014/main" id="{49547FC4-FBD7-844F-1580-24CEF552A37C}"/>
                </a:ext>
              </a:extLst>
            </p:cNvPr>
            <p:cNvSpPr/>
            <p:nvPr/>
          </p:nvSpPr>
          <p:spPr bwMode="auto">
            <a:xfrm>
              <a:off x="6930942" y="5488961"/>
              <a:ext cx="4972871" cy="365760"/>
            </a:xfrm>
            <a:prstGeom prst="roundRect">
              <a:avLst>
                <a:gd name="adj" fmla="val 50000"/>
              </a:avLst>
            </a:prstGeom>
            <a:solidFill>
              <a:srgbClr val="091F2C"/>
            </a:solidFill>
            <a:ln>
              <a:solidFill>
                <a:srgbClr val="091F2C">
                  <a:lumMod val="75000"/>
                  <a:lumOff val="25000"/>
                </a:srgbClr>
              </a:solidFill>
              <a:headEnd type="none" w="med" len="med"/>
              <a:tailEnd type="none" w="med" len="me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p:spPr>
          <p:txBody>
            <a:bodyPr rot="0" spcFirstLastPara="0" vertOverflow="overflow" horzOverflow="overflow" vert="horz" wrap="square" lIns="0" tIns="146304" rIns="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itchFamily="34" charset="0"/>
                </a:rPr>
                <a:t>Define roadmap for Scale and continuous Value Realization</a:t>
              </a:r>
            </a:p>
          </p:txBody>
        </p:sp>
        <p:sp>
          <p:nvSpPr>
            <p:cNvPr id="70" name="Rectangle: Rounded Corners 69">
              <a:extLst>
                <a:ext uri="{FF2B5EF4-FFF2-40B4-BE49-F238E27FC236}">
                  <a16:creationId xmlns:a16="http://schemas.microsoft.com/office/drawing/2014/main" id="{6913B622-E9AE-708B-7B71-E8E3900D25D5}"/>
                </a:ext>
              </a:extLst>
            </p:cNvPr>
            <p:cNvSpPr/>
            <p:nvPr/>
          </p:nvSpPr>
          <p:spPr bwMode="auto">
            <a:xfrm>
              <a:off x="170123" y="3577464"/>
              <a:ext cx="11844253" cy="1651995"/>
            </a:xfrm>
            <a:prstGeom prst="roundRect">
              <a:avLst>
                <a:gd name="adj" fmla="val 13688"/>
              </a:avLst>
            </a:prstGeom>
            <a:solidFill>
              <a:srgbClr val="0D2B3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71" name="Rectangle: Rounded Corners 70">
              <a:extLst>
                <a:ext uri="{FF2B5EF4-FFF2-40B4-BE49-F238E27FC236}">
                  <a16:creationId xmlns:a16="http://schemas.microsoft.com/office/drawing/2014/main" id="{F742E083-7F4F-AB3F-B83B-CEB54F4CA209}"/>
                </a:ext>
              </a:extLst>
            </p:cNvPr>
            <p:cNvSpPr/>
            <p:nvPr/>
          </p:nvSpPr>
          <p:spPr bwMode="auto">
            <a:xfrm>
              <a:off x="176374" y="4144265"/>
              <a:ext cx="1697250" cy="503484"/>
            </a:xfrm>
            <a:prstGeom prst="roundRect">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a:ea typeface="+mn-ea"/>
                  <a:cs typeface="+mn-cs"/>
                </a:rPr>
                <a:t>Use-case Program Implementation</a:t>
              </a:r>
            </a:p>
          </p:txBody>
        </p:sp>
        <p:sp>
          <p:nvSpPr>
            <p:cNvPr id="72" name="Rectangle: Rounded Corners 71">
              <a:extLst>
                <a:ext uri="{FF2B5EF4-FFF2-40B4-BE49-F238E27FC236}">
                  <a16:creationId xmlns:a16="http://schemas.microsoft.com/office/drawing/2014/main" id="{B399F355-A3E0-ECF5-EBB9-84FFA857A8F7}"/>
                </a:ext>
              </a:extLst>
            </p:cNvPr>
            <p:cNvSpPr/>
            <p:nvPr/>
          </p:nvSpPr>
          <p:spPr bwMode="auto">
            <a:xfrm>
              <a:off x="1872048" y="3650874"/>
              <a:ext cx="1604083" cy="1490270"/>
            </a:xfrm>
            <a:prstGeom prst="roundRect">
              <a:avLst>
                <a:gd name="adj" fmla="val 6339"/>
              </a:avLst>
            </a:prstGeom>
            <a:solidFill>
              <a:srgbClr val="243A5E">
                <a:lumMod val="20000"/>
                <a:lumOff val="80000"/>
              </a:srgbClr>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AI M</a:t>
              </a:r>
              <a:r>
                <a:rPr kumimoji="0" lang="en-US" sz="1100" b="0" i="0" u="none" strike="noStrike" kern="0" cap="none" spc="0" normalizeH="0" baseline="0" noProof="0" dirty="0" err="1">
                  <a:ln>
                    <a:noFill/>
                  </a:ln>
                  <a:solidFill>
                    <a:srgbClr val="000000"/>
                  </a:solidFill>
                  <a:effectLst/>
                  <a:uLnTx/>
                  <a:uFillTx/>
                  <a:latin typeface="Segoe UI Semibold"/>
                  <a:ea typeface="Segoe UI" pitchFamily="34" charset="0"/>
                  <a:cs typeface="Segoe UI" pitchFamily="34" charset="0"/>
                </a:rPr>
                <a:t>aturity</a:t>
              </a:r>
              <a:r>
                <a:rPr kumimoji="0" lang="en-US" sz="1100" b="0" i="0" u="none" strike="noStrike" kern="0" cap="none" spc="0" normalizeH="0" baseline="0" noProof="0" dirty="0">
                  <a:ln>
                    <a:noFill/>
                  </a:ln>
                  <a:solidFill>
                    <a:srgbClr val="000000"/>
                  </a:solidFill>
                  <a:effectLst/>
                  <a:uLnTx/>
                  <a:uFillTx/>
                  <a:latin typeface="Segoe UI Semibold"/>
                  <a:ea typeface="Segoe UI" pitchFamily="34" charset="0"/>
                  <a:cs typeface="Segoe UI" pitchFamily="34" charset="0"/>
                </a:rPr>
                <a:t>, use case intake &amp; prioritization process, feasibility assessment, rapid experimentation.</a:t>
              </a:r>
            </a:p>
          </p:txBody>
        </p:sp>
        <p:sp>
          <p:nvSpPr>
            <p:cNvPr id="73" name="Rectangle: Rounded Corners 72">
              <a:extLst>
                <a:ext uri="{FF2B5EF4-FFF2-40B4-BE49-F238E27FC236}">
                  <a16:creationId xmlns:a16="http://schemas.microsoft.com/office/drawing/2014/main" id="{4B9AA37D-A3D9-4F34-9DA6-855278635EA6}"/>
                </a:ext>
              </a:extLst>
            </p:cNvPr>
            <p:cNvSpPr/>
            <p:nvPr/>
          </p:nvSpPr>
          <p:spPr bwMode="auto">
            <a:xfrm>
              <a:off x="3580467" y="3654062"/>
              <a:ext cx="1471901" cy="1481214"/>
            </a:xfrm>
            <a:prstGeom prst="roundRect">
              <a:avLst>
                <a:gd name="adj" fmla="val 5595"/>
              </a:avLst>
            </a:prstGeom>
            <a:solidFill>
              <a:srgbClr val="243A5E">
                <a:lumMod val="20000"/>
                <a:lumOff val="80000"/>
              </a:srgbClr>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rPr>
                <a:t>Establish program management, product &amp; change management, up-skilling initiatives.</a:t>
              </a:r>
            </a:p>
          </p:txBody>
        </p:sp>
        <p:sp>
          <p:nvSpPr>
            <p:cNvPr id="74" name="Rectangle: Rounded Corners 73">
              <a:extLst>
                <a:ext uri="{FF2B5EF4-FFF2-40B4-BE49-F238E27FC236}">
                  <a16:creationId xmlns:a16="http://schemas.microsoft.com/office/drawing/2014/main" id="{DE992A28-0B8F-9769-73FB-9797FBA9008C}"/>
                </a:ext>
              </a:extLst>
            </p:cNvPr>
            <p:cNvSpPr/>
            <p:nvPr/>
          </p:nvSpPr>
          <p:spPr bwMode="auto">
            <a:xfrm>
              <a:off x="5156704" y="3664638"/>
              <a:ext cx="1636243" cy="674919"/>
            </a:xfrm>
            <a:prstGeom prst="roundRect">
              <a:avLst>
                <a:gd name="adj" fmla="val 11022"/>
              </a:avLst>
            </a:prstGeom>
            <a:solidFill>
              <a:srgbClr val="243A5E">
                <a:lumMod val="20000"/>
                <a:lumOff val="80000"/>
              </a:srgbClr>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rPr>
                <a:t>Establish product scope</a:t>
              </a:r>
            </a:p>
          </p:txBody>
        </p:sp>
        <p:sp>
          <p:nvSpPr>
            <p:cNvPr id="75" name="Rectangle: Rounded Corners 74">
              <a:extLst>
                <a:ext uri="{FF2B5EF4-FFF2-40B4-BE49-F238E27FC236}">
                  <a16:creationId xmlns:a16="http://schemas.microsoft.com/office/drawing/2014/main" id="{F6CD2E5F-04B2-A039-29D4-08ED208576F0}"/>
                </a:ext>
              </a:extLst>
            </p:cNvPr>
            <p:cNvSpPr/>
            <p:nvPr/>
          </p:nvSpPr>
          <p:spPr bwMode="auto">
            <a:xfrm>
              <a:off x="5156704" y="4405378"/>
              <a:ext cx="2493835" cy="735764"/>
            </a:xfrm>
            <a:prstGeom prst="roundRect">
              <a:avLst>
                <a:gd name="adj" fmla="val 9716"/>
              </a:avLst>
            </a:prstGeom>
            <a:solidFill>
              <a:srgbClr val="243A5E">
                <a:lumMod val="40000"/>
                <a:lumOff val="60000"/>
              </a:srgbClr>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rPr>
                <a:t>Develop robust reusable AI model libraries, mobilize operating model to support AI integration</a:t>
              </a:r>
            </a:p>
          </p:txBody>
        </p:sp>
        <p:sp>
          <p:nvSpPr>
            <p:cNvPr id="76" name="Rectangle: Rounded Corners 75">
              <a:extLst>
                <a:ext uri="{FF2B5EF4-FFF2-40B4-BE49-F238E27FC236}">
                  <a16:creationId xmlns:a16="http://schemas.microsoft.com/office/drawing/2014/main" id="{C2AEC7CC-3944-9C11-3E59-227A794F1AE4}"/>
                </a:ext>
              </a:extLst>
            </p:cNvPr>
            <p:cNvSpPr/>
            <p:nvPr/>
          </p:nvSpPr>
          <p:spPr bwMode="auto">
            <a:xfrm>
              <a:off x="6897284" y="3664839"/>
              <a:ext cx="5006529" cy="674716"/>
            </a:xfrm>
            <a:prstGeom prst="roundRect">
              <a:avLst>
                <a:gd name="adj" fmla="val 13138"/>
              </a:avLst>
            </a:prstGeom>
            <a:solidFill>
              <a:srgbClr val="243A5E">
                <a:lumMod val="40000"/>
                <a:lumOff val="60000"/>
              </a:srgbClr>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rPr>
                <a:t>Continuously update scalable data and AI infrastructure for advanced capabilities (autonomous, with AI handling real-time decision making)</a:t>
              </a:r>
            </a:p>
          </p:txBody>
        </p:sp>
        <p:sp>
          <p:nvSpPr>
            <p:cNvPr id="77" name="Rectangle: Rounded Corners 76">
              <a:extLst>
                <a:ext uri="{FF2B5EF4-FFF2-40B4-BE49-F238E27FC236}">
                  <a16:creationId xmlns:a16="http://schemas.microsoft.com/office/drawing/2014/main" id="{82A6810D-97B4-107D-BE09-BD6ABE870001}"/>
                </a:ext>
              </a:extLst>
            </p:cNvPr>
            <p:cNvSpPr/>
            <p:nvPr/>
          </p:nvSpPr>
          <p:spPr bwMode="auto">
            <a:xfrm>
              <a:off x="7754875" y="4405378"/>
              <a:ext cx="4148938" cy="334913"/>
            </a:xfrm>
            <a:prstGeom prst="roundRect">
              <a:avLst/>
            </a:prstGeom>
            <a:solidFill>
              <a:srgbClr val="243A5E">
                <a:lumMod val="40000"/>
                <a:lumOff val="60000"/>
              </a:srgbClr>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rPr>
                <a:t>Integrate data to ensure security, compliance &amp; scalability</a:t>
              </a:r>
            </a:p>
          </p:txBody>
        </p:sp>
        <p:sp>
          <p:nvSpPr>
            <p:cNvPr id="78" name="Rectangle: Rounded Corners 77">
              <a:extLst>
                <a:ext uri="{FF2B5EF4-FFF2-40B4-BE49-F238E27FC236}">
                  <a16:creationId xmlns:a16="http://schemas.microsoft.com/office/drawing/2014/main" id="{7FA6D991-0BEF-6B12-CA5F-44844F0C1701}"/>
                </a:ext>
              </a:extLst>
            </p:cNvPr>
            <p:cNvSpPr/>
            <p:nvPr/>
          </p:nvSpPr>
          <p:spPr bwMode="auto">
            <a:xfrm>
              <a:off x="7761149" y="4806113"/>
              <a:ext cx="4142664" cy="335030"/>
            </a:xfrm>
            <a:prstGeom prst="roundRect">
              <a:avLst/>
            </a:prstGeom>
            <a:solidFill>
              <a:srgbClr val="243A5E">
                <a:lumMod val="40000"/>
                <a:lumOff val="60000"/>
              </a:srgbClr>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Segoe UI Semibold"/>
                  <a:ea typeface="Segoe UI" pitchFamily="34" charset="0"/>
                  <a:cs typeface="Segoe UI" pitchFamily="34" charset="0"/>
                </a:rPr>
                <a:t>Drive upskilling and organization change to foster culture of AI-as-work-mate.</a:t>
              </a:r>
            </a:p>
          </p:txBody>
        </p:sp>
        <p:sp>
          <p:nvSpPr>
            <p:cNvPr id="79" name="Arrow: Pentagon 78">
              <a:extLst>
                <a:ext uri="{FF2B5EF4-FFF2-40B4-BE49-F238E27FC236}">
                  <a16:creationId xmlns:a16="http://schemas.microsoft.com/office/drawing/2014/main" id="{4F2A6D28-66A2-9C9D-9440-0CA63C0D61E1}"/>
                </a:ext>
              </a:extLst>
            </p:cNvPr>
            <p:cNvSpPr/>
            <p:nvPr/>
          </p:nvSpPr>
          <p:spPr bwMode="auto">
            <a:xfrm>
              <a:off x="1906773" y="1401723"/>
              <a:ext cx="9533863" cy="128016"/>
            </a:xfrm>
            <a:prstGeom prst="homePlate">
              <a:avLst/>
            </a:prstGeom>
            <a:gradFill flip="none" rotWithShape="1">
              <a:gsLst>
                <a:gs pos="0">
                  <a:srgbClr val="0078D4">
                    <a:tint val="66000"/>
                    <a:satMod val="160000"/>
                  </a:srgbClr>
                </a:gs>
                <a:gs pos="50000">
                  <a:srgbClr val="0078D4">
                    <a:tint val="44500"/>
                    <a:satMod val="160000"/>
                  </a:srgbClr>
                </a:gs>
                <a:gs pos="100000">
                  <a:srgbClr val="0078D4">
                    <a:tint val="23500"/>
                    <a:satMod val="16000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0" name="Arrow: Pentagon 79">
              <a:extLst>
                <a:ext uri="{FF2B5EF4-FFF2-40B4-BE49-F238E27FC236}">
                  <a16:creationId xmlns:a16="http://schemas.microsoft.com/office/drawing/2014/main" id="{09E82234-759C-4ABC-7C77-EEA213132292}"/>
                </a:ext>
              </a:extLst>
            </p:cNvPr>
            <p:cNvSpPr/>
            <p:nvPr/>
          </p:nvSpPr>
          <p:spPr bwMode="auto">
            <a:xfrm>
              <a:off x="1906773" y="1627309"/>
              <a:ext cx="9533863" cy="128016"/>
            </a:xfrm>
            <a:prstGeom prst="homePlate">
              <a:avLst/>
            </a:prstGeom>
            <a:gradFill flip="none" rotWithShape="1">
              <a:gsLst>
                <a:gs pos="0">
                  <a:srgbClr val="0078D4">
                    <a:tint val="66000"/>
                    <a:satMod val="160000"/>
                  </a:srgbClr>
                </a:gs>
                <a:gs pos="50000">
                  <a:srgbClr val="0078D4">
                    <a:tint val="44500"/>
                    <a:satMod val="160000"/>
                  </a:srgbClr>
                </a:gs>
                <a:gs pos="100000">
                  <a:srgbClr val="0078D4">
                    <a:tint val="23500"/>
                    <a:satMod val="16000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1" name="Arrow: Pentagon 80">
              <a:extLst>
                <a:ext uri="{FF2B5EF4-FFF2-40B4-BE49-F238E27FC236}">
                  <a16:creationId xmlns:a16="http://schemas.microsoft.com/office/drawing/2014/main" id="{28A988EB-78E3-7B3E-175C-2F036C428D61}"/>
                </a:ext>
              </a:extLst>
            </p:cNvPr>
            <p:cNvSpPr/>
            <p:nvPr/>
          </p:nvSpPr>
          <p:spPr bwMode="auto">
            <a:xfrm>
              <a:off x="1906773" y="1855511"/>
              <a:ext cx="9505535" cy="128016"/>
            </a:xfrm>
            <a:prstGeom prst="homePlate">
              <a:avLst/>
            </a:prstGeom>
            <a:gradFill flip="none" rotWithShape="1">
              <a:gsLst>
                <a:gs pos="0">
                  <a:srgbClr val="0078D4">
                    <a:tint val="66000"/>
                    <a:satMod val="160000"/>
                  </a:srgbClr>
                </a:gs>
                <a:gs pos="50000">
                  <a:srgbClr val="0078D4">
                    <a:tint val="44500"/>
                    <a:satMod val="160000"/>
                  </a:srgbClr>
                </a:gs>
                <a:gs pos="100000">
                  <a:srgbClr val="0078D4">
                    <a:tint val="23500"/>
                    <a:satMod val="16000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2" name="Arrow: Chevron 81">
              <a:extLst>
                <a:ext uri="{FF2B5EF4-FFF2-40B4-BE49-F238E27FC236}">
                  <a16:creationId xmlns:a16="http://schemas.microsoft.com/office/drawing/2014/main" id="{12ADBC3A-8DD2-251E-ACDA-EC4C14146F6E}"/>
                </a:ext>
              </a:extLst>
            </p:cNvPr>
            <p:cNvSpPr/>
            <p:nvPr/>
          </p:nvSpPr>
          <p:spPr bwMode="auto">
            <a:xfrm>
              <a:off x="11433549" y="1400148"/>
              <a:ext cx="148855" cy="137160"/>
            </a:xfrm>
            <a:prstGeom prst="chevron">
              <a:avLst/>
            </a:prstGeom>
            <a:gradFill flip="none" rotWithShape="1">
              <a:gsLst>
                <a:gs pos="0">
                  <a:srgbClr val="0078D4">
                    <a:tint val="66000"/>
                    <a:satMod val="160000"/>
                  </a:srgbClr>
                </a:gs>
                <a:gs pos="50000">
                  <a:srgbClr val="0078D4">
                    <a:tint val="44500"/>
                    <a:satMod val="160000"/>
                  </a:srgbClr>
                </a:gs>
                <a:gs pos="100000">
                  <a:srgbClr val="0078D4">
                    <a:tint val="23500"/>
                    <a:satMod val="16000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3" name="Arrow: Chevron 82">
              <a:extLst>
                <a:ext uri="{FF2B5EF4-FFF2-40B4-BE49-F238E27FC236}">
                  <a16:creationId xmlns:a16="http://schemas.microsoft.com/office/drawing/2014/main" id="{5199EDD3-206E-C904-67B6-E96E9F497982}"/>
                </a:ext>
              </a:extLst>
            </p:cNvPr>
            <p:cNvSpPr/>
            <p:nvPr/>
          </p:nvSpPr>
          <p:spPr bwMode="auto">
            <a:xfrm>
              <a:off x="11433550" y="1628350"/>
              <a:ext cx="148855" cy="137160"/>
            </a:xfrm>
            <a:prstGeom prst="chevron">
              <a:avLst/>
            </a:prstGeom>
            <a:gradFill flip="none" rotWithShape="1">
              <a:gsLst>
                <a:gs pos="0">
                  <a:srgbClr val="0078D4">
                    <a:tint val="66000"/>
                    <a:satMod val="160000"/>
                  </a:srgbClr>
                </a:gs>
                <a:gs pos="50000">
                  <a:srgbClr val="0078D4">
                    <a:tint val="44500"/>
                    <a:satMod val="160000"/>
                  </a:srgbClr>
                </a:gs>
                <a:gs pos="100000">
                  <a:srgbClr val="0078D4">
                    <a:tint val="23500"/>
                    <a:satMod val="16000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4" name="Arrow: Chevron 83">
              <a:extLst>
                <a:ext uri="{FF2B5EF4-FFF2-40B4-BE49-F238E27FC236}">
                  <a16:creationId xmlns:a16="http://schemas.microsoft.com/office/drawing/2014/main" id="{9FF71285-A8C3-7D74-95B3-E633EC5E47C3}"/>
                </a:ext>
              </a:extLst>
            </p:cNvPr>
            <p:cNvSpPr/>
            <p:nvPr/>
          </p:nvSpPr>
          <p:spPr bwMode="auto">
            <a:xfrm>
              <a:off x="11422918" y="1855511"/>
              <a:ext cx="148855" cy="137160"/>
            </a:xfrm>
            <a:prstGeom prst="chevron">
              <a:avLst/>
            </a:prstGeom>
            <a:gradFill flip="none" rotWithShape="1">
              <a:gsLst>
                <a:gs pos="0">
                  <a:srgbClr val="0078D4">
                    <a:tint val="66000"/>
                    <a:satMod val="160000"/>
                  </a:srgbClr>
                </a:gs>
                <a:gs pos="50000">
                  <a:srgbClr val="0078D4">
                    <a:tint val="44500"/>
                    <a:satMod val="160000"/>
                  </a:srgbClr>
                </a:gs>
                <a:gs pos="100000">
                  <a:srgbClr val="0078D4">
                    <a:tint val="23500"/>
                    <a:satMod val="16000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5" name="Arrow: Chevron 84">
              <a:extLst>
                <a:ext uri="{FF2B5EF4-FFF2-40B4-BE49-F238E27FC236}">
                  <a16:creationId xmlns:a16="http://schemas.microsoft.com/office/drawing/2014/main" id="{ADF02153-F5BE-4B26-744C-FDB560CAAF02}"/>
                </a:ext>
              </a:extLst>
            </p:cNvPr>
            <p:cNvSpPr/>
            <p:nvPr/>
          </p:nvSpPr>
          <p:spPr bwMode="auto">
            <a:xfrm>
              <a:off x="11557596" y="1400148"/>
              <a:ext cx="148855" cy="137160"/>
            </a:xfrm>
            <a:prstGeom prst="chevron">
              <a:avLst/>
            </a:prstGeom>
            <a:gradFill flip="none" rotWithShape="1">
              <a:gsLst>
                <a:gs pos="0">
                  <a:srgbClr val="0078D4">
                    <a:tint val="66000"/>
                    <a:satMod val="160000"/>
                  </a:srgbClr>
                </a:gs>
                <a:gs pos="50000">
                  <a:srgbClr val="0078D4">
                    <a:tint val="44500"/>
                    <a:satMod val="160000"/>
                  </a:srgbClr>
                </a:gs>
                <a:gs pos="100000">
                  <a:srgbClr val="0078D4">
                    <a:tint val="23500"/>
                    <a:satMod val="16000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6" name="Arrow: Chevron 85">
              <a:extLst>
                <a:ext uri="{FF2B5EF4-FFF2-40B4-BE49-F238E27FC236}">
                  <a16:creationId xmlns:a16="http://schemas.microsoft.com/office/drawing/2014/main" id="{C1BDB800-2C41-58EF-998C-5B05726782E7}"/>
                </a:ext>
              </a:extLst>
            </p:cNvPr>
            <p:cNvSpPr/>
            <p:nvPr/>
          </p:nvSpPr>
          <p:spPr bwMode="auto">
            <a:xfrm>
              <a:off x="11557597" y="1628350"/>
              <a:ext cx="148855" cy="137160"/>
            </a:xfrm>
            <a:prstGeom prst="chevron">
              <a:avLst/>
            </a:prstGeom>
            <a:gradFill flip="none" rotWithShape="1">
              <a:gsLst>
                <a:gs pos="0">
                  <a:srgbClr val="0078D4">
                    <a:tint val="66000"/>
                    <a:satMod val="160000"/>
                  </a:srgbClr>
                </a:gs>
                <a:gs pos="50000">
                  <a:srgbClr val="0078D4">
                    <a:tint val="44500"/>
                    <a:satMod val="160000"/>
                  </a:srgbClr>
                </a:gs>
                <a:gs pos="100000">
                  <a:srgbClr val="0078D4">
                    <a:tint val="23500"/>
                    <a:satMod val="16000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7" name="Arrow: Chevron 86">
              <a:extLst>
                <a:ext uri="{FF2B5EF4-FFF2-40B4-BE49-F238E27FC236}">
                  <a16:creationId xmlns:a16="http://schemas.microsoft.com/office/drawing/2014/main" id="{58119A57-8317-06B2-3B58-8CD043C5986A}"/>
                </a:ext>
              </a:extLst>
            </p:cNvPr>
            <p:cNvSpPr/>
            <p:nvPr/>
          </p:nvSpPr>
          <p:spPr bwMode="auto">
            <a:xfrm>
              <a:off x="11546965" y="1855511"/>
              <a:ext cx="148855" cy="137160"/>
            </a:xfrm>
            <a:prstGeom prst="chevron">
              <a:avLst/>
            </a:prstGeom>
            <a:gradFill flip="none" rotWithShape="1">
              <a:gsLst>
                <a:gs pos="0">
                  <a:srgbClr val="0078D4">
                    <a:tint val="66000"/>
                    <a:satMod val="160000"/>
                  </a:srgbClr>
                </a:gs>
                <a:gs pos="50000">
                  <a:srgbClr val="0078D4">
                    <a:tint val="44500"/>
                    <a:satMod val="160000"/>
                  </a:srgbClr>
                </a:gs>
                <a:gs pos="100000">
                  <a:srgbClr val="0078D4">
                    <a:tint val="23500"/>
                    <a:satMod val="160000"/>
                  </a:srgbClr>
                </a:gs>
              </a:gsLst>
              <a:lin ang="108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8" name="Arrow: Chevron 87">
              <a:extLst>
                <a:ext uri="{FF2B5EF4-FFF2-40B4-BE49-F238E27FC236}">
                  <a16:creationId xmlns:a16="http://schemas.microsoft.com/office/drawing/2014/main" id="{47A5A0A1-A7CA-5F36-D7A9-FD3E3E45E8E7}"/>
                </a:ext>
              </a:extLst>
            </p:cNvPr>
            <p:cNvSpPr/>
            <p:nvPr/>
          </p:nvSpPr>
          <p:spPr bwMode="auto">
            <a:xfrm>
              <a:off x="11699364" y="1394039"/>
              <a:ext cx="245926" cy="137160"/>
            </a:xfrm>
            <a:prstGeom prst="chevron">
              <a:avLst/>
            </a:prstGeom>
            <a:solidFill>
              <a:srgbClr val="243A5E">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89" name="Arrow: Chevron 88">
              <a:extLst>
                <a:ext uri="{FF2B5EF4-FFF2-40B4-BE49-F238E27FC236}">
                  <a16:creationId xmlns:a16="http://schemas.microsoft.com/office/drawing/2014/main" id="{3CD3A6A3-7705-B5AA-880E-41D9767B9445}"/>
                </a:ext>
              </a:extLst>
            </p:cNvPr>
            <p:cNvSpPr/>
            <p:nvPr/>
          </p:nvSpPr>
          <p:spPr bwMode="auto">
            <a:xfrm>
              <a:off x="11699365" y="1622241"/>
              <a:ext cx="245926" cy="137160"/>
            </a:xfrm>
            <a:prstGeom prst="chevron">
              <a:avLst/>
            </a:prstGeom>
            <a:solidFill>
              <a:srgbClr val="243A5E">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0" name="Arrow: Chevron 89">
              <a:extLst>
                <a:ext uri="{FF2B5EF4-FFF2-40B4-BE49-F238E27FC236}">
                  <a16:creationId xmlns:a16="http://schemas.microsoft.com/office/drawing/2014/main" id="{42D83D76-6E5D-8C56-9FF2-BAC3509E85CA}"/>
                </a:ext>
              </a:extLst>
            </p:cNvPr>
            <p:cNvSpPr/>
            <p:nvPr/>
          </p:nvSpPr>
          <p:spPr bwMode="auto">
            <a:xfrm>
              <a:off x="11688733" y="1849403"/>
              <a:ext cx="245926" cy="137160"/>
            </a:xfrm>
            <a:prstGeom prst="chevron">
              <a:avLst/>
            </a:prstGeom>
            <a:solidFill>
              <a:srgbClr val="243A5E">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92" name="Arrow: U-Turn 91">
              <a:extLst>
                <a:ext uri="{FF2B5EF4-FFF2-40B4-BE49-F238E27FC236}">
                  <a16:creationId xmlns:a16="http://schemas.microsoft.com/office/drawing/2014/main" id="{C2E4C542-05E3-1650-C34A-AE5103DE1A84}"/>
                </a:ext>
              </a:extLst>
            </p:cNvPr>
            <p:cNvSpPr/>
            <p:nvPr/>
          </p:nvSpPr>
          <p:spPr bwMode="auto">
            <a:xfrm>
              <a:off x="1756137" y="2402407"/>
              <a:ext cx="10245215" cy="735814"/>
            </a:xfrm>
            <a:prstGeom prst="uturnArrow">
              <a:avLst>
                <a:gd name="adj1" fmla="val 0"/>
                <a:gd name="adj2" fmla="val 0"/>
                <a:gd name="adj3" fmla="val 0"/>
                <a:gd name="adj4" fmla="val 35590"/>
                <a:gd name="adj5" fmla="val 77643"/>
              </a:avLst>
            </a:prstGeom>
            <a:solidFill>
              <a:srgbClr val="243A5E"/>
            </a:solidFill>
            <a:ln w="6350" cap="flat" cmpd="sng" algn="ctr">
              <a:solidFill>
                <a:srgbClr val="0078D4"/>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rgbClr val="FFFFFF"/>
                  </a:solidFill>
                  <a:latin typeface="Segoe Sans Display"/>
                </a:defRPr>
              </a:lvl1pPr>
              <a:lvl2pPr marL="457200" algn="l" defTabSz="914400" rtl="0" eaLnBrk="1" latinLnBrk="0" hangingPunct="1">
                <a:defRPr sz="1800" kern="1200">
                  <a:solidFill>
                    <a:srgbClr val="FFFFFF"/>
                  </a:solidFill>
                  <a:latin typeface="Segoe Sans Display"/>
                </a:defRPr>
              </a:lvl2pPr>
              <a:lvl3pPr marL="914400" algn="l" defTabSz="914400" rtl="0" eaLnBrk="1" latinLnBrk="0" hangingPunct="1">
                <a:defRPr sz="1800" kern="1200">
                  <a:solidFill>
                    <a:srgbClr val="FFFFFF"/>
                  </a:solidFill>
                  <a:latin typeface="Segoe Sans Display"/>
                </a:defRPr>
              </a:lvl3pPr>
              <a:lvl4pPr marL="1371600" algn="l" defTabSz="914400" rtl="0" eaLnBrk="1" latinLnBrk="0" hangingPunct="1">
                <a:defRPr sz="1800" kern="1200">
                  <a:solidFill>
                    <a:srgbClr val="FFFFFF"/>
                  </a:solidFill>
                  <a:latin typeface="Segoe Sans Display"/>
                </a:defRPr>
              </a:lvl4pPr>
              <a:lvl5pPr marL="1828800" algn="l" defTabSz="914400" rtl="0" eaLnBrk="1" latinLnBrk="0" hangingPunct="1">
                <a:defRPr sz="1800" kern="1200">
                  <a:solidFill>
                    <a:srgbClr val="FFFFFF"/>
                  </a:solidFill>
                  <a:latin typeface="Segoe Sans Display"/>
                </a:defRPr>
              </a:lvl5pPr>
              <a:lvl6pPr marL="2286000" algn="l" defTabSz="914400" rtl="0" eaLnBrk="1" latinLnBrk="0" hangingPunct="1">
                <a:defRPr sz="1800" kern="1200">
                  <a:solidFill>
                    <a:srgbClr val="FFFFFF"/>
                  </a:solidFill>
                  <a:latin typeface="Segoe Sans Display"/>
                </a:defRPr>
              </a:lvl6pPr>
              <a:lvl7pPr marL="2743200" algn="l" defTabSz="914400" rtl="0" eaLnBrk="1" latinLnBrk="0" hangingPunct="1">
                <a:defRPr sz="1800" kern="1200">
                  <a:solidFill>
                    <a:srgbClr val="FFFFFF"/>
                  </a:solidFill>
                  <a:latin typeface="Segoe Sans Display"/>
                </a:defRPr>
              </a:lvl7pPr>
              <a:lvl8pPr marL="3200400" algn="l" defTabSz="914400" rtl="0" eaLnBrk="1" latinLnBrk="0" hangingPunct="1">
                <a:defRPr sz="1800" kern="1200">
                  <a:solidFill>
                    <a:srgbClr val="FFFFFF"/>
                  </a:solidFill>
                  <a:latin typeface="Segoe Sans Display"/>
                </a:defRPr>
              </a:lvl8pPr>
              <a:lvl9pPr marL="3657600" algn="l" defTabSz="914400" rtl="0" eaLnBrk="1" latinLnBrk="0" hangingPunct="1">
                <a:defRPr sz="1800" kern="1200">
                  <a:solidFill>
                    <a:srgbClr val="FFFFFF"/>
                  </a:solidFill>
                  <a:latin typeface="Segoe Sans Display"/>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B900"/>
                </a:solidFill>
                <a:effectLst/>
                <a:uLnTx/>
                <a:uFillTx/>
                <a:latin typeface="Segoe Sans Display"/>
                <a:ea typeface="+mn-ea"/>
                <a:cs typeface="Segoe UI" pitchFamily="34" charset="0"/>
              </a:endParaRPr>
            </a:p>
          </p:txBody>
        </p:sp>
        <p:sp>
          <p:nvSpPr>
            <p:cNvPr id="93" name="TextBox 92">
              <a:extLst>
                <a:ext uri="{FF2B5EF4-FFF2-40B4-BE49-F238E27FC236}">
                  <a16:creationId xmlns:a16="http://schemas.microsoft.com/office/drawing/2014/main" id="{532C5F37-5E6B-89AD-7D2A-174C32662ACD}"/>
                </a:ext>
              </a:extLst>
            </p:cNvPr>
            <p:cNvSpPr txBox="1"/>
            <p:nvPr/>
          </p:nvSpPr>
          <p:spPr>
            <a:xfrm>
              <a:off x="4809334" y="2231100"/>
              <a:ext cx="1850065" cy="308484"/>
            </a:xfrm>
            <a:prstGeom prst="roundRect">
              <a:avLst>
                <a:gd name="adj" fmla="val 50000"/>
              </a:avLst>
            </a:prstGeom>
            <a:solidFill>
              <a:srgbClr val="0C2738"/>
            </a:solidFill>
            <a:ln>
              <a:solidFill>
                <a:srgbClr val="F0F0F0"/>
              </a:solidFill>
            </a:ln>
          </p:spPr>
          <p:txBody>
            <a:bodyPr wrap="square" lIns="0" tIns="0" rIns="0" bIns="0" rtlCol="0" anchor="ctr">
              <a:spAutoFit/>
            </a:bodyPr>
            <a:lstStyle>
              <a:defPPr>
                <a:defRPr lang="en-US"/>
              </a:defPPr>
              <a:lvl1pPr algn="ctr">
                <a:defRPr sz="1000">
                  <a:ln>
                    <a:solidFill>
                      <a:sysClr val="windowText" lastClr="000000"/>
                    </a:solidFill>
                  </a:ln>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solidFill>
                    <a:sysClr val="windowText" lastClr="000000"/>
                  </a:solidFill>
                </a:ln>
                <a:solidFill>
                  <a:srgbClr val="FFFFFF"/>
                </a:solidFill>
                <a:effectLst/>
                <a:uLnTx/>
                <a:uFillTx/>
                <a:latin typeface="Segoe UI"/>
                <a:ea typeface="+mn-ea"/>
                <a:cs typeface="+mn-cs"/>
              </a:endParaRPr>
            </a:p>
          </p:txBody>
        </p:sp>
        <p:sp>
          <p:nvSpPr>
            <p:cNvPr id="94" name="TextBox 93">
              <a:extLst>
                <a:ext uri="{FF2B5EF4-FFF2-40B4-BE49-F238E27FC236}">
                  <a16:creationId xmlns:a16="http://schemas.microsoft.com/office/drawing/2014/main" id="{F456D3AA-A5BA-F32E-5492-0749A2BAB344}"/>
                </a:ext>
              </a:extLst>
            </p:cNvPr>
            <p:cNvSpPr txBox="1"/>
            <p:nvPr/>
          </p:nvSpPr>
          <p:spPr>
            <a:xfrm>
              <a:off x="7149133" y="2231100"/>
              <a:ext cx="1850065" cy="308484"/>
            </a:xfrm>
            <a:prstGeom prst="roundRect">
              <a:avLst>
                <a:gd name="adj" fmla="val 50000"/>
              </a:avLst>
            </a:prstGeom>
            <a:solidFill>
              <a:srgbClr val="0C2738"/>
            </a:solidFill>
            <a:ln>
              <a:solidFill>
                <a:srgbClr val="F0F0F0"/>
              </a:solidFill>
            </a:ln>
          </p:spPr>
          <p:txBody>
            <a:bodyPr wrap="square" lIns="0" tIns="0" rIns="0" bIns="0" rtlCol="0" anchor="ctr">
              <a:spAutoFit/>
            </a:bodyPr>
            <a:lstStyle>
              <a:defPPr>
                <a:defRPr lang="en-US"/>
              </a:defPPr>
              <a:lvl1pPr algn="ctr">
                <a:defRPr sz="1000">
                  <a:ln>
                    <a:solidFill>
                      <a:sysClr val="windowText" lastClr="000000"/>
                    </a:solidFill>
                  </a:ln>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solidFill>
                    <a:sysClr val="windowText" lastClr="000000"/>
                  </a:solidFill>
                </a:ln>
                <a:solidFill>
                  <a:srgbClr val="FFFFFF"/>
                </a:solidFill>
                <a:effectLst/>
                <a:uLnTx/>
                <a:uFillTx/>
                <a:latin typeface="Segoe UI"/>
                <a:ea typeface="+mn-ea"/>
                <a:cs typeface="+mn-cs"/>
              </a:endParaRPr>
            </a:p>
          </p:txBody>
        </p:sp>
        <p:sp>
          <p:nvSpPr>
            <p:cNvPr id="96" name="TextBox 95">
              <a:extLst>
                <a:ext uri="{FF2B5EF4-FFF2-40B4-BE49-F238E27FC236}">
                  <a16:creationId xmlns:a16="http://schemas.microsoft.com/office/drawing/2014/main" id="{7E0D9A30-D623-94BC-9FD0-E4B9EEB8A529}"/>
                </a:ext>
              </a:extLst>
            </p:cNvPr>
            <p:cNvSpPr txBox="1"/>
            <p:nvPr/>
          </p:nvSpPr>
          <p:spPr>
            <a:xfrm>
              <a:off x="9316463" y="2231100"/>
              <a:ext cx="1850065" cy="308484"/>
            </a:xfrm>
            <a:prstGeom prst="roundRect">
              <a:avLst>
                <a:gd name="adj" fmla="val 50000"/>
              </a:avLst>
            </a:prstGeom>
            <a:solidFill>
              <a:srgbClr val="0C2738"/>
            </a:solidFill>
            <a:ln>
              <a:solidFill>
                <a:srgbClr val="F0F0F0"/>
              </a:solidFill>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solidFill>
                    <a:sysClr val="windowText" lastClr="000000"/>
                  </a:solidFill>
                </a:ln>
                <a:solidFill>
                  <a:srgbClr val="FFFFFF"/>
                </a:solidFill>
                <a:effectLst/>
                <a:uLnTx/>
                <a:uFillTx/>
                <a:latin typeface="Segoe UI"/>
                <a:ea typeface="+mn-ea"/>
                <a:cs typeface="+mn-cs"/>
              </a:endParaRPr>
            </a:p>
          </p:txBody>
        </p:sp>
        <p:sp>
          <p:nvSpPr>
            <p:cNvPr id="98" name="Rectangle: Rounded Corners 97">
              <a:extLst>
                <a:ext uri="{FF2B5EF4-FFF2-40B4-BE49-F238E27FC236}">
                  <a16:creationId xmlns:a16="http://schemas.microsoft.com/office/drawing/2014/main" id="{8C650A91-0D7F-F3F8-498B-C4CF69268548}"/>
                </a:ext>
              </a:extLst>
            </p:cNvPr>
            <p:cNvSpPr/>
            <p:nvPr/>
          </p:nvSpPr>
          <p:spPr bwMode="auto">
            <a:xfrm>
              <a:off x="6156251" y="2902517"/>
              <a:ext cx="2116664" cy="457200"/>
            </a:xfrm>
            <a:prstGeom prst="roundRect">
              <a:avLst/>
            </a:prstGeom>
            <a:solidFill>
              <a:srgbClr val="243A5E"/>
            </a:solidFill>
            <a:ln w="9525" cap="flat" cmpd="sng" algn="ctr">
              <a:solidFill>
                <a:srgbClr val="0078D4"/>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itchFamily="34" charset="0"/>
                </a:rPr>
                <a:t>External use-cases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itchFamily="34" charset="0"/>
                </a:rPr>
                <a:t>(Customer / Vendor)</a:t>
              </a:r>
            </a:p>
          </p:txBody>
        </p:sp>
        <p:sp>
          <p:nvSpPr>
            <p:cNvPr id="99" name="Rectangle: Rounded Corners 98">
              <a:extLst>
                <a:ext uri="{FF2B5EF4-FFF2-40B4-BE49-F238E27FC236}">
                  <a16:creationId xmlns:a16="http://schemas.microsoft.com/office/drawing/2014/main" id="{DACBE997-6A38-2A48-28B6-A27E60F2FA5C}"/>
                </a:ext>
              </a:extLst>
            </p:cNvPr>
            <p:cNvSpPr/>
            <p:nvPr/>
          </p:nvSpPr>
          <p:spPr bwMode="auto">
            <a:xfrm>
              <a:off x="1885508" y="2902517"/>
              <a:ext cx="4165202" cy="457200"/>
            </a:xfrm>
            <a:prstGeom prst="roundRect">
              <a:avLst/>
            </a:prstGeom>
            <a:solidFill>
              <a:srgbClr val="243A5E"/>
            </a:solidFill>
            <a:ln w="9525" cap="flat" cmpd="sng" algn="ctr">
              <a:solidFill>
                <a:srgbClr val="0078D4"/>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Segoe UI" pitchFamily="34" charset="0"/>
                </a:rPr>
                <a:t>Internal use-cases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Segoe UI Semibold"/>
                  <a:ea typeface="+mn-ea"/>
                  <a:cs typeface="Segoe UI" pitchFamily="34" charset="0"/>
                </a:rPr>
                <a:t>(Employee, operational efficiency)</a:t>
              </a:r>
            </a:p>
          </p:txBody>
        </p:sp>
        <p:sp>
          <p:nvSpPr>
            <p:cNvPr id="100" name="Rectangle: Rounded Corners 99">
              <a:extLst>
                <a:ext uri="{FF2B5EF4-FFF2-40B4-BE49-F238E27FC236}">
                  <a16:creationId xmlns:a16="http://schemas.microsoft.com/office/drawing/2014/main" id="{3C7AFE69-91A4-2347-94D9-CEC41405E467}"/>
                </a:ext>
              </a:extLst>
            </p:cNvPr>
            <p:cNvSpPr/>
            <p:nvPr/>
          </p:nvSpPr>
          <p:spPr bwMode="auto">
            <a:xfrm>
              <a:off x="8378456" y="2902517"/>
              <a:ext cx="3568605" cy="457200"/>
            </a:xfrm>
            <a:prstGeom prst="roundRect">
              <a:avLst/>
            </a:prstGeom>
            <a:solidFill>
              <a:srgbClr val="243A5E"/>
            </a:solidFill>
            <a:ln w="9525" cap="flat" cmpd="sng" algn="ctr">
              <a:solidFill>
                <a:srgbClr val="0078D4"/>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itchFamily="34" charset="0"/>
                </a:rPr>
                <a:t>Continuous strategy alignment: Review market, technology, organization, compete</a:t>
              </a:r>
            </a:p>
          </p:txBody>
        </p:sp>
        <p:sp>
          <p:nvSpPr>
            <p:cNvPr id="101" name="Arrow: Pentagon 100">
              <a:extLst>
                <a:ext uri="{FF2B5EF4-FFF2-40B4-BE49-F238E27FC236}">
                  <a16:creationId xmlns:a16="http://schemas.microsoft.com/office/drawing/2014/main" id="{DB6FB26A-AA8D-53FD-3ECA-92677E532763}"/>
                </a:ext>
              </a:extLst>
            </p:cNvPr>
            <p:cNvSpPr/>
            <p:nvPr/>
          </p:nvSpPr>
          <p:spPr bwMode="auto">
            <a:xfrm>
              <a:off x="1885509" y="2647591"/>
              <a:ext cx="9532091" cy="130352"/>
            </a:xfrm>
            <a:prstGeom prst="homePlate">
              <a:avLst/>
            </a:prstGeom>
            <a:solidFill>
              <a:srgbClr val="243A5E"/>
            </a:solidFill>
            <a:ln w="9525" cap="flat" cmpd="sng" algn="ctr">
              <a:solidFill>
                <a:srgbClr val="0078D4"/>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B900"/>
                </a:solidFill>
                <a:effectLst/>
                <a:uLnTx/>
                <a:uFillTx/>
                <a:latin typeface="Segoe UI"/>
                <a:ea typeface="Segoe UI" pitchFamily="34" charset="0"/>
                <a:cs typeface="Segoe UI" pitchFamily="34" charset="0"/>
              </a:endParaRPr>
            </a:p>
          </p:txBody>
        </p:sp>
        <p:sp>
          <p:nvSpPr>
            <p:cNvPr id="102" name="Arrow: Chevron 101">
              <a:extLst>
                <a:ext uri="{FF2B5EF4-FFF2-40B4-BE49-F238E27FC236}">
                  <a16:creationId xmlns:a16="http://schemas.microsoft.com/office/drawing/2014/main" id="{EB095C50-E6C3-F77C-DE0C-3BD392894E62}"/>
                </a:ext>
              </a:extLst>
            </p:cNvPr>
            <p:cNvSpPr/>
            <p:nvPr/>
          </p:nvSpPr>
          <p:spPr bwMode="auto">
            <a:xfrm>
              <a:off x="11399881" y="2642175"/>
              <a:ext cx="148855" cy="139663"/>
            </a:xfrm>
            <a:prstGeom prst="chevron">
              <a:avLst/>
            </a:prstGeom>
            <a:solidFill>
              <a:srgbClr val="243A5E"/>
            </a:solidFill>
            <a:ln w="9525" cap="flat" cmpd="sng" algn="ctr">
              <a:solidFill>
                <a:schemeClr val="tx2">
                  <a:lumMod val="50000"/>
                  <a:lumOff val="50000"/>
                </a:scheme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B900"/>
                </a:solidFill>
                <a:effectLst/>
                <a:uLnTx/>
                <a:uFillTx/>
                <a:latin typeface="Segoe UI"/>
                <a:ea typeface="Segoe UI" pitchFamily="34" charset="0"/>
                <a:cs typeface="Segoe UI" pitchFamily="34" charset="0"/>
              </a:endParaRPr>
            </a:p>
          </p:txBody>
        </p:sp>
        <p:sp>
          <p:nvSpPr>
            <p:cNvPr id="104" name="Arrow: Chevron 103">
              <a:extLst>
                <a:ext uri="{FF2B5EF4-FFF2-40B4-BE49-F238E27FC236}">
                  <a16:creationId xmlns:a16="http://schemas.microsoft.com/office/drawing/2014/main" id="{0A6E59EE-97D7-ED05-64D4-A74ADB9B2F79}"/>
                </a:ext>
              </a:extLst>
            </p:cNvPr>
            <p:cNvSpPr/>
            <p:nvPr/>
          </p:nvSpPr>
          <p:spPr bwMode="auto">
            <a:xfrm>
              <a:off x="11536677" y="2647591"/>
              <a:ext cx="148855" cy="139663"/>
            </a:xfrm>
            <a:prstGeom prst="chevron">
              <a:avLst/>
            </a:prstGeom>
            <a:solidFill>
              <a:srgbClr val="243A5E"/>
            </a:solidFill>
            <a:ln w="9525" cap="flat" cmpd="sng" algn="ctr">
              <a:solidFill>
                <a:schemeClr val="tx2">
                  <a:lumMod val="50000"/>
                  <a:lumOff val="50000"/>
                </a:scheme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B900"/>
                </a:solidFill>
                <a:effectLst/>
                <a:uLnTx/>
                <a:uFillTx/>
                <a:latin typeface="Segoe UI"/>
                <a:ea typeface="Segoe UI" pitchFamily="34" charset="0"/>
                <a:cs typeface="Segoe UI" pitchFamily="34" charset="0"/>
              </a:endParaRPr>
            </a:p>
          </p:txBody>
        </p:sp>
        <p:sp>
          <p:nvSpPr>
            <p:cNvPr id="106" name="TextBox 105">
              <a:extLst>
                <a:ext uri="{FF2B5EF4-FFF2-40B4-BE49-F238E27FC236}">
                  <a16:creationId xmlns:a16="http://schemas.microsoft.com/office/drawing/2014/main" id="{50970A0B-AA73-B21E-338B-DBD865FEBD3F}"/>
                </a:ext>
              </a:extLst>
            </p:cNvPr>
            <p:cNvSpPr txBox="1"/>
            <p:nvPr/>
          </p:nvSpPr>
          <p:spPr>
            <a:xfrm>
              <a:off x="2614899" y="2231100"/>
              <a:ext cx="1702678" cy="308484"/>
            </a:xfrm>
            <a:prstGeom prst="roundRect">
              <a:avLst>
                <a:gd name="adj" fmla="val 50000"/>
              </a:avLst>
            </a:prstGeom>
            <a:solidFill>
              <a:srgbClr val="0C2738"/>
            </a:solidFill>
            <a:ln>
              <a:solidFill>
                <a:srgbClr val="F0F0F0"/>
              </a:solidFill>
            </a:ln>
          </p:spPr>
          <p:txBody>
            <a:bodyPr wrap="square" lIns="0" tIns="0" rIns="0" bIns="0" rtlCol="0" anchor="ctr">
              <a:spAutoFit/>
            </a:bodyPr>
            <a:lstStyle>
              <a:defPPr>
                <a:defRPr lang="en-US"/>
              </a:defPPr>
              <a:lvl1pPr algn="ctr">
                <a:defRPr sz="1000">
                  <a:ln>
                    <a:solidFill>
                      <a:sysClr val="windowText" lastClr="000000"/>
                    </a:solidFill>
                  </a:ln>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solidFill>
                    <a:sysClr val="windowText" lastClr="000000"/>
                  </a:solidFill>
                </a:ln>
                <a:solidFill>
                  <a:srgbClr val="FFFFFF"/>
                </a:solidFill>
                <a:effectLst/>
                <a:uLnTx/>
                <a:uFillTx/>
                <a:latin typeface="Segoe UI"/>
                <a:ea typeface="+mn-ea"/>
                <a:cs typeface="+mn-cs"/>
              </a:endParaRPr>
            </a:p>
          </p:txBody>
        </p:sp>
        <p:sp>
          <p:nvSpPr>
            <p:cNvPr id="108" name="Rectangle: Rounded Corners 107">
              <a:extLst>
                <a:ext uri="{FF2B5EF4-FFF2-40B4-BE49-F238E27FC236}">
                  <a16:creationId xmlns:a16="http://schemas.microsoft.com/office/drawing/2014/main" id="{43FC7146-C639-114E-9A5C-FFCB9FD2353F}"/>
                </a:ext>
              </a:extLst>
            </p:cNvPr>
            <p:cNvSpPr/>
            <p:nvPr/>
          </p:nvSpPr>
          <p:spPr bwMode="auto">
            <a:xfrm>
              <a:off x="176374" y="5739765"/>
              <a:ext cx="1697250" cy="330614"/>
            </a:xfrm>
            <a:prstGeom prst="roundRect">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a:ea typeface="+mn-ea"/>
                  <a:cs typeface="+mn-cs"/>
                </a:rPr>
                <a:t>Foundation</a:t>
              </a:r>
            </a:p>
          </p:txBody>
        </p:sp>
        <p:sp>
          <p:nvSpPr>
            <p:cNvPr id="34" name="Rectangle: Rounded Corners 33">
              <a:extLst>
                <a:ext uri="{FF2B5EF4-FFF2-40B4-BE49-F238E27FC236}">
                  <a16:creationId xmlns:a16="http://schemas.microsoft.com/office/drawing/2014/main" id="{DA6A36CA-F339-8080-8D5A-BC49F2E92029}"/>
                </a:ext>
              </a:extLst>
            </p:cNvPr>
            <p:cNvSpPr/>
            <p:nvPr/>
          </p:nvSpPr>
          <p:spPr bwMode="auto">
            <a:xfrm>
              <a:off x="176374" y="2634736"/>
              <a:ext cx="1697250" cy="503484"/>
            </a:xfrm>
            <a:prstGeom prst="roundRect">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it-IT" sz="1200" b="1" i="0" u="none" strike="noStrike" kern="0" cap="none" spc="0" normalizeH="0" baseline="0" noProof="0">
                  <a:ln>
                    <a:noFill/>
                  </a:ln>
                  <a:solidFill>
                    <a:srgbClr val="FFFFFF"/>
                  </a:solidFill>
                  <a:effectLst/>
                  <a:uLnTx/>
                  <a:uFillTx/>
                  <a:latin typeface="Segoe UI"/>
                  <a:ea typeface="+mn-ea"/>
                  <a:cs typeface="+mn-cs"/>
                </a:rPr>
                <a:t>AI Strategy</a:t>
              </a:r>
            </a:p>
          </p:txBody>
        </p:sp>
        <p:sp>
          <p:nvSpPr>
            <p:cNvPr id="38" name="Arrow: Chevron 37">
              <a:extLst>
                <a:ext uri="{FF2B5EF4-FFF2-40B4-BE49-F238E27FC236}">
                  <a16:creationId xmlns:a16="http://schemas.microsoft.com/office/drawing/2014/main" id="{1D7A2FDC-B66B-CEF0-ABD5-A5E55154FBCB}"/>
                </a:ext>
              </a:extLst>
            </p:cNvPr>
            <p:cNvSpPr/>
            <p:nvPr/>
          </p:nvSpPr>
          <p:spPr bwMode="auto">
            <a:xfrm>
              <a:off x="11673472" y="2647591"/>
              <a:ext cx="245926" cy="139663"/>
            </a:xfrm>
            <a:prstGeom prst="chevron">
              <a:avLst/>
            </a:prstGeom>
            <a:solidFill>
              <a:srgbClr val="243A5E"/>
            </a:solidFill>
            <a:ln w="9525" cap="flat" cmpd="sng" algn="ctr">
              <a:solidFill>
                <a:schemeClr val="tx2">
                  <a:lumMod val="50000"/>
                  <a:lumOff val="50000"/>
                </a:schemeClr>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B900"/>
                </a:solidFill>
                <a:effectLst/>
                <a:uLnTx/>
                <a:uFillTx/>
                <a:latin typeface="Segoe UI"/>
                <a:ea typeface="Segoe UI" pitchFamily="34" charset="0"/>
                <a:cs typeface="Segoe UI" pitchFamily="34" charset="0"/>
              </a:endParaRPr>
            </a:p>
          </p:txBody>
        </p:sp>
        <p:sp>
          <p:nvSpPr>
            <p:cNvPr id="3" name="TextBox 2">
              <a:extLst>
                <a:ext uri="{FF2B5EF4-FFF2-40B4-BE49-F238E27FC236}">
                  <a16:creationId xmlns:a16="http://schemas.microsoft.com/office/drawing/2014/main" id="{163EC091-15E9-06AC-12AE-EE77058A2AE2}"/>
                </a:ext>
              </a:extLst>
            </p:cNvPr>
            <p:cNvSpPr txBox="1"/>
            <p:nvPr/>
          </p:nvSpPr>
          <p:spPr>
            <a:xfrm>
              <a:off x="2465489" y="2255783"/>
              <a:ext cx="1918039"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Sans Text"/>
                  <a:ea typeface="+mn-ea"/>
                  <a:cs typeface="+mn-cs"/>
                </a:rPr>
                <a:t>Ignite</a:t>
              </a:r>
              <a:endParaRPr kumimoji="0" lang="en-CA" sz="1600" b="1" i="0" u="none" strike="noStrike" kern="1200" cap="none" spc="0" normalizeH="0" baseline="0" noProof="0">
                <a:ln>
                  <a:noFill/>
                </a:ln>
                <a:solidFill>
                  <a:srgbClr val="FFFFFF"/>
                </a:solidFill>
                <a:effectLst/>
                <a:uLnTx/>
                <a:uFillTx/>
                <a:latin typeface="Segoe Sans Text"/>
                <a:ea typeface="+mn-ea"/>
                <a:cs typeface="+mn-cs"/>
              </a:endParaRPr>
            </a:p>
          </p:txBody>
        </p:sp>
        <p:sp>
          <p:nvSpPr>
            <p:cNvPr id="4" name="TextBox 3">
              <a:extLst>
                <a:ext uri="{FF2B5EF4-FFF2-40B4-BE49-F238E27FC236}">
                  <a16:creationId xmlns:a16="http://schemas.microsoft.com/office/drawing/2014/main" id="{4BB2E852-6DCA-CB51-4868-911C7371CA0D}"/>
                </a:ext>
              </a:extLst>
            </p:cNvPr>
            <p:cNvSpPr txBox="1"/>
            <p:nvPr/>
          </p:nvSpPr>
          <p:spPr>
            <a:xfrm>
              <a:off x="4807311" y="2255783"/>
              <a:ext cx="1918039"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Sans Text"/>
                  <a:ea typeface="+mn-ea"/>
                  <a:cs typeface="+mn-cs"/>
                </a:rPr>
                <a:t>Accelerate</a:t>
              </a:r>
              <a:endParaRPr kumimoji="0" lang="en-CA" sz="1600" b="1" i="0" u="none" strike="noStrike" kern="1200" cap="none" spc="0" normalizeH="0" baseline="0" noProof="0">
                <a:ln>
                  <a:noFill/>
                </a:ln>
                <a:solidFill>
                  <a:srgbClr val="FFFFFF"/>
                </a:solidFill>
                <a:effectLst/>
                <a:uLnTx/>
                <a:uFillTx/>
                <a:latin typeface="Segoe Sans Text"/>
                <a:ea typeface="+mn-ea"/>
                <a:cs typeface="+mn-cs"/>
              </a:endParaRPr>
            </a:p>
          </p:txBody>
        </p:sp>
        <p:sp>
          <p:nvSpPr>
            <p:cNvPr id="7" name="TextBox 6">
              <a:extLst>
                <a:ext uri="{FF2B5EF4-FFF2-40B4-BE49-F238E27FC236}">
                  <a16:creationId xmlns:a16="http://schemas.microsoft.com/office/drawing/2014/main" id="{2326D347-FCBC-3B75-0E8B-09B8F8705BB4}"/>
                </a:ext>
              </a:extLst>
            </p:cNvPr>
            <p:cNvSpPr txBox="1"/>
            <p:nvPr/>
          </p:nvSpPr>
          <p:spPr>
            <a:xfrm>
              <a:off x="7115145" y="2255783"/>
              <a:ext cx="1918039"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Sans Text"/>
                  <a:ea typeface="+mn-ea"/>
                  <a:cs typeface="+mn-cs"/>
                </a:rPr>
                <a:t>Amplify</a:t>
              </a:r>
              <a:endParaRPr kumimoji="0" lang="en-CA" sz="1600" b="1" i="0" u="none" strike="noStrike" kern="1200" cap="none" spc="0" normalizeH="0" baseline="0" noProof="0">
                <a:ln>
                  <a:noFill/>
                </a:ln>
                <a:solidFill>
                  <a:srgbClr val="FFFFFF"/>
                </a:solidFill>
                <a:effectLst/>
                <a:uLnTx/>
                <a:uFillTx/>
                <a:latin typeface="Segoe Sans Text"/>
                <a:ea typeface="+mn-ea"/>
                <a:cs typeface="+mn-cs"/>
              </a:endParaRPr>
            </a:p>
          </p:txBody>
        </p:sp>
        <p:sp>
          <p:nvSpPr>
            <p:cNvPr id="8" name="TextBox 7">
              <a:extLst>
                <a:ext uri="{FF2B5EF4-FFF2-40B4-BE49-F238E27FC236}">
                  <a16:creationId xmlns:a16="http://schemas.microsoft.com/office/drawing/2014/main" id="{9071DE85-6158-9A25-AD8B-6949F59AD252}"/>
                </a:ext>
              </a:extLst>
            </p:cNvPr>
            <p:cNvSpPr txBox="1"/>
            <p:nvPr/>
          </p:nvSpPr>
          <p:spPr>
            <a:xfrm>
              <a:off x="9316463" y="2255783"/>
              <a:ext cx="1918039"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Sans Text"/>
                  <a:ea typeface="+mn-ea"/>
                  <a:cs typeface="+mn-cs"/>
                </a:rPr>
                <a:t>Transform</a:t>
              </a:r>
              <a:endParaRPr kumimoji="0" lang="en-CA" sz="1600" b="1" i="0" u="none" strike="noStrike" kern="1200" cap="none" spc="0" normalizeH="0" baseline="0" noProof="0">
                <a:ln>
                  <a:noFill/>
                </a:ln>
                <a:solidFill>
                  <a:srgbClr val="FFFFFF"/>
                </a:solidFill>
                <a:effectLst/>
                <a:uLnTx/>
                <a:uFillTx/>
                <a:latin typeface="Segoe Sans Text"/>
                <a:ea typeface="+mn-ea"/>
                <a:cs typeface="+mn-cs"/>
              </a:endParaRPr>
            </a:p>
          </p:txBody>
        </p:sp>
      </p:grpSp>
    </p:spTree>
    <p:extLst>
      <p:ext uri="{BB962C8B-B14F-4D97-AF65-F5344CB8AC3E}">
        <p14:creationId xmlns:p14="http://schemas.microsoft.com/office/powerpoint/2010/main" val="114619043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261C68B9-622A-C57F-18C4-4571204E7213}"/>
              </a:ext>
              <a:ext uri="{C183D7F6-B498-43B3-948B-1728B52AA6E4}">
                <adec:decorative xmlns:adec="http://schemas.microsoft.com/office/drawing/2017/decorative" val="1"/>
              </a:ext>
            </a:extLst>
          </p:cNvPr>
          <p:cNvSpPr/>
          <p:nvPr/>
        </p:nvSpPr>
        <p:spPr bwMode="auto">
          <a:xfrm>
            <a:off x="293752" y="292100"/>
            <a:ext cx="11604496" cy="6261100"/>
          </a:xfrm>
          <a:prstGeom prst="roundRect">
            <a:avLst>
              <a:gd name="adj" fmla="val 2169"/>
            </a:avLst>
          </a:prstGeom>
          <a:solidFill>
            <a:srgbClr val="26262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ts val="40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Segoe UI "/>
              <a:ea typeface="Open Sans" panose="020B0606030504020204" pitchFamily="34" charset="0"/>
              <a:cs typeface="Open Sans" panose="020B0606030504020204" pitchFamily="34" charset="0"/>
            </a:endParaRPr>
          </a:p>
        </p:txBody>
      </p:sp>
      <p:sp>
        <p:nvSpPr>
          <p:cNvPr id="104" name="Oval 103">
            <a:extLst>
              <a:ext uri="{FF2B5EF4-FFF2-40B4-BE49-F238E27FC236}">
                <a16:creationId xmlns:a16="http://schemas.microsoft.com/office/drawing/2014/main" id="{37EBBB2A-18EE-2F66-A791-A9E0566EBD2D}"/>
              </a:ext>
            </a:extLst>
          </p:cNvPr>
          <p:cNvSpPr/>
          <p:nvPr/>
        </p:nvSpPr>
        <p:spPr>
          <a:xfrm rot="1339252">
            <a:off x="2627086" y="-46264"/>
            <a:ext cx="6937828" cy="6937828"/>
          </a:xfrm>
          <a:prstGeom prst="ellipse">
            <a:avLst/>
          </a:prstGeom>
          <a:noFill/>
          <a:ln w="15875">
            <a:noFill/>
            <a:prstDash val="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prstTxWarp prst="textArchUp">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mn-cs"/>
              </a:rPr>
              <a:t>Industrialize AI with MAIVA</a:t>
            </a:r>
          </a:p>
        </p:txBody>
      </p:sp>
      <p:grpSp>
        <p:nvGrpSpPr>
          <p:cNvPr id="2" name="Group 1" descr="An infographic showing How MAIVA is a framework to enable the customer to manage their portfolio of AI investments to optimize performance and build higher returns">
            <a:extLst>
              <a:ext uri="{FF2B5EF4-FFF2-40B4-BE49-F238E27FC236}">
                <a16:creationId xmlns:a16="http://schemas.microsoft.com/office/drawing/2014/main" id="{D7AC090A-1CFD-C336-DE36-B34D11A78F58}"/>
              </a:ext>
            </a:extLst>
          </p:cNvPr>
          <p:cNvGrpSpPr/>
          <p:nvPr/>
        </p:nvGrpSpPr>
        <p:grpSpPr>
          <a:xfrm>
            <a:off x="852644" y="565809"/>
            <a:ext cx="10486713" cy="5713075"/>
            <a:chOff x="852644" y="565809"/>
            <a:chExt cx="10486713" cy="5713075"/>
          </a:xfrm>
        </p:grpSpPr>
        <p:sp>
          <p:nvSpPr>
            <p:cNvPr id="103" name="Oval 102">
              <a:extLst>
                <a:ext uri="{FF2B5EF4-FFF2-40B4-BE49-F238E27FC236}">
                  <a16:creationId xmlns:a16="http://schemas.microsoft.com/office/drawing/2014/main" id="{6CDE74D6-F758-4AE1-E69B-422ED8B0C655}"/>
                </a:ext>
              </a:extLst>
            </p:cNvPr>
            <p:cNvSpPr/>
            <p:nvPr/>
          </p:nvSpPr>
          <p:spPr>
            <a:xfrm rot="5400000">
              <a:off x="3541486" y="1172936"/>
              <a:ext cx="4499428" cy="4499428"/>
            </a:xfrm>
            <a:prstGeom prst="ellipse">
              <a:avLst/>
            </a:prstGeom>
            <a:solidFill>
              <a:schemeClr val="accent2">
                <a:lumMod val="60000"/>
                <a:lumOff val="40000"/>
              </a:schemeClr>
            </a:solidFill>
            <a:ln w="31750">
              <a:solidFill>
                <a:schemeClr val="accent2">
                  <a:lumMod val="60000"/>
                  <a:lumOff val="40000"/>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pSp>
          <p:nvGrpSpPr>
            <p:cNvPr id="142" name="Group 141">
              <a:extLst>
                <a:ext uri="{FF2B5EF4-FFF2-40B4-BE49-F238E27FC236}">
                  <a16:creationId xmlns:a16="http://schemas.microsoft.com/office/drawing/2014/main" id="{19FD6DA5-FE4B-AACF-96C6-799C26DF3A70}"/>
                </a:ext>
              </a:extLst>
            </p:cNvPr>
            <p:cNvGrpSpPr/>
            <p:nvPr/>
          </p:nvGrpSpPr>
          <p:grpSpPr>
            <a:xfrm>
              <a:off x="3866429" y="1806890"/>
              <a:ext cx="3085914" cy="3231520"/>
              <a:chOff x="3352800" y="549711"/>
              <a:chExt cx="5486400" cy="5745271"/>
            </a:xfrm>
          </p:grpSpPr>
          <p:sp>
            <p:nvSpPr>
              <p:cNvPr id="136" name="Oval 40_1">
                <a:extLst>
                  <a:ext uri="{FF2B5EF4-FFF2-40B4-BE49-F238E27FC236}">
                    <a16:creationId xmlns:a16="http://schemas.microsoft.com/office/drawing/2014/main" id="{A93C339D-B362-4D92-CCBA-D648C01028A4}"/>
                  </a:ext>
                </a:extLst>
              </p:cNvPr>
              <p:cNvSpPr/>
              <p:nvPr/>
            </p:nvSpPr>
            <p:spPr>
              <a:xfrm rot="5400000">
                <a:off x="3352800" y="679450"/>
                <a:ext cx="5486400" cy="5486400"/>
              </a:xfrm>
              <a:prstGeom prst="ellipse">
                <a:avLst/>
              </a:prstGeom>
              <a:noFill/>
              <a:ln w="19050">
                <a:solidFill>
                  <a:schemeClr val="bg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7" name="Graphic 57_1">
                <a:extLst>
                  <a:ext uri="{FF2B5EF4-FFF2-40B4-BE49-F238E27FC236}">
                    <a16:creationId xmlns:a16="http://schemas.microsoft.com/office/drawing/2014/main" id="{4F114ECB-6A3A-A85E-81FF-0DBBA7AFBA49}"/>
                  </a:ext>
                </a:extLst>
              </p:cNvPr>
              <p:cNvSpPr/>
              <p:nvPr/>
            </p:nvSpPr>
            <p:spPr>
              <a:xfrm flipH="1">
                <a:off x="5976937" y="549711"/>
                <a:ext cx="238126" cy="268290"/>
              </a:xfrm>
              <a:custGeom>
                <a:avLst/>
                <a:gdLst>
                  <a:gd name="connsiteX0" fmla="*/ 24660 w 245156"/>
                  <a:gd name="connsiteY0" fmla="*/ 85507 h 276218"/>
                  <a:gd name="connsiteX1" fmla="*/ 4058 w 245156"/>
                  <a:gd name="connsiteY1" fmla="*/ 48001 h 276218"/>
                  <a:gd name="connsiteX2" fmla="*/ 30508 w 245156"/>
                  <a:gd name="connsiteY2" fmla="*/ 6 h 276218"/>
                  <a:gd name="connsiteX3" fmla="*/ 48318 w 245156"/>
                  <a:gd name="connsiteY3" fmla="*/ 4685 h 276218"/>
                  <a:gd name="connsiteX4" fmla="*/ 138120 w 245156"/>
                  <a:gd name="connsiteY4" fmla="*/ 56529 h 276218"/>
                  <a:gd name="connsiteX5" fmla="*/ 227922 w 245156"/>
                  <a:gd name="connsiteY5" fmla="*/ 108373 h 276218"/>
                  <a:gd name="connsiteX6" fmla="*/ 227922 w 245156"/>
                  <a:gd name="connsiteY6" fmla="*/ 168065 h 276218"/>
                  <a:gd name="connsiteX7" fmla="*/ 138120 w 245156"/>
                  <a:gd name="connsiteY7" fmla="*/ 219909 h 276218"/>
                  <a:gd name="connsiteX8" fmla="*/ 48318 w 245156"/>
                  <a:gd name="connsiteY8" fmla="*/ 271752 h 276218"/>
                  <a:gd name="connsiteX9" fmla="*/ 45827 w 245156"/>
                  <a:gd name="connsiteY9" fmla="*/ 273073 h 276218"/>
                  <a:gd name="connsiteX10" fmla="*/ 4662 w 245156"/>
                  <a:gd name="connsiteY10" fmla="*/ 227493 h 276218"/>
                  <a:gd name="connsiteX11" fmla="*/ 24358 w 245156"/>
                  <a:gd name="connsiteY11" fmla="*/ 192100 h 276218"/>
                  <a:gd name="connsiteX12" fmla="*/ 24660 w 245156"/>
                  <a:gd name="connsiteY12" fmla="*/ 85507 h 2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156" h="276218">
                    <a:moveTo>
                      <a:pt x="24660" y="85507"/>
                    </a:moveTo>
                    <a:lnTo>
                      <a:pt x="4058" y="48001"/>
                    </a:lnTo>
                    <a:cubicBezTo>
                      <a:pt x="-7412" y="27136"/>
                      <a:pt x="6699" y="459"/>
                      <a:pt x="30508" y="6"/>
                    </a:cubicBezTo>
                    <a:cubicBezTo>
                      <a:pt x="36432" y="-107"/>
                      <a:pt x="42583" y="1327"/>
                      <a:pt x="48318" y="4685"/>
                    </a:cubicBezTo>
                    <a:lnTo>
                      <a:pt x="138120" y="56529"/>
                    </a:lnTo>
                    <a:lnTo>
                      <a:pt x="227922" y="108373"/>
                    </a:lnTo>
                    <a:cubicBezTo>
                      <a:pt x="250901" y="121654"/>
                      <a:pt x="250901" y="154783"/>
                      <a:pt x="227922" y="168065"/>
                    </a:cubicBezTo>
                    <a:lnTo>
                      <a:pt x="138120" y="219909"/>
                    </a:lnTo>
                    <a:lnTo>
                      <a:pt x="48318" y="271752"/>
                    </a:lnTo>
                    <a:cubicBezTo>
                      <a:pt x="47488" y="272243"/>
                      <a:pt x="46658" y="272658"/>
                      <a:pt x="45827" y="273073"/>
                    </a:cubicBezTo>
                    <a:cubicBezTo>
                      <a:pt x="17868" y="286430"/>
                      <a:pt x="-10431" y="254584"/>
                      <a:pt x="4662" y="227493"/>
                    </a:cubicBezTo>
                    <a:lnTo>
                      <a:pt x="24358" y="192100"/>
                    </a:lnTo>
                    <a:cubicBezTo>
                      <a:pt x="42809" y="158971"/>
                      <a:pt x="42922" y="118711"/>
                      <a:pt x="24660" y="85507"/>
                    </a:cubicBezTo>
                    <a:close/>
                  </a:path>
                </a:pathLst>
              </a:custGeom>
              <a:solidFill>
                <a:schemeClr val="accent1"/>
              </a:solidFill>
              <a:ln w="12700">
                <a:solidFill>
                  <a:schemeClr val="bg1"/>
                </a:solidFill>
              </a:ln>
              <a:effectLst>
                <a:outerShdw blurRad="330200" sx="102000" sy="102000" algn="ctr" rotWithShape="0">
                  <a:prstClr val="black">
                    <a:alpha val="5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38" name="Graphic 57_2">
                <a:extLst>
                  <a:ext uri="{FF2B5EF4-FFF2-40B4-BE49-F238E27FC236}">
                    <a16:creationId xmlns:a16="http://schemas.microsoft.com/office/drawing/2014/main" id="{DEB6AEF2-1954-96D6-C16B-4C0AA44ABD39}"/>
                  </a:ext>
                </a:extLst>
              </p:cNvPr>
              <p:cNvSpPr/>
              <p:nvPr/>
            </p:nvSpPr>
            <p:spPr>
              <a:xfrm rot="18880912" flipH="1">
                <a:off x="4146197" y="1238685"/>
                <a:ext cx="238128" cy="268292"/>
              </a:xfrm>
              <a:custGeom>
                <a:avLst/>
                <a:gdLst>
                  <a:gd name="connsiteX0" fmla="*/ 24660 w 245156"/>
                  <a:gd name="connsiteY0" fmla="*/ 85507 h 276218"/>
                  <a:gd name="connsiteX1" fmla="*/ 4058 w 245156"/>
                  <a:gd name="connsiteY1" fmla="*/ 48001 h 276218"/>
                  <a:gd name="connsiteX2" fmla="*/ 30508 w 245156"/>
                  <a:gd name="connsiteY2" fmla="*/ 6 h 276218"/>
                  <a:gd name="connsiteX3" fmla="*/ 48318 w 245156"/>
                  <a:gd name="connsiteY3" fmla="*/ 4685 h 276218"/>
                  <a:gd name="connsiteX4" fmla="*/ 138120 w 245156"/>
                  <a:gd name="connsiteY4" fmla="*/ 56529 h 276218"/>
                  <a:gd name="connsiteX5" fmla="*/ 227922 w 245156"/>
                  <a:gd name="connsiteY5" fmla="*/ 108373 h 276218"/>
                  <a:gd name="connsiteX6" fmla="*/ 227922 w 245156"/>
                  <a:gd name="connsiteY6" fmla="*/ 168065 h 276218"/>
                  <a:gd name="connsiteX7" fmla="*/ 138120 w 245156"/>
                  <a:gd name="connsiteY7" fmla="*/ 219909 h 276218"/>
                  <a:gd name="connsiteX8" fmla="*/ 48318 w 245156"/>
                  <a:gd name="connsiteY8" fmla="*/ 271752 h 276218"/>
                  <a:gd name="connsiteX9" fmla="*/ 45827 w 245156"/>
                  <a:gd name="connsiteY9" fmla="*/ 273073 h 276218"/>
                  <a:gd name="connsiteX10" fmla="*/ 4662 w 245156"/>
                  <a:gd name="connsiteY10" fmla="*/ 227493 h 276218"/>
                  <a:gd name="connsiteX11" fmla="*/ 24358 w 245156"/>
                  <a:gd name="connsiteY11" fmla="*/ 192100 h 276218"/>
                  <a:gd name="connsiteX12" fmla="*/ 24660 w 245156"/>
                  <a:gd name="connsiteY12" fmla="*/ 85507 h 2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156" h="276218">
                    <a:moveTo>
                      <a:pt x="24660" y="85507"/>
                    </a:moveTo>
                    <a:lnTo>
                      <a:pt x="4058" y="48001"/>
                    </a:lnTo>
                    <a:cubicBezTo>
                      <a:pt x="-7412" y="27136"/>
                      <a:pt x="6699" y="459"/>
                      <a:pt x="30508" y="6"/>
                    </a:cubicBezTo>
                    <a:cubicBezTo>
                      <a:pt x="36432" y="-107"/>
                      <a:pt x="42583" y="1327"/>
                      <a:pt x="48318" y="4685"/>
                    </a:cubicBezTo>
                    <a:lnTo>
                      <a:pt x="138120" y="56529"/>
                    </a:lnTo>
                    <a:lnTo>
                      <a:pt x="227922" y="108373"/>
                    </a:lnTo>
                    <a:cubicBezTo>
                      <a:pt x="250901" y="121654"/>
                      <a:pt x="250901" y="154783"/>
                      <a:pt x="227922" y="168065"/>
                    </a:cubicBezTo>
                    <a:lnTo>
                      <a:pt x="138120" y="219909"/>
                    </a:lnTo>
                    <a:lnTo>
                      <a:pt x="48318" y="271752"/>
                    </a:lnTo>
                    <a:cubicBezTo>
                      <a:pt x="47488" y="272243"/>
                      <a:pt x="46658" y="272658"/>
                      <a:pt x="45827" y="273073"/>
                    </a:cubicBezTo>
                    <a:cubicBezTo>
                      <a:pt x="17868" y="286430"/>
                      <a:pt x="-10431" y="254584"/>
                      <a:pt x="4662" y="227493"/>
                    </a:cubicBezTo>
                    <a:lnTo>
                      <a:pt x="24358" y="192100"/>
                    </a:lnTo>
                    <a:cubicBezTo>
                      <a:pt x="42809" y="158971"/>
                      <a:pt x="42922" y="118711"/>
                      <a:pt x="24660" y="85507"/>
                    </a:cubicBezTo>
                    <a:close/>
                  </a:path>
                </a:pathLst>
              </a:custGeom>
              <a:solidFill>
                <a:schemeClr val="accent1"/>
              </a:solidFill>
              <a:ln w="12700">
                <a:solidFill>
                  <a:schemeClr val="bg1"/>
                </a:solidFill>
              </a:ln>
              <a:effectLst>
                <a:outerShdw blurRad="330200" sx="102000" sy="102000" algn="ctr" rotWithShape="0">
                  <a:prstClr val="black">
                    <a:alpha val="5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39" name="Graphic 57_3">
                <a:extLst>
                  <a:ext uri="{FF2B5EF4-FFF2-40B4-BE49-F238E27FC236}">
                    <a16:creationId xmlns:a16="http://schemas.microsoft.com/office/drawing/2014/main" id="{55B70ADA-508B-D7EA-F4A1-858C02B1FA5C}"/>
                  </a:ext>
                </a:extLst>
              </p:cNvPr>
              <p:cNvSpPr/>
              <p:nvPr/>
            </p:nvSpPr>
            <p:spPr>
              <a:xfrm rot="2727595" flipH="1">
                <a:off x="7807678" y="1238688"/>
                <a:ext cx="238122" cy="268286"/>
              </a:xfrm>
              <a:custGeom>
                <a:avLst/>
                <a:gdLst>
                  <a:gd name="connsiteX0" fmla="*/ 24660 w 245156"/>
                  <a:gd name="connsiteY0" fmla="*/ 85507 h 276218"/>
                  <a:gd name="connsiteX1" fmla="*/ 4058 w 245156"/>
                  <a:gd name="connsiteY1" fmla="*/ 48001 h 276218"/>
                  <a:gd name="connsiteX2" fmla="*/ 30508 w 245156"/>
                  <a:gd name="connsiteY2" fmla="*/ 6 h 276218"/>
                  <a:gd name="connsiteX3" fmla="*/ 48318 w 245156"/>
                  <a:gd name="connsiteY3" fmla="*/ 4685 h 276218"/>
                  <a:gd name="connsiteX4" fmla="*/ 138120 w 245156"/>
                  <a:gd name="connsiteY4" fmla="*/ 56529 h 276218"/>
                  <a:gd name="connsiteX5" fmla="*/ 227922 w 245156"/>
                  <a:gd name="connsiteY5" fmla="*/ 108373 h 276218"/>
                  <a:gd name="connsiteX6" fmla="*/ 227922 w 245156"/>
                  <a:gd name="connsiteY6" fmla="*/ 168065 h 276218"/>
                  <a:gd name="connsiteX7" fmla="*/ 138120 w 245156"/>
                  <a:gd name="connsiteY7" fmla="*/ 219909 h 276218"/>
                  <a:gd name="connsiteX8" fmla="*/ 48318 w 245156"/>
                  <a:gd name="connsiteY8" fmla="*/ 271752 h 276218"/>
                  <a:gd name="connsiteX9" fmla="*/ 45827 w 245156"/>
                  <a:gd name="connsiteY9" fmla="*/ 273073 h 276218"/>
                  <a:gd name="connsiteX10" fmla="*/ 4662 w 245156"/>
                  <a:gd name="connsiteY10" fmla="*/ 227493 h 276218"/>
                  <a:gd name="connsiteX11" fmla="*/ 24358 w 245156"/>
                  <a:gd name="connsiteY11" fmla="*/ 192100 h 276218"/>
                  <a:gd name="connsiteX12" fmla="*/ 24660 w 245156"/>
                  <a:gd name="connsiteY12" fmla="*/ 85507 h 2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156" h="276218">
                    <a:moveTo>
                      <a:pt x="24660" y="85507"/>
                    </a:moveTo>
                    <a:lnTo>
                      <a:pt x="4058" y="48001"/>
                    </a:lnTo>
                    <a:cubicBezTo>
                      <a:pt x="-7412" y="27136"/>
                      <a:pt x="6699" y="459"/>
                      <a:pt x="30508" y="6"/>
                    </a:cubicBezTo>
                    <a:cubicBezTo>
                      <a:pt x="36432" y="-107"/>
                      <a:pt x="42583" y="1327"/>
                      <a:pt x="48318" y="4685"/>
                    </a:cubicBezTo>
                    <a:lnTo>
                      <a:pt x="138120" y="56529"/>
                    </a:lnTo>
                    <a:lnTo>
                      <a:pt x="227922" y="108373"/>
                    </a:lnTo>
                    <a:cubicBezTo>
                      <a:pt x="250901" y="121654"/>
                      <a:pt x="250901" y="154783"/>
                      <a:pt x="227922" y="168065"/>
                    </a:cubicBezTo>
                    <a:lnTo>
                      <a:pt x="138120" y="219909"/>
                    </a:lnTo>
                    <a:lnTo>
                      <a:pt x="48318" y="271752"/>
                    </a:lnTo>
                    <a:cubicBezTo>
                      <a:pt x="47488" y="272243"/>
                      <a:pt x="46658" y="272658"/>
                      <a:pt x="45827" y="273073"/>
                    </a:cubicBezTo>
                    <a:cubicBezTo>
                      <a:pt x="17868" y="286430"/>
                      <a:pt x="-10431" y="254584"/>
                      <a:pt x="4662" y="227493"/>
                    </a:cubicBezTo>
                    <a:lnTo>
                      <a:pt x="24358" y="192100"/>
                    </a:lnTo>
                    <a:cubicBezTo>
                      <a:pt x="42809" y="158971"/>
                      <a:pt x="42922" y="118711"/>
                      <a:pt x="24660" y="85507"/>
                    </a:cubicBezTo>
                    <a:close/>
                  </a:path>
                </a:pathLst>
              </a:custGeom>
              <a:solidFill>
                <a:schemeClr val="accent1"/>
              </a:solidFill>
              <a:ln w="12700">
                <a:solidFill>
                  <a:schemeClr val="bg1"/>
                </a:solidFill>
              </a:ln>
              <a:effectLst>
                <a:outerShdw blurRad="330200" sx="102000" sy="102000" algn="ctr" rotWithShape="0">
                  <a:prstClr val="black">
                    <a:alpha val="5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0" name="Graphic 57_4">
                <a:extLst>
                  <a:ext uri="{FF2B5EF4-FFF2-40B4-BE49-F238E27FC236}">
                    <a16:creationId xmlns:a16="http://schemas.microsoft.com/office/drawing/2014/main" id="{F0B01F2F-24A6-7F6C-B2BD-6A2198B7125F}"/>
                  </a:ext>
                </a:extLst>
              </p:cNvPr>
              <p:cNvSpPr/>
              <p:nvPr/>
            </p:nvSpPr>
            <p:spPr>
              <a:xfrm flipV="1">
                <a:off x="5976937" y="6026692"/>
                <a:ext cx="238126" cy="268290"/>
              </a:xfrm>
              <a:custGeom>
                <a:avLst/>
                <a:gdLst>
                  <a:gd name="connsiteX0" fmla="*/ 24660 w 245156"/>
                  <a:gd name="connsiteY0" fmla="*/ 85507 h 276218"/>
                  <a:gd name="connsiteX1" fmla="*/ 4058 w 245156"/>
                  <a:gd name="connsiteY1" fmla="*/ 48001 h 276218"/>
                  <a:gd name="connsiteX2" fmla="*/ 30508 w 245156"/>
                  <a:gd name="connsiteY2" fmla="*/ 6 h 276218"/>
                  <a:gd name="connsiteX3" fmla="*/ 48318 w 245156"/>
                  <a:gd name="connsiteY3" fmla="*/ 4685 h 276218"/>
                  <a:gd name="connsiteX4" fmla="*/ 138120 w 245156"/>
                  <a:gd name="connsiteY4" fmla="*/ 56529 h 276218"/>
                  <a:gd name="connsiteX5" fmla="*/ 227922 w 245156"/>
                  <a:gd name="connsiteY5" fmla="*/ 108373 h 276218"/>
                  <a:gd name="connsiteX6" fmla="*/ 227922 w 245156"/>
                  <a:gd name="connsiteY6" fmla="*/ 168065 h 276218"/>
                  <a:gd name="connsiteX7" fmla="*/ 138120 w 245156"/>
                  <a:gd name="connsiteY7" fmla="*/ 219909 h 276218"/>
                  <a:gd name="connsiteX8" fmla="*/ 48318 w 245156"/>
                  <a:gd name="connsiteY8" fmla="*/ 271752 h 276218"/>
                  <a:gd name="connsiteX9" fmla="*/ 45827 w 245156"/>
                  <a:gd name="connsiteY9" fmla="*/ 273073 h 276218"/>
                  <a:gd name="connsiteX10" fmla="*/ 4662 w 245156"/>
                  <a:gd name="connsiteY10" fmla="*/ 227493 h 276218"/>
                  <a:gd name="connsiteX11" fmla="*/ 24358 w 245156"/>
                  <a:gd name="connsiteY11" fmla="*/ 192100 h 276218"/>
                  <a:gd name="connsiteX12" fmla="*/ 24660 w 245156"/>
                  <a:gd name="connsiteY12" fmla="*/ 85507 h 2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156" h="276218">
                    <a:moveTo>
                      <a:pt x="24660" y="85507"/>
                    </a:moveTo>
                    <a:lnTo>
                      <a:pt x="4058" y="48001"/>
                    </a:lnTo>
                    <a:cubicBezTo>
                      <a:pt x="-7412" y="27136"/>
                      <a:pt x="6699" y="459"/>
                      <a:pt x="30508" y="6"/>
                    </a:cubicBezTo>
                    <a:cubicBezTo>
                      <a:pt x="36432" y="-107"/>
                      <a:pt x="42583" y="1327"/>
                      <a:pt x="48318" y="4685"/>
                    </a:cubicBezTo>
                    <a:lnTo>
                      <a:pt x="138120" y="56529"/>
                    </a:lnTo>
                    <a:lnTo>
                      <a:pt x="227922" y="108373"/>
                    </a:lnTo>
                    <a:cubicBezTo>
                      <a:pt x="250901" y="121654"/>
                      <a:pt x="250901" y="154783"/>
                      <a:pt x="227922" y="168065"/>
                    </a:cubicBezTo>
                    <a:lnTo>
                      <a:pt x="138120" y="219909"/>
                    </a:lnTo>
                    <a:lnTo>
                      <a:pt x="48318" y="271752"/>
                    </a:lnTo>
                    <a:cubicBezTo>
                      <a:pt x="47488" y="272243"/>
                      <a:pt x="46658" y="272658"/>
                      <a:pt x="45827" y="273073"/>
                    </a:cubicBezTo>
                    <a:cubicBezTo>
                      <a:pt x="17868" y="286430"/>
                      <a:pt x="-10431" y="254584"/>
                      <a:pt x="4662" y="227493"/>
                    </a:cubicBezTo>
                    <a:lnTo>
                      <a:pt x="24358" y="192100"/>
                    </a:lnTo>
                    <a:cubicBezTo>
                      <a:pt x="42809" y="158971"/>
                      <a:pt x="42922" y="118711"/>
                      <a:pt x="24660" y="85507"/>
                    </a:cubicBezTo>
                    <a:close/>
                  </a:path>
                </a:pathLst>
              </a:custGeom>
              <a:solidFill>
                <a:schemeClr val="accent1"/>
              </a:solidFill>
              <a:ln w="12700">
                <a:solidFill>
                  <a:schemeClr val="bg1"/>
                </a:solidFill>
              </a:ln>
              <a:effectLst>
                <a:outerShdw blurRad="330200" sx="102000" sy="102000" algn="ctr" rotWithShape="0">
                  <a:prstClr val="black">
                    <a:alpha val="5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1" name="Graphic 57_5">
                <a:extLst>
                  <a:ext uri="{FF2B5EF4-FFF2-40B4-BE49-F238E27FC236}">
                    <a16:creationId xmlns:a16="http://schemas.microsoft.com/office/drawing/2014/main" id="{E7DEAB08-264A-77D6-1F7F-AC22AC1AE2B6}"/>
                  </a:ext>
                </a:extLst>
              </p:cNvPr>
              <p:cNvSpPr/>
              <p:nvPr/>
            </p:nvSpPr>
            <p:spPr>
              <a:xfrm rot="2727595" flipV="1">
                <a:off x="4146201" y="5337719"/>
                <a:ext cx="238123" cy="268286"/>
              </a:xfrm>
              <a:custGeom>
                <a:avLst/>
                <a:gdLst>
                  <a:gd name="connsiteX0" fmla="*/ 24660 w 245156"/>
                  <a:gd name="connsiteY0" fmla="*/ 85507 h 276218"/>
                  <a:gd name="connsiteX1" fmla="*/ 4058 w 245156"/>
                  <a:gd name="connsiteY1" fmla="*/ 48001 h 276218"/>
                  <a:gd name="connsiteX2" fmla="*/ 30508 w 245156"/>
                  <a:gd name="connsiteY2" fmla="*/ 6 h 276218"/>
                  <a:gd name="connsiteX3" fmla="*/ 48318 w 245156"/>
                  <a:gd name="connsiteY3" fmla="*/ 4685 h 276218"/>
                  <a:gd name="connsiteX4" fmla="*/ 138120 w 245156"/>
                  <a:gd name="connsiteY4" fmla="*/ 56529 h 276218"/>
                  <a:gd name="connsiteX5" fmla="*/ 227922 w 245156"/>
                  <a:gd name="connsiteY5" fmla="*/ 108373 h 276218"/>
                  <a:gd name="connsiteX6" fmla="*/ 227922 w 245156"/>
                  <a:gd name="connsiteY6" fmla="*/ 168065 h 276218"/>
                  <a:gd name="connsiteX7" fmla="*/ 138120 w 245156"/>
                  <a:gd name="connsiteY7" fmla="*/ 219909 h 276218"/>
                  <a:gd name="connsiteX8" fmla="*/ 48318 w 245156"/>
                  <a:gd name="connsiteY8" fmla="*/ 271752 h 276218"/>
                  <a:gd name="connsiteX9" fmla="*/ 45827 w 245156"/>
                  <a:gd name="connsiteY9" fmla="*/ 273073 h 276218"/>
                  <a:gd name="connsiteX10" fmla="*/ 4662 w 245156"/>
                  <a:gd name="connsiteY10" fmla="*/ 227493 h 276218"/>
                  <a:gd name="connsiteX11" fmla="*/ 24358 w 245156"/>
                  <a:gd name="connsiteY11" fmla="*/ 192100 h 276218"/>
                  <a:gd name="connsiteX12" fmla="*/ 24660 w 245156"/>
                  <a:gd name="connsiteY12" fmla="*/ 85507 h 2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156" h="276218">
                    <a:moveTo>
                      <a:pt x="24660" y="85507"/>
                    </a:moveTo>
                    <a:lnTo>
                      <a:pt x="4058" y="48001"/>
                    </a:lnTo>
                    <a:cubicBezTo>
                      <a:pt x="-7412" y="27136"/>
                      <a:pt x="6699" y="459"/>
                      <a:pt x="30508" y="6"/>
                    </a:cubicBezTo>
                    <a:cubicBezTo>
                      <a:pt x="36432" y="-107"/>
                      <a:pt x="42583" y="1327"/>
                      <a:pt x="48318" y="4685"/>
                    </a:cubicBezTo>
                    <a:lnTo>
                      <a:pt x="138120" y="56529"/>
                    </a:lnTo>
                    <a:lnTo>
                      <a:pt x="227922" y="108373"/>
                    </a:lnTo>
                    <a:cubicBezTo>
                      <a:pt x="250901" y="121654"/>
                      <a:pt x="250901" y="154783"/>
                      <a:pt x="227922" y="168065"/>
                    </a:cubicBezTo>
                    <a:lnTo>
                      <a:pt x="138120" y="219909"/>
                    </a:lnTo>
                    <a:lnTo>
                      <a:pt x="48318" y="271752"/>
                    </a:lnTo>
                    <a:cubicBezTo>
                      <a:pt x="47488" y="272243"/>
                      <a:pt x="46658" y="272658"/>
                      <a:pt x="45827" y="273073"/>
                    </a:cubicBezTo>
                    <a:cubicBezTo>
                      <a:pt x="17868" y="286430"/>
                      <a:pt x="-10431" y="254584"/>
                      <a:pt x="4662" y="227493"/>
                    </a:cubicBezTo>
                    <a:lnTo>
                      <a:pt x="24358" y="192100"/>
                    </a:lnTo>
                    <a:cubicBezTo>
                      <a:pt x="42809" y="158971"/>
                      <a:pt x="42922" y="118711"/>
                      <a:pt x="24660" y="85507"/>
                    </a:cubicBezTo>
                    <a:close/>
                  </a:path>
                </a:pathLst>
              </a:custGeom>
              <a:solidFill>
                <a:schemeClr val="accent1"/>
              </a:solidFill>
              <a:ln w="12700">
                <a:solidFill>
                  <a:schemeClr val="bg1"/>
                </a:solidFill>
              </a:ln>
              <a:effectLst>
                <a:outerShdw blurRad="330200" sx="102000" sy="102000" algn="ctr" rotWithShape="0">
                  <a:prstClr val="black">
                    <a:alpha val="5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3" name="Graphic 57_3">
                <a:extLst>
                  <a:ext uri="{FF2B5EF4-FFF2-40B4-BE49-F238E27FC236}">
                    <a16:creationId xmlns:a16="http://schemas.microsoft.com/office/drawing/2014/main" id="{56689F1B-B712-431A-DA11-4593B4B304CA}"/>
                  </a:ext>
                </a:extLst>
              </p:cNvPr>
              <p:cNvSpPr/>
              <p:nvPr/>
            </p:nvSpPr>
            <p:spPr>
              <a:xfrm rot="8384538" flipH="1">
                <a:off x="7807678" y="5337719"/>
                <a:ext cx="238123" cy="268286"/>
              </a:xfrm>
              <a:custGeom>
                <a:avLst/>
                <a:gdLst>
                  <a:gd name="connsiteX0" fmla="*/ 24660 w 245156"/>
                  <a:gd name="connsiteY0" fmla="*/ 85507 h 276218"/>
                  <a:gd name="connsiteX1" fmla="*/ 4058 w 245156"/>
                  <a:gd name="connsiteY1" fmla="*/ 48001 h 276218"/>
                  <a:gd name="connsiteX2" fmla="*/ 30508 w 245156"/>
                  <a:gd name="connsiteY2" fmla="*/ 6 h 276218"/>
                  <a:gd name="connsiteX3" fmla="*/ 48318 w 245156"/>
                  <a:gd name="connsiteY3" fmla="*/ 4685 h 276218"/>
                  <a:gd name="connsiteX4" fmla="*/ 138120 w 245156"/>
                  <a:gd name="connsiteY4" fmla="*/ 56529 h 276218"/>
                  <a:gd name="connsiteX5" fmla="*/ 227922 w 245156"/>
                  <a:gd name="connsiteY5" fmla="*/ 108373 h 276218"/>
                  <a:gd name="connsiteX6" fmla="*/ 227922 w 245156"/>
                  <a:gd name="connsiteY6" fmla="*/ 168065 h 276218"/>
                  <a:gd name="connsiteX7" fmla="*/ 138120 w 245156"/>
                  <a:gd name="connsiteY7" fmla="*/ 219909 h 276218"/>
                  <a:gd name="connsiteX8" fmla="*/ 48318 w 245156"/>
                  <a:gd name="connsiteY8" fmla="*/ 271752 h 276218"/>
                  <a:gd name="connsiteX9" fmla="*/ 45827 w 245156"/>
                  <a:gd name="connsiteY9" fmla="*/ 273073 h 276218"/>
                  <a:gd name="connsiteX10" fmla="*/ 4662 w 245156"/>
                  <a:gd name="connsiteY10" fmla="*/ 227493 h 276218"/>
                  <a:gd name="connsiteX11" fmla="*/ 24358 w 245156"/>
                  <a:gd name="connsiteY11" fmla="*/ 192100 h 276218"/>
                  <a:gd name="connsiteX12" fmla="*/ 24660 w 245156"/>
                  <a:gd name="connsiteY12" fmla="*/ 85507 h 2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156" h="276218">
                    <a:moveTo>
                      <a:pt x="24660" y="85507"/>
                    </a:moveTo>
                    <a:lnTo>
                      <a:pt x="4058" y="48001"/>
                    </a:lnTo>
                    <a:cubicBezTo>
                      <a:pt x="-7412" y="27136"/>
                      <a:pt x="6699" y="459"/>
                      <a:pt x="30508" y="6"/>
                    </a:cubicBezTo>
                    <a:cubicBezTo>
                      <a:pt x="36432" y="-107"/>
                      <a:pt x="42583" y="1327"/>
                      <a:pt x="48318" y="4685"/>
                    </a:cubicBezTo>
                    <a:lnTo>
                      <a:pt x="138120" y="56529"/>
                    </a:lnTo>
                    <a:lnTo>
                      <a:pt x="227922" y="108373"/>
                    </a:lnTo>
                    <a:cubicBezTo>
                      <a:pt x="250901" y="121654"/>
                      <a:pt x="250901" y="154783"/>
                      <a:pt x="227922" y="168065"/>
                    </a:cubicBezTo>
                    <a:lnTo>
                      <a:pt x="138120" y="219909"/>
                    </a:lnTo>
                    <a:lnTo>
                      <a:pt x="48318" y="271752"/>
                    </a:lnTo>
                    <a:cubicBezTo>
                      <a:pt x="47488" y="272243"/>
                      <a:pt x="46658" y="272658"/>
                      <a:pt x="45827" y="273073"/>
                    </a:cubicBezTo>
                    <a:cubicBezTo>
                      <a:pt x="17868" y="286430"/>
                      <a:pt x="-10431" y="254584"/>
                      <a:pt x="4662" y="227493"/>
                    </a:cubicBezTo>
                    <a:lnTo>
                      <a:pt x="24358" y="192100"/>
                    </a:lnTo>
                    <a:cubicBezTo>
                      <a:pt x="42809" y="158971"/>
                      <a:pt x="42922" y="118711"/>
                      <a:pt x="24660" y="85507"/>
                    </a:cubicBezTo>
                    <a:close/>
                  </a:path>
                </a:pathLst>
              </a:custGeom>
              <a:solidFill>
                <a:schemeClr val="accent1"/>
              </a:solidFill>
              <a:ln w="12700">
                <a:solidFill>
                  <a:schemeClr val="bg1"/>
                </a:solidFill>
              </a:ln>
              <a:effectLst>
                <a:outerShdw blurRad="330200" sx="102000" sy="102000" algn="ctr" rotWithShape="0">
                  <a:prstClr val="black">
                    <a:alpha val="5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grpSp>
        <p:sp>
          <p:nvSpPr>
            <p:cNvPr id="123" name="Isosceles Triangle 122">
              <a:extLst>
                <a:ext uri="{FF2B5EF4-FFF2-40B4-BE49-F238E27FC236}">
                  <a16:creationId xmlns:a16="http://schemas.microsoft.com/office/drawing/2014/main" id="{DB8E83E8-7A37-C624-0A2A-7B2FC3F22129}"/>
                </a:ext>
              </a:extLst>
            </p:cNvPr>
            <p:cNvSpPr/>
            <p:nvPr/>
          </p:nvSpPr>
          <p:spPr>
            <a:xfrm rot="5400000" flipH="1">
              <a:off x="1634267" y="2769911"/>
              <a:ext cx="2647042" cy="1305477"/>
            </a:xfrm>
            <a:prstGeom prst="triangle">
              <a:avLst/>
            </a:prstGeom>
            <a:noFill/>
            <a:ln w="9525">
              <a:solidFill>
                <a:schemeClr val="tx1">
                  <a:lumMod val="95000"/>
                  <a:alpha val="64000"/>
                </a:schemeClr>
              </a:solidFill>
              <a:prstDash val="lgDash"/>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7" name="Isosceles Triangle 116">
              <a:extLst>
                <a:ext uri="{FF2B5EF4-FFF2-40B4-BE49-F238E27FC236}">
                  <a16:creationId xmlns:a16="http://schemas.microsoft.com/office/drawing/2014/main" id="{43BAEAB2-0F92-7472-2A57-51F34E915403}"/>
                </a:ext>
              </a:extLst>
            </p:cNvPr>
            <p:cNvSpPr/>
            <p:nvPr/>
          </p:nvSpPr>
          <p:spPr>
            <a:xfrm rot="16200000">
              <a:off x="8422446" y="2043708"/>
              <a:ext cx="3075940" cy="2757883"/>
            </a:xfrm>
            <a:prstGeom prst="triangle">
              <a:avLst/>
            </a:prstGeom>
            <a:solidFill>
              <a:schemeClr val="accent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cxnSp>
          <p:nvCxnSpPr>
            <p:cNvPr id="106" name="Straight Connector 105">
              <a:extLst>
                <a:ext uri="{FF2B5EF4-FFF2-40B4-BE49-F238E27FC236}">
                  <a16:creationId xmlns:a16="http://schemas.microsoft.com/office/drawing/2014/main" id="{ED4FB679-5EFA-56EA-DE99-0F9D271132F8}"/>
                </a:ext>
              </a:extLst>
            </p:cNvPr>
            <p:cNvCxnSpPr>
              <a:cxnSpLocks/>
            </p:cNvCxnSpPr>
            <p:nvPr/>
          </p:nvCxnSpPr>
          <p:spPr>
            <a:xfrm>
              <a:off x="852644" y="3422650"/>
              <a:ext cx="10486712" cy="0"/>
            </a:xfrm>
            <a:prstGeom prst="line">
              <a:avLst/>
            </a:prstGeom>
            <a:ln w="25400" cap="rnd">
              <a:solidFill>
                <a:schemeClr val="tx1">
                  <a:alpha val="40000"/>
                </a:schemeClr>
              </a:solidFill>
            </a:ln>
          </p:spPr>
          <p:style>
            <a:lnRef idx="2">
              <a:schemeClr val="accent1"/>
            </a:lnRef>
            <a:fillRef idx="0">
              <a:schemeClr val="accent1"/>
            </a:fillRef>
            <a:effectRef idx="1">
              <a:schemeClr val="accent1"/>
            </a:effectRef>
            <a:fontRef idx="minor">
              <a:schemeClr val="tx1"/>
            </a:fontRef>
          </p:style>
        </p:cxnSp>
        <p:sp>
          <p:nvSpPr>
            <p:cNvPr id="109" name="Rectangle: Rounded Corners 108">
              <a:extLst>
                <a:ext uri="{FF2B5EF4-FFF2-40B4-BE49-F238E27FC236}">
                  <a16:creationId xmlns:a16="http://schemas.microsoft.com/office/drawing/2014/main" id="{B30FAE30-9B3D-B36D-1B5D-6A66BDE0AF26}"/>
                </a:ext>
              </a:extLst>
            </p:cNvPr>
            <p:cNvSpPr/>
            <p:nvPr/>
          </p:nvSpPr>
          <p:spPr bwMode="auto">
            <a:xfrm>
              <a:off x="3685305" y="3263900"/>
              <a:ext cx="1155391" cy="317500"/>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8575"/>
                  </a:solidFill>
                  <a:effectLst/>
                  <a:uLnTx/>
                  <a:uFillTx/>
                  <a:latin typeface="Segoe UI Semibold"/>
                  <a:ea typeface="Segoe UI" pitchFamily="34" charset="0"/>
                  <a:cs typeface="Segoe UI" pitchFamily="34" charset="0"/>
                </a:rPr>
                <a:t>Planning</a:t>
              </a:r>
            </a:p>
          </p:txBody>
        </p:sp>
        <p:sp>
          <p:nvSpPr>
            <p:cNvPr id="110" name="Rectangle: Rounded Corners 109">
              <a:extLst>
                <a:ext uri="{FF2B5EF4-FFF2-40B4-BE49-F238E27FC236}">
                  <a16:creationId xmlns:a16="http://schemas.microsoft.com/office/drawing/2014/main" id="{045F6051-315C-FC4C-8044-FCA9FA6968D6}"/>
                </a:ext>
              </a:extLst>
            </p:cNvPr>
            <p:cNvSpPr/>
            <p:nvPr/>
          </p:nvSpPr>
          <p:spPr bwMode="auto">
            <a:xfrm>
              <a:off x="4968080" y="3263900"/>
              <a:ext cx="1155391" cy="317500"/>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8575"/>
                  </a:solidFill>
                  <a:effectLst/>
                  <a:uLnTx/>
                  <a:uFillTx/>
                  <a:latin typeface="Segoe UI Semibold"/>
                  <a:ea typeface="Segoe UI" pitchFamily="34" charset="0"/>
                  <a:cs typeface="Segoe UI" pitchFamily="34" charset="0"/>
                </a:rPr>
                <a:t>Design</a:t>
              </a:r>
            </a:p>
          </p:txBody>
        </p:sp>
        <p:sp>
          <p:nvSpPr>
            <p:cNvPr id="111" name="Rectangle: Rounded Corners 110">
              <a:extLst>
                <a:ext uri="{FF2B5EF4-FFF2-40B4-BE49-F238E27FC236}">
                  <a16:creationId xmlns:a16="http://schemas.microsoft.com/office/drawing/2014/main" id="{82A3A713-3982-8860-B3AF-616B64ED32B4}"/>
                </a:ext>
              </a:extLst>
            </p:cNvPr>
            <p:cNvSpPr/>
            <p:nvPr/>
          </p:nvSpPr>
          <p:spPr bwMode="auto">
            <a:xfrm>
              <a:off x="6250855" y="3263900"/>
              <a:ext cx="1155391" cy="317500"/>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8575"/>
                  </a:solidFill>
                  <a:effectLst/>
                  <a:uLnTx/>
                  <a:uFillTx/>
                  <a:latin typeface="Segoe UI Semibold"/>
                  <a:ea typeface="Segoe UI" pitchFamily="34" charset="0"/>
                  <a:cs typeface="Segoe UI" pitchFamily="34" charset="0"/>
                </a:rPr>
                <a:t>Development</a:t>
              </a:r>
            </a:p>
          </p:txBody>
        </p:sp>
        <p:sp>
          <p:nvSpPr>
            <p:cNvPr id="112" name="Rectangle: Rounded Corners 111">
              <a:extLst>
                <a:ext uri="{FF2B5EF4-FFF2-40B4-BE49-F238E27FC236}">
                  <a16:creationId xmlns:a16="http://schemas.microsoft.com/office/drawing/2014/main" id="{17281D53-4D7A-32C6-892D-4193C595B6B1}"/>
                </a:ext>
              </a:extLst>
            </p:cNvPr>
            <p:cNvSpPr/>
            <p:nvPr/>
          </p:nvSpPr>
          <p:spPr bwMode="auto">
            <a:xfrm>
              <a:off x="7533631" y="3263900"/>
              <a:ext cx="1155391" cy="317500"/>
            </a:xfrm>
            <a:prstGeom prst="round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8575"/>
                  </a:solidFill>
                  <a:effectLst/>
                  <a:uLnTx/>
                  <a:uFillTx/>
                  <a:latin typeface="Segoe UI Semibold"/>
                  <a:ea typeface="Segoe UI" pitchFamily="34" charset="0"/>
                  <a:cs typeface="Segoe UI" pitchFamily="34" charset="0"/>
                </a:rPr>
                <a:t>Deployment</a:t>
              </a:r>
            </a:p>
          </p:txBody>
        </p:sp>
        <p:sp>
          <p:nvSpPr>
            <p:cNvPr id="114" name="TextBox 113">
              <a:extLst>
                <a:ext uri="{FF2B5EF4-FFF2-40B4-BE49-F238E27FC236}">
                  <a16:creationId xmlns:a16="http://schemas.microsoft.com/office/drawing/2014/main" id="{834A10B8-A58B-96D5-2394-5691D5BA83E1}"/>
                </a:ext>
              </a:extLst>
            </p:cNvPr>
            <p:cNvSpPr txBox="1"/>
            <p:nvPr/>
          </p:nvSpPr>
          <p:spPr>
            <a:xfrm>
              <a:off x="4061001" y="3663487"/>
              <a:ext cx="893045"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uccess Criteria</a:t>
              </a:r>
            </a:p>
          </p:txBody>
        </p:sp>
        <p:sp>
          <p:nvSpPr>
            <p:cNvPr id="115" name="TextBox 114">
              <a:extLst>
                <a:ext uri="{FF2B5EF4-FFF2-40B4-BE49-F238E27FC236}">
                  <a16:creationId xmlns:a16="http://schemas.microsoft.com/office/drawing/2014/main" id="{BE0FB4F0-1EFA-03B0-0ED1-D4A1D3900B8D}"/>
                </a:ext>
              </a:extLst>
            </p:cNvPr>
            <p:cNvSpPr txBox="1"/>
            <p:nvPr/>
          </p:nvSpPr>
          <p:spPr>
            <a:xfrm>
              <a:off x="4968080" y="3663487"/>
              <a:ext cx="1155391"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Feature enginee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rchite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ecurity/RAI</a:t>
              </a:r>
            </a:p>
          </p:txBody>
        </p:sp>
        <p:sp>
          <p:nvSpPr>
            <p:cNvPr id="116" name="TextBox 115">
              <a:extLst>
                <a:ext uri="{FF2B5EF4-FFF2-40B4-BE49-F238E27FC236}">
                  <a16:creationId xmlns:a16="http://schemas.microsoft.com/office/drawing/2014/main" id="{96C5E6CF-317B-A7F1-3AA5-FC8CDEBF3108}"/>
                </a:ext>
              </a:extLst>
            </p:cNvPr>
            <p:cNvSpPr txBox="1"/>
            <p:nvPr/>
          </p:nvSpPr>
          <p:spPr>
            <a:xfrm>
              <a:off x="6250856" y="3663487"/>
              <a:ext cx="1153910"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D/C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Tes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sp>
          <p:nvSpPr>
            <p:cNvPr id="118" name="TextBox 117">
              <a:extLst>
                <a:ext uri="{FF2B5EF4-FFF2-40B4-BE49-F238E27FC236}">
                  <a16:creationId xmlns:a16="http://schemas.microsoft.com/office/drawing/2014/main" id="{7AA11C5E-BAFA-8520-26A5-BEEADBBBC6A7}"/>
                </a:ext>
              </a:extLst>
            </p:cNvPr>
            <p:cNvSpPr txBox="1"/>
            <p:nvPr/>
          </p:nvSpPr>
          <p:spPr>
            <a:xfrm>
              <a:off x="9993043" y="2515787"/>
              <a:ext cx="1181033" cy="73866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utcom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nsight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redictio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Decisions</a:t>
              </a:r>
            </a:p>
          </p:txBody>
        </p:sp>
        <p:sp>
          <p:nvSpPr>
            <p:cNvPr id="41" name="Oval 40">
              <a:extLst>
                <a:ext uri="{FF2B5EF4-FFF2-40B4-BE49-F238E27FC236}">
                  <a16:creationId xmlns:a16="http://schemas.microsoft.com/office/drawing/2014/main" id="{1ABB8C51-20A9-3F50-0B72-29ECB349755A}"/>
                </a:ext>
              </a:extLst>
            </p:cNvPr>
            <p:cNvSpPr/>
            <p:nvPr/>
          </p:nvSpPr>
          <p:spPr>
            <a:xfrm rot="5400000">
              <a:off x="3352800" y="679450"/>
              <a:ext cx="5486400" cy="5486400"/>
            </a:xfrm>
            <a:prstGeom prst="ellipse">
              <a:avLst/>
            </a:prstGeom>
            <a:noFill/>
            <a:ln w="28575">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5" name="Graphic 57">
              <a:extLst>
                <a:ext uri="{FF2B5EF4-FFF2-40B4-BE49-F238E27FC236}">
                  <a16:creationId xmlns:a16="http://schemas.microsoft.com/office/drawing/2014/main" id="{2DBB6AA1-4886-AB0B-965C-25F462B16882}"/>
                </a:ext>
              </a:extLst>
            </p:cNvPr>
            <p:cNvSpPr/>
            <p:nvPr/>
          </p:nvSpPr>
          <p:spPr>
            <a:xfrm flipH="1">
              <a:off x="5991225" y="565809"/>
              <a:ext cx="209550" cy="236094"/>
            </a:xfrm>
            <a:custGeom>
              <a:avLst/>
              <a:gdLst>
                <a:gd name="connsiteX0" fmla="*/ 24660 w 245156"/>
                <a:gd name="connsiteY0" fmla="*/ 85507 h 276218"/>
                <a:gd name="connsiteX1" fmla="*/ 4058 w 245156"/>
                <a:gd name="connsiteY1" fmla="*/ 48001 h 276218"/>
                <a:gd name="connsiteX2" fmla="*/ 30508 w 245156"/>
                <a:gd name="connsiteY2" fmla="*/ 6 h 276218"/>
                <a:gd name="connsiteX3" fmla="*/ 48318 w 245156"/>
                <a:gd name="connsiteY3" fmla="*/ 4685 h 276218"/>
                <a:gd name="connsiteX4" fmla="*/ 138120 w 245156"/>
                <a:gd name="connsiteY4" fmla="*/ 56529 h 276218"/>
                <a:gd name="connsiteX5" fmla="*/ 227922 w 245156"/>
                <a:gd name="connsiteY5" fmla="*/ 108373 h 276218"/>
                <a:gd name="connsiteX6" fmla="*/ 227922 w 245156"/>
                <a:gd name="connsiteY6" fmla="*/ 168065 h 276218"/>
                <a:gd name="connsiteX7" fmla="*/ 138120 w 245156"/>
                <a:gd name="connsiteY7" fmla="*/ 219909 h 276218"/>
                <a:gd name="connsiteX8" fmla="*/ 48318 w 245156"/>
                <a:gd name="connsiteY8" fmla="*/ 271752 h 276218"/>
                <a:gd name="connsiteX9" fmla="*/ 45827 w 245156"/>
                <a:gd name="connsiteY9" fmla="*/ 273073 h 276218"/>
                <a:gd name="connsiteX10" fmla="*/ 4662 w 245156"/>
                <a:gd name="connsiteY10" fmla="*/ 227493 h 276218"/>
                <a:gd name="connsiteX11" fmla="*/ 24358 w 245156"/>
                <a:gd name="connsiteY11" fmla="*/ 192100 h 276218"/>
                <a:gd name="connsiteX12" fmla="*/ 24660 w 245156"/>
                <a:gd name="connsiteY12" fmla="*/ 85507 h 2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156" h="276218">
                  <a:moveTo>
                    <a:pt x="24660" y="85507"/>
                  </a:moveTo>
                  <a:lnTo>
                    <a:pt x="4058" y="48001"/>
                  </a:lnTo>
                  <a:cubicBezTo>
                    <a:pt x="-7412" y="27136"/>
                    <a:pt x="6699" y="459"/>
                    <a:pt x="30508" y="6"/>
                  </a:cubicBezTo>
                  <a:cubicBezTo>
                    <a:pt x="36432" y="-107"/>
                    <a:pt x="42583" y="1327"/>
                    <a:pt x="48318" y="4685"/>
                  </a:cubicBezTo>
                  <a:lnTo>
                    <a:pt x="138120" y="56529"/>
                  </a:lnTo>
                  <a:lnTo>
                    <a:pt x="227922" y="108373"/>
                  </a:lnTo>
                  <a:cubicBezTo>
                    <a:pt x="250901" y="121654"/>
                    <a:pt x="250901" y="154783"/>
                    <a:pt x="227922" y="168065"/>
                  </a:cubicBezTo>
                  <a:lnTo>
                    <a:pt x="138120" y="219909"/>
                  </a:lnTo>
                  <a:lnTo>
                    <a:pt x="48318" y="271752"/>
                  </a:lnTo>
                  <a:cubicBezTo>
                    <a:pt x="47488" y="272243"/>
                    <a:pt x="46658" y="272658"/>
                    <a:pt x="45827" y="273073"/>
                  </a:cubicBezTo>
                  <a:cubicBezTo>
                    <a:pt x="17868" y="286430"/>
                    <a:pt x="-10431" y="254584"/>
                    <a:pt x="4662" y="227493"/>
                  </a:cubicBezTo>
                  <a:lnTo>
                    <a:pt x="24358" y="192100"/>
                  </a:lnTo>
                  <a:cubicBezTo>
                    <a:pt x="42809" y="158971"/>
                    <a:pt x="42922" y="118711"/>
                    <a:pt x="24660" y="85507"/>
                  </a:cubicBezTo>
                  <a:close/>
                </a:path>
              </a:pathLst>
            </a:custGeom>
            <a:solidFill>
              <a:schemeClr val="accent1"/>
            </a:solidFill>
            <a:ln>
              <a:noFill/>
            </a:ln>
            <a:effectLst>
              <a:outerShdw blurRad="330200" sx="102000" sy="102000" algn="ctr" rotWithShape="0">
                <a:prstClr val="black">
                  <a:alpha val="5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26" name="Graphic 57">
              <a:extLst>
                <a:ext uri="{FF2B5EF4-FFF2-40B4-BE49-F238E27FC236}">
                  <a16:creationId xmlns:a16="http://schemas.microsoft.com/office/drawing/2014/main" id="{C07C9F65-E87F-4EFB-B839-58BF642E276F}"/>
                </a:ext>
              </a:extLst>
            </p:cNvPr>
            <p:cNvSpPr/>
            <p:nvPr/>
          </p:nvSpPr>
          <p:spPr>
            <a:xfrm rot="18880912" flipH="1">
              <a:off x="4160485" y="1254783"/>
              <a:ext cx="209552" cy="236096"/>
            </a:xfrm>
            <a:custGeom>
              <a:avLst/>
              <a:gdLst>
                <a:gd name="connsiteX0" fmla="*/ 24660 w 245156"/>
                <a:gd name="connsiteY0" fmla="*/ 85507 h 276218"/>
                <a:gd name="connsiteX1" fmla="*/ 4058 w 245156"/>
                <a:gd name="connsiteY1" fmla="*/ 48001 h 276218"/>
                <a:gd name="connsiteX2" fmla="*/ 30508 w 245156"/>
                <a:gd name="connsiteY2" fmla="*/ 6 h 276218"/>
                <a:gd name="connsiteX3" fmla="*/ 48318 w 245156"/>
                <a:gd name="connsiteY3" fmla="*/ 4685 h 276218"/>
                <a:gd name="connsiteX4" fmla="*/ 138120 w 245156"/>
                <a:gd name="connsiteY4" fmla="*/ 56529 h 276218"/>
                <a:gd name="connsiteX5" fmla="*/ 227922 w 245156"/>
                <a:gd name="connsiteY5" fmla="*/ 108373 h 276218"/>
                <a:gd name="connsiteX6" fmla="*/ 227922 w 245156"/>
                <a:gd name="connsiteY6" fmla="*/ 168065 h 276218"/>
                <a:gd name="connsiteX7" fmla="*/ 138120 w 245156"/>
                <a:gd name="connsiteY7" fmla="*/ 219909 h 276218"/>
                <a:gd name="connsiteX8" fmla="*/ 48318 w 245156"/>
                <a:gd name="connsiteY8" fmla="*/ 271752 h 276218"/>
                <a:gd name="connsiteX9" fmla="*/ 45827 w 245156"/>
                <a:gd name="connsiteY9" fmla="*/ 273073 h 276218"/>
                <a:gd name="connsiteX10" fmla="*/ 4662 w 245156"/>
                <a:gd name="connsiteY10" fmla="*/ 227493 h 276218"/>
                <a:gd name="connsiteX11" fmla="*/ 24358 w 245156"/>
                <a:gd name="connsiteY11" fmla="*/ 192100 h 276218"/>
                <a:gd name="connsiteX12" fmla="*/ 24660 w 245156"/>
                <a:gd name="connsiteY12" fmla="*/ 85507 h 2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156" h="276218">
                  <a:moveTo>
                    <a:pt x="24660" y="85507"/>
                  </a:moveTo>
                  <a:lnTo>
                    <a:pt x="4058" y="48001"/>
                  </a:lnTo>
                  <a:cubicBezTo>
                    <a:pt x="-7412" y="27136"/>
                    <a:pt x="6699" y="459"/>
                    <a:pt x="30508" y="6"/>
                  </a:cubicBezTo>
                  <a:cubicBezTo>
                    <a:pt x="36432" y="-107"/>
                    <a:pt x="42583" y="1327"/>
                    <a:pt x="48318" y="4685"/>
                  </a:cubicBezTo>
                  <a:lnTo>
                    <a:pt x="138120" y="56529"/>
                  </a:lnTo>
                  <a:lnTo>
                    <a:pt x="227922" y="108373"/>
                  </a:lnTo>
                  <a:cubicBezTo>
                    <a:pt x="250901" y="121654"/>
                    <a:pt x="250901" y="154783"/>
                    <a:pt x="227922" y="168065"/>
                  </a:cubicBezTo>
                  <a:lnTo>
                    <a:pt x="138120" y="219909"/>
                  </a:lnTo>
                  <a:lnTo>
                    <a:pt x="48318" y="271752"/>
                  </a:lnTo>
                  <a:cubicBezTo>
                    <a:pt x="47488" y="272243"/>
                    <a:pt x="46658" y="272658"/>
                    <a:pt x="45827" y="273073"/>
                  </a:cubicBezTo>
                  <a:cubicBezTo>
                    <a:pt x="17868" y="286430"/>
                    <a:pt x="-10431" y="254584"/>
                    <a:pt x="4662" y="227493"/>
                  </a:cubicBezTo>
                  <a:lnTo>
                    <a:pt x="24358" y="192100"/>
                  </a:lnTo>
                  <a:cubicBezTo>
                    <a:pt x="42809" y="158971"/>
                    <a:pt x="42922" y="118711"/>
                    <a:pt x="24660" y="85507"/>
                  </a:cubicBezTo>
                  <a:close/>
                </a:path>
              </a:pathLst>
            </a:custGeom>
            <a:solidFill>
              <a:schemeClr val="accent1"/>
            </a:solidFill>
            <a:ln>
              <a:noFill/>
            </a:ln>
            <a:effectLst>
              <a:outerShdw blurRad="330200" sx="102000" sy="102000" algn="ctr" rotWithShape="0">
                <a:prstClr val="black">
                  <a:alpha val="5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27" name="Graphic 57">
              <a:extLst>
                <a:ext uri="{FF2B5EF4-FFF2-40B4-BE49-F238E27FC236}">
                  <a16:creationId xmlns:a16="http://schemas.microsoft.com/office/drawing/2014/main" id="{126ACCFA-18B8-37F5-EC8B-A228E72E1B57}"/>
                </a:ext>
              </a:extLst>
            </p:cNvPr>
            <p:cNvSpPr/>
            <p:nvPr/>
          </p:nvSpPr>
          <p:spPr>
            <a:xfrm rot="2727595" flipH="1">
              <a:off x="7821966" y="1254786"/>
              <a:ext cx="209546" cy="236090"/>
            </a:xfrm>
            <a:custGeom>
              <a:avLst/>
              <a:gdLst>
                <a:gd name="connsiteX0" fmla="*/ 24660 w 245156"/>
                <a:gd name="connsiteY0" fmla="*/ 85507 h 276218"/>
                <a:gd name="connsiteX1" fmla="*/ 4058 w 245156"/>
                <a:gd name="connsiteY1" fmla="*/ 48001 h 276218"/>
                <a:gd name="connsiteX2" fmla="*/ 30508 w 245156"/>
                <a:gd name="connsiteY2" fmla="*/ 6 h 276218"/>
                <a:gd name="connsiteX3" fmla="*/ 48318 w 245156"/>
                <a:gd name="connsiteY3" fmla="*/ 4685 h 276218"/>
                <a:gd name="connsiteX4" fmla="*/ 138120 w 245156"/>
                <a:gd name="connsiteY4" fmla="*/ 56529 h 276218"/>
                <a:gd name="connsiteX5" fmla="*/ 227922 w 245156"/>
                <a:gd name="connsiteY5" fmla="*/ 108373 h 276218"/>
                <a:gd name="connsiteX6" fmla="*/ 227922 w 245156"/>
                <a:gd name="connsiteY6" fmla="*/ 168065 h 276218"/>
                <a:gd name="connsiteX7" fmla="*/ 138120 w 245156"/>
                <a:gd name="connsiteY7" fmla="*/ 219909 h 276218"/>
                <a:gd name="connsiteX8" fmla="*/ 48318 w 245156"/>
                <a:gd name="connsiteY8" fmla="*/ 271752 h 276218"/>
                <a:gd name="connsiteX9" fmla="*/ 45827 w 245156"/>
                <a:gd name="connsiteY9" fmla="*/ 273073 h 276218"/>
                <a:gd name="connsiteX10" fmla="*/ 4662 w 245156"/>
                <a:gd name="connsiteY10" fmla="*/ 227493 h 276218"/>
                <a:gd name="connsiteX11" fmla="*/ 24358 w 245156"/>
                <a:gd name="connsiteY11" fmla="*/ 192100 h 276218"/>
                <a:gd name="connsiteX12" fmla="*/ 24660 w 245156"/>
                <a:gd name="connsiteY12" fmla="*/ 85507 h 2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156" h="276218">
                  <a:moveTo>
                    <a:pt x="24660" y="85507"/>
                  </a:moveTo>
                  <a:lnTo>
                    <a:pt x="4058" y="48001"/>
                  </a:lnTo>
                  <a:cubicBezTo>
                    <a:pt x="-7412" y="27136"/>
                    <a:pt x="6699" y="459"/>
                    <a:pt x="30508" y="6"/>
                  </a:cubicBezTo>
                  <a:cubicBezTo>
                    <a:pt x="36432" y="-107"/>
                    <a:pt x="42583" y="1327"/>
                    <a:pt x="48318" y="4685"/>
                  </a:cubicBezTo>
                  <a:lnTo>
                    <a:pt x="138120" y="56529"/>
                  </a:lnTo>
                  <a:lnTo>
                    <a:pt x="227922" y="108373"/>
                  </a:lnTo>
                  <a:cubicBezTo>
                    <a:pt x="250901" y="121654"/>
                    <a:pt x="250901" y="154783"/>
                    <a:pt x="227922" y="168065"/>
                  </a:cubicBezTo>
                  <a:lnTo>
                    <a:pt x="138120" y="219909"/>
                  </a:lnTo>
                  <a:lnTo>
                    <a:pt x="48318" y="271752"/>
                  </a:lnTo>
                  <a:cubicBezTo>
                    <a:pt x="47488" y="272243"/>
                    <a:pt x="46658" y="272658"/>
                    <a:pt x="45827" y="273073"/>
                  </a:cubicBezTo>
                  <a:cubicBezTo>
                    <a:pt x="17868" y="286430"/>
                    <a:pt x="-10431" y="254584"/>
                    <a:pt x="4662" y="227493"/>
                  </a:cubicBezTo>
                  <a:lnTo>
                    <a:pt x="24358" y="192100"/>
                  </a:lnTo>
                  <a:cubicBezTo>
                    <a:pt x="42809" y="158971"/>
                    <a:pt x="42922" y="118711"/>
                    <a:pt x="24660" y="85507"/>
                  </a:cubicBezTo>
                  <a:close/>
                </a:path>
              </a:pathLst>
            </a:custGeom>
            <a:solidFill>
              <a:schemeClr val="accent1"/>
            </a:solidFill>
            <a:ln>
              <a:noFill/>
            </a:ln>
            <a:effectLst>
              <a:outerShdw blurRad="330200" sx="102000" sy="102000" algn="ctr" rotWithShape="0">
                <a:prstClr val="black">
                  <a:alpha val="5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45" name="TextBox 144">
              <a:extLst>
                <a:ext uri="{FF2B5EF4-FFF2-40B4-BE49-F238E27FC236}">
                  <a16:creationId xmlns:a16="http://schemas.microsoft.com/office/drawing/2014/main" id="{5CB5A4F6-99E2-C58F-870B-F6AF1D751455}"/>
                </a:ext>
              </a:extLst>
            </p:cNvPr>
            <p:cNvSpPr txBox="1"/>
            <p:nvPr/>
          </p:nvSpPr>
          <p:spPr>
            <a:xfrm>
              <a:off x="852644" y="2509889"/>
              <a:ext cx="109755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Use Case</a:t>
              </a:r>
            </a:p>
          </p:txBody>
        </p:sp>
        <p:sp>
          <p:nvSpPr>
            <p:cNvPr id="146" name="TextBox 145">
              <a:extLst>
                <a:ext uri="{FF2B5EF4-FFF2-40B4-BE49-F238E27FC236}">
                  <a16:creationId xmlns:a16="http://schemas.microsoft.com/office/drawing/2014/main" id="{1FF235FC-4098-869E-214F-BEDD13BA765F}"/>
                </a:ext>
              </a:extLst>
            </p:cNvPr>
            <p:cNvSpPr txBox="1"/>
            <p:nvPr/>
          </p:nvSpPr>
          <p:spPr>
            <a:xfrm>
              <a:off x="1030068" y="2754432"/>
              <a:ext cx="109755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Use Case</a:t>
              </a:r>
            </a:p>
          </p:txBody>
        </p:sp>
        <p:sp>
          <p:nvSpPr>
            <p:cNvPr id="147" name="TextBox 146">
              <a:extLst>
                <a:ext uri="{FF2B5EF4-FFF2-40B4-BE49-F238E27FC236}">
                  <a16:creationId xmlns:a16="http://schemas.microsoft.com/office/drawing/2014/main" id="{01C4C6A3-B1A2-A9D8-19D7-FDB355EFB149}"/>
                </a:ext>
              </a:extLst>
            </p:cNvPr>
            <p:cNvSpPr txBox="1"/>
            <p:nvPr/>
          </p:nvSpPr>
          <p:spPr>
            <a:xfrm>
              <a:off x="1207492" y="2998976"/>
              <a:ext cx="109755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Use Case</a:t>
              </a:r>
            </a:p>
          </p:txBody>
        </p:sp>
        <p:sp>
          <p:nvSpPr>
            <p:cNvPr id="150" name="TextBox 149">
              <a:extLst>
                <a:ext uri="{FF2B5EF4-FFF2-40B4-BE49-F238E27FC236}">
                  <a16:creationId xmlns:a16="http://schemas.microsoft.com/office/drawing/2014/main" id="{205261A0-6EB5-7E9F-51FC-4C3A21421ED2}"/>
                </a:ext>
              </a:extLst>
            </p:cNvPr>
            <p:cNvSpPr txBox="1"/>
            <p:nvPr/>
          </p:nvSpPr>
          <p:spPr>
            <a:xfrm>
              <a:off x="1207492" y="3674359"/>
              <a:ext cx="109755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Use Case</a:t>
              </a:r>
            </a:p>
          </p:txBody>
        </p:sp>
        <p:sp>
          <p:nvSpPr>
            <p:cNvPr id="151" name="TextBox 150">
              <a:extLst>
                <a:ext uri="{FF2B5EF4-FFF2-40B4-BE49-F238E27FC236}">
                  <a16:creationId xmlns:a16="http://schemas.microsoft.com/office/drawing/2014/main" id="{93649A32-997D-037A-A120-359AF3162CF5}"/>
                </a:ext>
              </a:extLst>
            </p:cNvPr>
            <p:cNvSpPr txBox="1"/>
            <p:nvPr/>
          </p:nvSpPr>
          <p:spPr>
            <a:xfrm>
              <a:off x="1030068" y="3918902"/>
              <a:ext cx="109755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Use Case</a:t>
              </a:r>
            </a:p>
          </p:txBody>
        </p:sp>
        <p:sp>
          <p:nvSpPr>
            <p:cNvPr id="152" name="TextBox 151">
              <a:extLst>
                <a:ext uri="{FF2B5EF4-FFF2-40B4-BE49-F238E27FC236}">
                  <a16:creationId xmlns:a16="http://schemas.microsoft.com/office/drawing/2014/main" id="{D2F45816-85DD-875A-2F7E-61683F447A6A}"/>
                </a:ext>
              </a:extLst>
            </p:cNvPr>
            <p:cNvSpPr txBox="1"/>
            <p:nvPr/>
          </p:nvSpPr>
          <p:spPr>
            <a:xfrm>
              <a:off x="852644" y="4163446"/>
              <a:ext cx="109755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Use Case</a:t>
              </a:r>
            </a:p>
          </p:txBody>
        </p:sp>
        <p:pic>
          <p:nvPicPr>
            <p:cNvPr id="3" name="Graphic 2">
              <a:extLst>
                <a:ext uri="{FF2B5EF4-FFF2-40B4-BE49-F238E27FC236}">
                  <a16:creationId xmlns:a16="http://schemas.microsoft.com/office/drawing/2014/main" id="{F3B37DFB-95C0-1009-E053-E2404AB32F8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09604" y="2738912"/>
              <a:ext cx="538384" cy="587220"/>
            </a:xfrm>
            <a:prstGeom prst="rect">
              <a:avLst/>
            </a:prstGeom>
          </p:spPr>
        </p:pic>
        <p:pic>
          <p:nvPicPr>
            <p:cNvPr id="4" name="Graphic 3">
              <a:extLst>
                <a:ext uri="{FF2B5EF4-FFF2-40B4-BE49-F238E27FC236}">
                  <a16:creationId xmlns:a16="http://schemas.microsoft.com/office/drawing/2014/main" id="{90780A9E-B185-4398-D85A-25D48A3F682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409604" y="3531869"/>
              <a:ext cx="538384" cy="587220"/>
            </a:xfrm>
            <a:prstGeom prst="rect">
              <a:avLst/>
            </a:prstGeom>
          </p:spPr>
        </p:pic>
        <p:sp>
          <p:nvSpPr>
            <p:cNvPr id="189" name="Graphic 57_2">
              <a:extLst>
                <a:ext uri="{FF2B5EF4-FFF2-40B4-BE49-F238E27FC236}">
                  <a16:creationId xmlns:a16="http://schemas.microsoft.com/office/drawing/2014/main" id="{37A0B617-9DCF-81CC-0B89-9E1AEA95130B}"/>
                </a:ext>
              </a:extLst>
            </p:cNvPr>
            <p:cNvSpPr/>
            <p:nvPr/>
          </p:nvSpPr>
          <p:spPr>
            <a:xfrm>
              <a:off x="3216067" y="3210956"/>
              <a:ext cx="284989" cy="397758"/>
            </a:xfrm>
            <a:custGeom>
              <a:avLst/>
              <a:gdLst>
                <a:gd name="connsiteX0" fmla="*/ 24660 w 245156"/>
                <a:gd name="connsiteY0" fmla="*/ 85507 h 276218"/>
                <a:gd name="connsiteX1" fmla="*/ 4058 w 245156"/>
                <a:gd name="connsiteY1" fmla="*/ 48001 h 276218"/>
                <a:gd name="connsiteX2" fmla="*/ 30508 w 245156"/>
                <a:gd name="connsiteY2" fmla="*/ 6 h 276218"/>
                <a:gd name="connsiteX3" fmla="*/ 48318 w 245156"/>
                <a:gd name="connsiteY3" fmla="*/ 4685 h 276218"/>
                <a:gd name="connsiteX4" fmla="*/ 138120 w 245156"/>
                <a:gd name="connsiteY4" fmla="*/ 56529 h 276218"/>
                <a:gd name="connsiteX5" fmla="*/ 227922 w 245156"/>
                <a:gd name="connsiteY5" fmla="*/ 108373 h 276218"/>
                <a:gd name="connsiteX6" fmla="*/ 227922 w 245156"/>
                <a:gd name="connsiteY6" fmla="*/ 168065 h 276218"/>
                <a:gd name="connsiteX7" fmla="*/ 138120 w 245156"/>
                <a:gd name="connsiteY7" fmla="*/ 219909 h 276218"/>
                <a:gd name="connsiteX8" fmla="*/ 48318 w 245156"/>
                <a:gd name="connsiteY8" fmla="*/ 271752 h 276218"/>
                <a:gd name="connsiteX9" fmla="*/ 45827 w 245156"/>
                <a:gd name="connsiteY9" fmla="*/ 273073 h 276218"/>
                <a:gd name="connsiteX10" fmla="*/ 4662 w 245156"/>
                <a:gd name="connsiteY10" fmla="*/ 227493 h 276218"/>
                <a:gd name="connsiteX11" fmla="*/ 24358 w 245156"/>
                <a:gd name="connsiteY11" fmla="*/ 192100 h 276218"/>
                <a:gd name="connsiteX12" fmla="*/ 24660 w 245156"/>
                <a:gd name="connsiteY12" fmla="*/ 85507 h 2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156" h="276218">
                  <a:moveTo>
                    <a:pt x="24660" y="85507"/>
                  </a:moveTo>
                  <a:lnTo>
                    <a:pt x="4058" y="48001"/>
                  </a:lnTo>
                  <a:cubicBezTo>
                    <a:pt x="-7412" y="27136"/>
                    <a:pt x="6699" y="459"/>
                    <a:pt x="30508" y="6"/>
                  </a:cubicBezTo>
                  <a:cubicBezTo>
                    <a:pt x="36432" y="-107"/>
                    <a:pt x="42583" y="1327"/>
                    <a:pt x="48318" y="4685"/>
                  </a:cubicBezTo>
                  <a:lnTo>
                    <a:pt x="138120" y="56529"/>
                  </a:lnTo>
                  <a:lnTo>
                    <a:pt x="227922" y="108373"/>
                  </a:lnTo>
                  <a:cubicBezTo>
                    <a:pt x="250901" y="121654"/>
                    <a:pt x="250901" y="154783"/>
                    <a:pt x="227922" y="168065"/>
                  </a:cubicBezTo>
                  <a:lnTo>
                    <a:pt x="138120" y="219909"/>
                  </a:lnTo>
                  <a:lnTo>
                    <a:pt x="48318" y="271752"/>
                  </a:lnTo>
                  <a:cubicBezTo>
                    <a:pt x="47488" y="272243"/>
                    <a:pt x="46658" y="272658"/>
                    <a:pt x="45827" y="273073"/>
                  </a:cubicBezTo>
                  <a:cubicBezTo>
                    <a:pt x="17868" y="286430"/>
                    <a:pt x="-10431" y="254584"/>
                    <a:pt x="4662" y="227493"/>
                  </a:cubicBezTo>
                  <a:lnTo>
                    <a:pt x="24358" y="192100"/>
                  </a:lnTo>
                  <a:cubicBezTo>
                    <a:pt x="42809" y="158971"/>
                    <a:pt x="42922" y="118711"/>
                    <a:pt x="24660" y="85507"/>
                  </a:cubicBezTo>
                  <a:close/>
                </a:path>
              </a:pathLst>
            </a:custGeom>
            <a:solidFill>
              <a:schemeClr val="accent1"/>
            </a:solidFill>
            <a:ln w="12700">
              <a:noFill/>
            </a:ln>
            <a:effectLst>
              <a:outerShdw blurRad="330200" sx="102000" sy="102000" algn="ctr" rotWithShape="0">
                <a:prstClr val="black">
                  <a:alpha val="5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32" name="Graphic 57">
              <a:extLst>
                <a:ext uri="{FF2B5EF4-FFF2-40B4-BE49-F238E27FC236}">
                  <a16:creationId xmlns:a16="http://schemas.microsoft.com/office/drawing/2014/main" id="{22FE5DC0-3975-2DF2-62B8-E3CAA1D68791}"/>
                </a:ext>
              </a:extLst>
            </p:cNvPr>
            <p:cNvSpPr/>
            <p:nvPr/>
          </p:nvSpPr>
          <p:spPr>
            <a:xfrm rot="18880912" flipV="1">
              <a:off x="7821963" y="5353814"/>
              <a:ext cx="209552" cy="236096"/>
            </a:xfrm>
            <a:custGeom>
              <a:avLst/>
              <a:gdLst>
                <a:gd name="connsiteX0" fmla="*/ 24660 w 245156"/>
                <a:gd name="connsiteY0" fmla="*/ 85507 h 276218"/>
                <a:gd name="connsiteX1" fmla="*/ 4058 w 245156"/>
                <a:gd name="connsiteY1" fmla="*/ 48001 h 276218"/>
                <a:gd name="connsiteX2" fmla="*/ 30508 w 245156"/>
                <a:gd name="connsiteY2" fmla="*/ 6 h 276218"/>
                <a:gd name="connsiteX3" fmla="*/ 48318 w 245156"/>
                <a:gd name="connsiteY3" fmla="*/ 4685 h 276218"/>
                <a:gd name="connsiteX4" fmla="*/ 138120 w 245156"/>
                <a:gd name="connsiteY4" fmla="*/ 56529 h 276218"/>
                <a:gd name="connsiteX5" fmla="*/ 227922 w 245156"/>
                <a:gd name="connsiteY5" fmla="*/ 108373 h 276218"/>
                <a:gd name="connsiteX6" fmla="*/ 227922 w 245156"/>
                <a:gd name="connsiteY6" fmla="*/ 168065 h 276218"/>
                <a:gd name="connsiteX7" fmla="*/ 138120 w 245156"/>
                <a:gd name="connsiteY7" fmla="*/ 219909 h 276218"/>
                <a:gd name="connsiteX8" fmla="*/ 48318 w 245156"/>
                <a:gd name="connsiteY8" fmla="*/ 271752 h 276218"/>
                <a:gd name="connsiteX9" fmla="*/ 45827 w 245156"/>
                <a:gd name="connsiteY9" fmla="*/ 273073 h 276218"/>
                <a:gd name="connsiteX10" fmla="*/ 4662 w 245156"/>
                <a:gd name="connsiteY10" fmla="*/ 227493 h 276218"/>
                <a:gd name="connsiteX11" fmla="*/ 24358 w 245156"/>
                <a:gd name="connsiteY11" fmla="*/ 192100 h 276218"/>
                <a:gd name="connsiteX12" fmla="*/ 24660 w 245156"/>
                <a:gd name="connsiteY12" fmla="*/ 85507 h 2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156" h="276218">
                  <a:moveTo>
                    <a:pt x="24660" y="85507"/>
                  </a:moveTo>
                  <a:lnTo>
                    <a:pt x="4058" y="48001"/>
                  </a:lnTo>
                  <a:cubicBezTo>
                    <a:pt x="-7412" y="27136"/>
                    <a:pt x="6699" y="459"/>
                    <a:pt x="30508" y="6"/>
                  </a:cubicBezTo>
                  <a:cubicBezTo>
                    <a:pt x="36432" y="-107"/>
                    <a:pt x="42583" y="1327"/>
                    <a:pt x="48318" y="4685"/>
                  </a:cubicBezTo>
                  <a:lnTo>
                    <a:pt x="138120" y="56529"/>
                  </a:lnTo>
                  <a:lnTo>
                    <a:pt x="227922" y="108373"/>
                  </a:lnTo>
                  <a:cubicBezTo>
                    <a:pt x="250901" y="121654"/>
                    <a:pt x="250901" y="154783"/>
                    <a:pt x="227922" y="168065"/>
                  </a:cubicBezTo>
                  <a:lnTo>
                    <a:pt x="138120" y="219909"/>
                  </a:lnTo>
                  <a:lnTo>
                    <a:pt x="48318" y="271752"/>
                  </a:lnTo>
                  <a:cubicBezTo>
                    <a:pt x="47488" y="272243"/>
                    <a:pt x="46658" y="272658"/>
                    <a:pt x="45827" y="273073"/>
                  </a:cubicBezTo>
                  <a:cubicBezTo>
                    <a:pt x="17868" y="286430"/>
                    <a:pt x="-10431" y="254584"/>
                    <a:pt x="4662" y="227493"/>
                  </a:cubicBezTo>
                  <a:lnTo>
                    <a:pt x="24358" y="192100"/>
                  </a:lnTo>
                  <a:cubicBezTo>
                    <a:pt x="42809" y="158971"/>
                    <a:pt x="42922" y="118711"/>
                    <a:pt x="24660" y="85507"/>
                  </a:cubicBezTo>
                  <a:close/>
                </a:path>
              </a:pathLst>
            </a:custGeom>
            <a:solidFill>
              <a:schemeClr val="accent1"/>
            </a:solidFill>
            <a:ln>
              <a:noFill/>
            </a:ln>
            <a:effectLst>
              <a:outerShdw blurRad="330200" sx="102000" sy="102000" algn="ctr" rotWithShape="0">
                <a:prstClr val="black">
                  <a:alpha val="5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31" name="Graphic 57">
              <a:extLst>
                <a:ext uri="{FF2B5EF4-FFF2-40B4-BE49-F238E27FC236}">
                  <a16:creationId xmlns:a16="http://schemas.microsoft.com/office/drawing/2014/main" id="{4DED425A-741C-9DB4-487F-42B8E2557A87}"/>
                </a:ext>
              </a:extLst>
            </p:cNvPr>
            <p:cNvSpPr/>
            <p:nvPr/>
          </p:nvSpPr>
          <p:spPr>
            <a:xfrm flipV="1">
              <a:off x="5991225" y="6042790"/>
              <a:ext cx="209550" cy="236094"/>
            </a:xfrm>
            <a:custGeom>
              <a:avLst/>
              <a:gdLst>
                <a:gd name="connsiteX0" fmla="*/ 24660 w 245156"/>
                <a:gd name="connsiteY0" fmla="*/ 85507 h 276218"/>
                <a:gd name="connsiteX1" fmla="*/ 4058 w 245156"/>
                <a:gd name="connsiteY1" fmla="*/ 48001 h 276218"/>
                <a:gd name="connsiteX2" fmla="*/ 30508 w 245156"/>
                <a:gd name="connsiteY2" fmla="*/ 6 h 276218"/>
                <a:gd name="connsiteX3" fmla="*/ 48318 w 245156"/>
                <a:gd name="connsiteY3" fmla="*/ 4685 h 276218"/>
                <a:gd name="connsiteX4" fmla="*/ 138120 w 245156"/>
                <a:gd name="connsiteY4" fmla="*/ 56529 h 276218"/>
                <a:gd name="connsiteX5" fmla="*/ 227922 w 245156"/>
                <a:gd name="connsiteY5" fmla="*/ 108373 h 276218"/>
                <a:gd name="connsiteX6" fmla="*/ 227922 w 245156"/>
                <a:gd name="connsiteY6" fmla="*/ 168065 h 276218"/>
                <a:gd name="connsiteX7" fmla="*/ 138120 w 245156"/>
                <a:gd name="connsiteY7" fmla="*/ 219909 h 276218"/>
                <a:gd name="connsiteX8" fmla="*/ 48318 w 245156"/>
                <a:gd name="connsiteY8" fmla="*/ 271752 h 276218"/>
                <a:gd name="connsiteX9" fmla="*/ 45827 w 245156"/>
                <a:gd name="connsiteY9" fmla="*/ 273073 h 276218"/>
                <a:gd name="connsiteX10" fmla="*/ 4662 w 245156"/>
                <a:gd name="connsiteY10" fmla="*/ 227493 h 276218"/>
                <a:gd name="connsiteX11" fmla="*/ 24358 w 245156"/>
                <a:gd name="connsiteY11" fmla="*/ 192100 h 276218"/>
                <a:gd name="connsiteX12" fmla="*/ 24660 w 245156"/>
                <a:gd name="connsiteY12" fmla="*/ 85507 h 2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156" h="276218">
                  <a:moveTo>
                    <a:pt x="24660" y="85507"/>
                  </a:moveTo>
                  <a:lnTo>
                    <a:pt x="4058" y="48001"/>
                  </a:lnTo>
                  <a:cubicBezTo>
                    <a:pt x="-7412" y="27136"/>
                    <a:pt x="6699" y="459"/>
                    <a:pt x="30508" y="6"/>
                  </a:cubicBezTo>
                  <a:cubicBezTo>
                    <a:pt x="36432" y="-107"/>
                    <a:pt x="42583" y="1327"/>
                    <a:pt x="48318" y="4685"/>
                  </a:cubicBezTo>
                  <a:lnTo>
                    <a:pt x="138120" y="56529"/>
                  </a:lnTo>
                  <a:lnTo>
                    <a:pt x="227922" y="108373"/>
                  </a:lnTo>
                  <a:cubicBezTo>
                    <a:pt x="250901" y="121654"/>
                    <a:pt x="250901" y="154783"/>
                    <a:pt x="227922" y="168065"/>
                  </a:cubicBezTo>
                  <a:lnTo>
                    <a:pt x="138120" y="219909"/>
                  </a:lnTo>
                  <a:lnTo>
                    <a:pt x="48318" y="271752"/>
                  </a:lnTo>
                  <a:cubicBezTo>
                    <a:pt x="47488" y="272243"/>
                    <a:pt x="46658" y="272658"/>
                    <a:pt x="45827" y="273073"/>
                  </a:cubicBezTo>
                  <a:cubicBezTo>
                    <a:pt x="17868" y="286430"/>
                    <a:pt x="-10431" y="254584"/>
                    <a:pt x="4662" y="227493"/>
                  </a:cubicBezTo>
                  <a:lnTo>
                    <a:pt x="24358" y="192100"/>
                  </a:lnTo>
                  <a:cubicBezTo>
                    <a:pt x="42809" y="158971"/>
                    <a:pt x="42922" y="118711"/>
                    <a:pt x="24660" y="85507"/>
                  </a:cubicBezTo>
                  <a:close/>
                </a:path>
              </a:pathLst>
            </a:custGeom>
            <a:solidFill>
              <a:schemeClr val="accent1"/>
            </a:solidFill>
            <a:ln>
              <a:noFill/>
            </a:ln>
            <a:effectLst>
              <a:outerShdw blurRad="330200" sx="102000" sy="102000" algn="ctr" rotWithShape="0">
                <a:prstClr val="black">
                  <a:alpha val="5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33" name="Graphic 57">
              <a:extLst>
                <a:ext uri="{FF2B5EF4-FFF2-40B4-BE49-F238E27FC236}">
                  <a16:creationId xmlns:a16="http://schemas.microsoft.com/office/drawing/2014/main" id="{31B6427B-F834-6AB6-A2F1-9300B62C02C3}"/>
                </a:ext>
              </a:extLst>
            </p:cNvPr>
            <p:cNvSpPr/>
            <p:nvPr/>
          </p:nvSpPr>
          <p:spPr>
            <a:xfrm rot="2727595" flipV="1">
              <a:off x="4160488" y="5353817"/>
              <a:ext cx="209546" cy="236090"/>
            </a:xfrm>
            <a:custGeom>
              <a:avLst/>
              <a:gdLst>
                <a:gd name="connsiteX0" fmla="*/ 24660 w 245156"/>
                <a:gd name="connsiteY0" fmla="*/ 85507 h 276218"/>
                <a:gd name="connsiteX1" fmla="*/ 4058 w 245156"/>
                <a:gd name="connsiteY1" fmla="*/ 48001 h 276218"/>
                <a:gd name="connsiteX2" fmla="*/ 30508 w 245156"/>
                <a:gd name="connsiteY2" fmla="*/ 6 h 276218"/>
                <a:gd name="connsiteX3" fmla="*/ 48318 w 245156"/>
                <a:gd name="connsiteY3" fmla="*/ 4685 h 276218"/>
                <a:gd name="connsiteX4" fmla="*/ 138120 w 245156"/>
                <a:gd name="connsiteY4" fmla="*/ 56529 h 276218"/>
                <a:gd name="connsiteX5" fmla="*/ 227922 w 245156"/>
                <a:gd name="connsiteY5" fmla="*/ 108373 h 276218"/>
                <a:gd name="connsiteX6" fmla="*/ 227922 w 245156"/>
                <a:gd name="connsiteY6" fmla="*/ 168065 h 276218"/>
                <a:gd name="connsiteX7" fmla="*/ 138120 w 245156"/>
                <a:gd name="connsiteY7" fmla="*/ 219909 h 276218"/>
                <a:gd name="connsiteX8" fmla="*/ 48318 w 245156"/>
                <a:gd name="connsiteY8" fmla="*/ 271752 h 276218"/>
                <a:gd name="connsiteX9" fmla="*/ 45827 w 245156"/>
                <a:gd name="connsiteY9" fmla="*/ 273073 h 276218"/>
                <a:gd name="connsiteX10" fmla="*/ 4662 w 245156"/>
                <a:gd name="connsiteY10" fmla="*/ 227493 h 276218"/>
                <a:gd name="connsiteX11" fmla="*/ 24358 w 245156"/>
                <a:gd name="connsiteY11" fmla="*/ 192100 h 276218"/>
                <a:gd name="connsiteX12" fmla="*/ 24660 w 245156"/>
                <a:gd name="connsiteY12" fmla="*/ 85507 h 2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156" h="276218">
                  <a:moveTo>
                    <a:pt x="24660" y="85507"/>
                  </a:moveTo>
                  <a:lnTo>
                    <a:pt x="4058" y="48001"/>
                  </a:lnTo>
                  <a:cubicBezTo>
                    <a:pt x="-7412" y="27136"/>
                    <a:pt x="6699" y="459"/>
                    <a:pt x="30508" y="6"/>
                  </a:cubicBezTo>
                  <a:cubicBezTo>
                    <a:pt x="36432" y="-107"/>
                    <a:pt x="42583" y="1327"/>
                    <a:pt x="48318" y="4685"/>
                  </a:cubicBezTo>
                  <a:lnTo>
                    <a:pt x="138120" y="56529"/>
                  </a:lnTo>
                  <a:lnTo>
                    <a:pt x="227922" y="108373"/>
                  </a:lnTo>
                  <a:cubicBezTo>
                    <a:pt x="250901" y="121654"/>
                    <a:pt x="250901" y="154783"/>
                    <a:pt x="227922" y="168065"/>
                  </a:cubicBezTo>
                  <a:lnTo>
                    <a:pt x="138120" y="219909"/>
                  </a:lnTo>
                  <a:lnTo>
                    <a:pt x="48318" y="271752"/>
                  </a:lnTo>
                  <a:cubicBezTo>
                    <a:pt x="47488" y="272243"/>
                    <a:pt x="46658" y="272658"/>
                    <a:pt x="45827" y="273073"/>
                  </a:cubicBezTo>
                  <a:cubicBezTo>
                    <a:pt x="17868" y="286430"/>
                    <a:pt x="-10431" y="254584"/>
                    <a:pt x="4662" y="227493"/>
                  </a:cubicBezTo>
                  <a:lnTo>
                    <a:pt x="24358" y="192100"/>
                  </a:lnTo>
                  <a:cubicBezTo>
                    <a:pt x="42809" y="158971"/>
                    <a:pt x="42922" y="118711"/>
                    <a:pt x="24660" y="85507"/>
                  </a:cubicBezTo>
                  <a:close/>
                </a:path>
              </a:pathLst>
            </a:custGeom>
            <a:solidFill>
              <a:schemeClr val="accent1"/>
            </a:solidFill>
            <a:ln>
              <a:noFill/>
            </a:ln>
            <a:effectLst>
              <a:outerShdw blurRad="330200" sx="102000" sy="102000" algn="ctr" rotWithShape="0">
                <a:prstClr val="black">
                  <a:alpha val="5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190" name="TextBox 189">
              <a:extLst>
                <a:ext uri="{FF2B5EF4-FFF2-40B4-BE49-F238E27FC236}">
                  <a16:creationId xmlns:a16="http://schemas.microsoft.com/office/drawing/2014/main" id="{B809FFF2-EB8E-AAA5-2FE5-C7C5B6B643FD}"/>
                </a:ext>
              </a:extLst>
            </p:cNvPr>
            <p:cNvSpPr txBox="1"/>
            <p:nvPr/>
          </p:nvSpPr>
          <p:spPr>
            <a:xfrm>
              <a:off x="8859567" y="937614"/>
              <a:ext cx="2314509" cy="83099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Operating Mod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Perform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0E6FF"/>
                  </a:solidFill>
                  <a:effectLst/>
                  <a:uLnTx/>
                  <a:uFillTx/>
                  <a:latin typeface="Segoe UI Semibold"/>
                  <a:ea typeface="+mn-ea"/>
                  <a:cs typeface="Segoe UI" panose="020B0502040204020203" pitchFamily="34" charset="0"/>
                </a:rPr>
                <a:t>Monitoring Reporting</a:t>
              </a:r>
            </a:p>
          </p:txBody>
        </p:sp>
        <p:sp>
          <p:nvSpPr>
            <p:cNvPr id="191" name="TextBox 190">
              <a:extLst>
                <a:ext uri="{FF2B5EF4-FFF2-40B4-BE49-F238E27FC236}">
                  <a16:creationId xmlns:a16="http://schemas.microsoft.com/office/drawing/2014/main" id="{76C2231F-F6C2-DFCC-7184-27B6AA5CE22B}"/>
                </a:ext>
              </a:extLst>
            </p:cNvPr>
            <p:cNvSpPr txBox="1"/>
            <p:nvPr/>
          </p:nvSpPr>
          <p:spPr>
            <a:xfrm>
              <a:off x="8859567" y="5401241"/>
              <a:ext cx="1826292" cy="276999"/>
            </a:xfrm>
            <a:prstGeom prst="rect">
              <a:avLst/>
            </a:prstGeom>
            <a:noFill/>
          </p:spPr>
          <p:txBody>
            <a:bodyPr wrap="square" lIns="0" tIns="0" rIns="0" bIns="0" rtlCol="0" anchor="ctr">
              <a:spAutoFit/>
            </a:bodyPr>
            <a:lstStyle>
              <a:defPPr>
                <a:defRPr lang="en-US"/>
              </a:defPPr>
              <a:lvl1pPr marR="0" lvl="0" indent="0" fontAlgn="auto">
                <a:lnSpc>
                  <a:spcPct val="100000"/>
                </a:lnSpc>
                <a:spcBef>
                  <a:spcPts val="0"/>
                </a:spcBef>
                <a:spcAft>
                  <a:spcPts val="0"/>
                </a:spcAft>
                <a:buClrTx/>
                <a:buSzTx/>
                <a:buFontTx/>
                <a:buNone/>
                <a:tabLst/>
                <a:defRPr kumimoji="0" sz="1600" i="0" u="none" strike="noStrike" cap="none" spc="0" normalizeH="0" baseline="0">
                  <a:ln>
                    <a:noFill/>
                  </a:ln>
                  <a:solidFill>
                    <a:schemeClr val="accent1"/>
                  </a:solidFill>
                  <a:effectLst/>
                  <a:uLnTx/>
                  <a:uFillTx/>
                  <a:latin typeface="+mj-lt"/>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575"/>
                  </a:solidFill>
                  <a:effectLst/>
                  <a:uLnTx/>
                  <a:uFillTx/>
                  <a:latin typeface="Segoe UI Semibold"/>
                  <a:ea typeface="+mn-ea"/>
                  <a:cs typeface="Segoe UI" panose="020B0502040204020203" pitchFamily="34" charset="0"/>
                </a:rPr>
                <a:t>Product Scope</a:t>
              </a:r>
            </a:p>
          </p:txBody>
        </p:sp>
        <p:sp>
          <p:nvSpPr>
            <p:cNvPr id="192" name="TextBox 191">
              <a:extLst>
                <a:ext uri="{FF2B5EF4-FFF2-40B4-BE49-F238E27FC236}">
                  <a16:creationId xmlns:a16="http://schemas.microsoft.com/office/drawing/2014/main" id="{9D913A74-8B0E-E8F7-BB3D-E31D843A0834}"/>
                </a:ext>
              </a:extLst>
            </p:cNvPr>
            <p:cNvSpPr txBox="1"/>
            <p:nvPr/>
          </p:nvSpPr>
          <p:spPr>
            <a:xfrm>
              <a:off x="1071411" y="1214612"/>
              <a:ext cx="2314509" cy="276999"/>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Experimentation</a:t>
              </a:r>
            </a:p>
          </p:txBody>
        </p:sp>
        <p:sp>
          <p:nvSpPr>
            <p:cNvPr id="193" name="TextBox 192">
              <a:extLst>
                <a:ext uri="{FF2B5EF4-FFF2-40B4-BE49-F238E27FC236}">
                  <a16:creationId xmlns:a16="http://schemas.microsoft.com/office/drawing/2014/main" id="{F75B523B-7C34-EB0A-E28B-A3D7DE3EBB94}"/>
                </a:ext>
              </a:extLst>
            </p:cNvPr>
            <p:cNvSpPr txBox="1"/>
            <p:nvPr/>
          </p:nvSpPr>
          <p:spPr>
            <a:xfrm>
              <a:off x="1371600" y="5124243"/>
              <a:ext cx="2014320" cy="830997"/>
            </a:xfrm>
            <a:prstGeom prst="rect">
              <a:avLst/>
            </a:prstGeom>
            <a:noFill/>
          </p:spPr>
          <p:txBody>
            <a:bodyPr wrap="square" lIns="0" tIns="0" rIns="0" bIns="0" rtlCol="0" anchor="ctr">
              <a:spAutoFit/>
            </a:bodyPr>
            <a:lstStyle>
              <a:defPPr>
                <a:defRPr lang="en-US"/>
              </a:defPPr>
              <a:lvl1pPr marR="0" lvl="0" indent="0" fontAlgn="auto">
                <a:lnSpc>
                  <a:spcPct val="100000"/>
                </a:lnSpc>
                <a:spcBef>
                  <a:spcPts val="0"/>
                </a:spcBef>
                <a:spcAft>
                  <a:spcPts val="0"/>
                </a:spcAft>
                <a:buClrTx/>
                <a:buSzTx/>
                <a:buFontTx/>
                <a:buNone/>
                <a:tabLst/>
                <a:defRPr kumimoji="0" sz="1600" i="0" u="none" strike="noStrike" cap="none" spc="0" normalizeH="0" baseline="0">
                  <a:ln>
                    <a:noFill/>
                  </a:ln>
                  <a:solidFill>
                    <a:schemeClr val="accent1"/>
                  </a:solidFill>
                  <a:effectLst/>
                  <a:uLnTx/>
                  <a:uFillTx/>
                  <a:latin typeface="+mj-lt"/>
                  <a:cs typeface="Segoe UI" panose="020B0502040204020203"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lumMod val="60000"/>
                      <a:lumOff val="40000"/>
                    </a:srgbClr>
                  </a:solidFill>
                  <a:effectLst/>
                  <a:uLnTx/>
                  <a:uFillTx/>
                  <a:latin typeface="Segoe UI Semibold"/>
                  <a:ea typeface="+mn-ea"/>
                  <a:cs typeface="Segoe UI" panose="020B0502040204020203" pitchFamily="34" charset="0"/>
                </a:rPr>
                <a:t>Platfor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lumMod val="60000"/>
                      <a:lumOff val="40000"/>
                    </a:srgbClr>
                  </a:solidFill>
                  <a:effectLst/>
                  <a:uLnTx/>
                  <a:uFillTx/>
                  <a:latin typeface="Segoe UI Semibold"/>
                  <a:ea typeface="+mn-ea"/>
                  <a:cs typeface="Segoe UI" panose="020B0502040204020203" pitchFamily="34" charset="0"/>
                </a:rPr>
                <a:t>LOB Data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lumMod val="60000"/>
                      <a:lumOff val="40000"/>
                    </a:srgbClr>
                  </a:solidFill>
                  <a:effectLst/>
                  <a:uLnTx/>
                  <a:uFillTx/>
                  <a:latin typeface="Segoe UI Semibold"/>
                  <a:ea typeface="+mn-ea"/>
                  <a:cs typeface="Segoe UI" panose="020B0502040204020203" pitchFamily="34" charset="0"/>
                </a:rPr>
                <a:t>Security </a:t>
              </a:r>
            </a:p>
          </p:txBody>
        </p:sp>
      </p:grpSp>
    </p:spTree>
    <p:extLst>
      <p:ext uri="{BB962C8B-B14F-4D97-AF65-F5344CB8AC3E}">
        <p14:creationId xmlns:p14="http://schemas.microsoft.com/office/powerpoint/2010/main" val="1293728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A561AB-8D0F-B7DA-5128-3E8696BA2529}"/>
              </a:ext>
            </a:extLst>
          </p:cNvPr>
          <p:cNvSpPr>
            <a:spLocks noGrp="1"/>
          </p:cNvSpPr>
          <p:nvPr>
            <p:ph type="title"/>
          </p:nvPr>
        </p:nvSpPr>
        <p:spPr/>
        <p:txBody>
          <a:bodyPr/>
          <a:lstStyle/>
          <a:p>
            <a:r>
              <a:rPr lang="en-US"/>
              <a:t>Microsoft AI Value Accelerator – Making it real</a:t>
            </a:r>
          </a:p>
        </p:txBody>
      </p:sp>
      <p:sp>
        <p:nvSpPr>
          <p:cNvPr id="3" name="Rectangle 2">
            <a:extLst>
              <a:ext uri="{FF2B5EF4-FFF2-40B4-BE49-F238E27FC236}">
                <a16:creationId xmlns:a16="http://schemas.microsoft.com/office/drawing/2014/main" id="{FCC75FB9-A176-A005-01CC-C4B5552DDBB5}"/>
              </a:ext>
            </a:extLst>
          </p:cNvPr>
          <p:cNvSpPr/>
          <p:nvPr/>
        </p:nvSpPr>
        <p:spPr bwMode="auto">
          <a:xfrm>
            <a:off x="0" y="1087718"/>
            <a:ext cx="12192000" cy="564178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4A6DD9D5-A3C9-B007-9C2D-A3EEE0EFCEED}"/>
              </a:ext>
            </a:extLst>
          </p:cNvPr>
          <p:cNvSpPr/>
          <p:nvPr/>
        </p:nvSpPr>
        <p:spPr>
          <a:xfrm>
            <a:off x="165317" y="1913420"/>
            <a:ext cx="1305627" cy="4137816"/>
          </a:xfrm>
          <a:prstGeom prst="rect">
            <a:avLst/>
          </a:prstGeom>
          <a:gradFill flip="none" rotWithShape="1">
            <a:gsLst>
              <a:gs pos="0">
                <a:schemeClr val="accent1">
                  <a:lumMod val="5000"/>
                  <a:lumOff val="95000"/>
                </a:schemeClr>
              </a:gs>
              <a:gs pos="59000">
                <a:schemeClr val="accent2">
                  <a:lumMod val="20000"/>
                  <a:lumOff val="80000"/>
                </a:schemeClr>
              </a:gs>
              <a:gs pos="100000">
                <a:schemeClr val="accent2">
                  <a:lumMod val="40000"/>
                  <a:lumOff val="60000"/>
                </a:schemeClr>
              </a:gs>
            </a:gsLst>
            <a:lin ang="0" scaled="1"/>
            <a:tileRect/>
          </a:gradFill>
          <a:ln w="6350" cap="flat" cmpd="sng" algn="ctr">
            <a:solidFill>
              <a:srgbClr val="353535"/>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353535"/>
                </a:solidFill>
                <a:effectLst/>
                <a:uLnTx/>
                <a:uFillTx/>
                <a:latin typeface="Segoe UI Semilight"/>
                <a:ea typeface="+mn-ea"/>
                <a:cs typeface="Arial" panose="020B0604020202020204" pitchFamily="34" charset="0"/>
              </a:rPr>
              <a:t>Business Strategy</a:t>
            </a:r>
            <a:r>
              <a:rPr kumimoji="0" lang="en-US" sz="1000" b="1" i="0" u="none" strike="noStrike" kern="0" cap="none" spc="0" normalizeH="0" baseline="0" noProof="0" dirty="0">
                <a:ln>
                  <a:noFill/>
                </a:ln>
                <a:solidFill>
                  <a:srgbClr val="353535"/>
                </a:solidFill>
                <a:effectLst/>
                <a:uLnTx/>
                <a:uFillTx/>
                <a:latin typeface="Segoe UI Semilight"/>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353535"/>
              </a:solidFill>
              <a:effectLst/>
              <a:uLnTx/>
              <a:uFillTx/>
              <a:latin typeface="Segoe UI Semilight"/>
              <a:ea typeface="+mn-ea"/>
              <a:cs typeface="Arial" panose="020B0604020202020204" pitchFamily="34" charset="0"/>
            </a:endParaRP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353535"/>
                </a:solidFill>
                <a:effectLst/>
                <a:uLnTx/>
                <a:uFillTx/>
                <a:latin typeface="Segoe UI Semilight"/>
                <a:ea typeface="+mn-ea"/>
                <a:cs typeface="Arial" panose="020B0604020202020204" pitchFamily="34" charset="0"/>
              </a:rPr>
              <a:t>Transformation Ambition</a:t>
            </a: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dirty="0">
              <a:ln>
                <a:noFill/>
              </a:ln>
              <a:solidFill>
                <a:srgbClr val="353535"/>
              </a:solidFill>
              <a:effectLst/>
              <a:uLnTx/>
              <a:uFillTx/>
              <a:latin typeface="Segoe UI Semilight"/>
              <a:ea typeface="+mn-ea"/>
              <a:cs typeface="Arial" panose="020B0604020202020204" pitchFamily="34" charset="0"/>
            </a:endParaRP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353535"/>
                </a:solidFill>
                <a:effectLst/>
                <a:uLnTx/>
                <a:uFillTx/>
                <a:latin typeface="Segoe UI Semilight"/>
                <a:ea typeface="+mn-ea"/>
                <a:cs typeface="Arial" panose="020B0604020202020204" pitchFamily="34" charset="0"/>
              </a:rPr>
              <a:t>Operating Model to Scale AI</a:t>
            </a: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dirty="0">
              <a:ln>
                <a:noFill/>
              </a:ln>
              <a:solidFill>
                <a:srgbClr val="353535"/>
              </a:solidFill>
              <a:effectLst/>
              <a:uLnTx/>
              <a:uFillTx/>
              <a:latin typeface="Segoe UI Semilight"/>
              <a:ea typeface="+mn-ea"/>
              <a:cs typeface="Arial" panose="020B0604020202020204" pitchFamily="34" charset="0"/>
            </a:endParaRP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353535"/>
                </a:solidFill>
                <a:effectLst/>
                <a:uLnTx/>
                <a:uFillTx/>
                <a:latin typeface="Segoe UI Semilight"/>
                <a:ea typeface="+mn-ea"/>
                <a:cs typeface="Arial" panose="020B0604020202020204" pitchFamily="34" charset="0"/>
              </a:rPr>
              <a:t>Responsible AI</a:t>
            </a: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dirty="0">
              <a:ln>
                <a:noFill/>
              </a:ln>
              <a:solidFill>
                <a:srgbClr val="353535"/>
              </a:solidFill>
              <a:effectLst/>
              <a:uLnTx/>
              <a:uFillTx/>
              <a:latin typeface="Segoe UI Semilight"/>
              <a:ea typeface="+mn-ea"/>
              <a:cs typeface="Arial" panose="020B0604020202020204" pitchFamily="34" charset="0"/>
            </a:endParaRP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353535"/>
                </a:solidFill>
                <a:effectLst/>
                <a:uLnTx/>
                <a:uFillTx/>
                <a:latin typeface="Segoe UI Semilight"/>
                <a:ea typeface="+mn-ea"/>
                <a:cs typeface="Arial" panose="020B0604020202020204" pitchFamily="34" charset="0"/>
              </a:rPr>
              <a:t>Security</a:t>
            </a: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dirty="0">
              <a:ln>
                <a:noFill/>
              </a:ln>
              <a:solidFill>
                <a:srgbClr val="353535"/>
              </a:solidFill>
              <a:effectLst/>
              <a:uLnTx/>
              <a:uFillTx/>
              <a:latin typeface="Segoe UI Semilight"/>
              <a:ea typeface="+mn-ea"/>
              <a:cs typeface="Arial" panose="020B0604020202020204" pitchFamily="34" charset="0"/>
            </a:endParaRP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353535"/>
                </a:solidFill>
                <a:effectLst/>
                <a:uLnTx/>
                <a:uFillTx/>
                <a:latin typeface="Segoe UI Semilight"/>
                <a:ea typeface="+mn-ea"/>
                <a:cs typeface="Arial" panose="020B0604020202020204" pitchFamily="34" charset="0"/>
              </a:rPr>
              <a:t>Privacy</a:t>
            </a: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dirty="0">
              <a:ln>
                <a:noFill/>
              </a:ln>
              <a:solidFill>
                <a:srgbClr val="353535"/>
              </a:solidFill>
              <a:effectLst/>
              <a:uLnTx/>
              <a:uFillTx/>
              <a:latin typeface="Segoe UI Semilight"/>
              <a:ea typeface="+mn-ea"/>
              <a:cs typeface="Arial" panose="020B0604020202020204" pitchFamily="34" charset="0"/>
            </a:endParaRPr>
          </a:p>
          <a:p>
            <a:pPr marL="60325" marR="0" lvl="0" indent="-60325"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dirty="0">
                <a:ln>
                  <a:noFill/>
                </a:ln>
                <a:solidFill>
                  <a:srgbClr val="353535"/>
                </a:solidFill>
                <a:effectLst/>
                <a:uLnTx/>
                <a:uFillTx/>
                <a:latin typeface="Segoe UI Semilight"/>
                <a:ea typeface="+mn-ea"/>
                <a:cs typeface="Arial" panose="020B0604020202020204" pitchFamily="34" charset="0"/>
              </a:rPr>
              <a:t>Business valuation, measuring outcomes, align to strategic goals</a:t>
            </a:r>
          </a:p>
        </p:txBody>
      </p:sp>
      <p:sp>
        <p:nvSpPr>
          <p:cNvPr id="5" name="Rectangle 4">
            <a:extLst>
              <a:ext uri="{FF2B5EF4-FFF2-40B4-BE49-F238E27FC236}">
                <a16:creationId xmlns:a16="http://schemas.microsoft.com/office/drawing/2014/main" id="{3B1C6729-FFF9-BB8B-5602-84D152B598FE}"/>
              </a:ext>
            </a:extLst>
          </p:cNvPr>
          <p:cNvSpPr/>
          <p:nvPr/>
        </p:nvSpPr>
        <p:spPr>
          <a:xfrm>
            <a:off x="165317" y="1182679"/>
            <a:ext cx="11861366" cy="461979"/>
          </a:xfrm>
          <a:prstGeom prst="rect">
            <a:avLst/>
          </a:prstGeom>
          <a:gradFill>
            <a:gsLst>
              <a:gs pos="2000">
                <a:schemeClr val="tx1">
                  <a:lumMod val="95000"/>
                </a:schemeClr>
              </a:gs>
              <a:gs pos="36000">
                <a:schemeClr val="accent2">
                  <a:lumMod val="20000"/>
                  <a:lumOff val="80000"/>
                </a:schemeClr>
              </a:gs>
              <a:gs pos="100000">
                <a:srgbClr val="89CBFF"/>
              </a:gs>
            </a:gsLst>
            <a:lin ang="0" scaled="1"/>
          </a:gradFill>
          <a:ln w="10795" cap="flat" cmpd="sng" algn="ctr">
            <a:solidFill>
              <a:srgbClr val="0078D7">
                <a:shade val="15000"/>
              </a:srgbClr>
            </a:solid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AE" sz="1765" b="0" i="0" u="none" strike="noStrike" kern="0" cap="none" spc="0" normalizeH="0" baseline="0" noProof="0">
              <a:ln>
                <a:noFill/>
              </a:ln>
              <a:solidFill>
                <a:prstClr val="white"/>
              </a:solidFill>
              <a:effectLst/>
              <a:uLnTx/>
              <a:uFillTx/>
              <a:latin typeface="Segoe UI Semilight"/>
              <a:ea typeface="+mn-ea"/>
              <a:cs typeface="+mn-cs"/>
            </a:endParaRPr>
          </a:p>
        </p:txBody>
      </p:sp>
      <p:sp>
        <p:nvSpPr>
          <p:cNvPr id="6" name="Rectangle 5">
            <a:extLst>
              <a:ext uri="{FF2B5EF4-FFF2-40B4-BE49-F238E27FC236}">
                <a16:creationId xmlns:a16="http://schemas.microsoft.com/office/drawing/2014/main" id="{43D7FC95-FA7F-8F4E-233E-14881E08A9E8}"/>
              </a:ext>
            </a:extLst>
          </p:cNvPr>
          <p:cNvSpPr/>
          <p:nvPr/>
        </p:nvSpPr>
        <p:spPr bwMode="auto">
          <a:xfrm>
            <a:off x="1725408" y="1244923"/>
            <a:ext cx="1554480" cy="332508"/>
          </a:xfrm>
          <a:prstGeom prst="rect">
            <a:avLst/>
          </a:prstGeom>
          <a:solidFill>
            <a:srgbClr val="0078D4"/>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Product / Program Management</a:t>
            </a:r>
          </a:p>
        </p:txBody>
      </p:sp>
      <p:sp>
        <p:nvSpPr>
          <p:cNvPr id="7" name="Rectangle 6">
            <a:extLst>
              <a:ext uri="{FF2B5EF4-FFF2-40B4-BE49-F238E27FC236}">
                <a16:creationId xmlns:a16="http://schemas.microsoft.com/office/drawing/2014/main" id="{0D0F9738-6375-7787-5F2C-BBE9FB05F648}"/>
              </a:ext>
            </a:extLst>
          </p:cNvPr>
          <p:cNvSpPr/>
          <p:nvPr/>
        </p:nvSpPr>
        <p:spPr bwMode="auto">
          <a:xfrm>
            <a:off x="8640749" y="1258605"/>
            <a:ext cx="1554480" cy="332508"/>
          </a:xfrm>
          <a:prstGeom prst="rect">
            <a:avLst/>
          </a:prstGeom>
          <a:solidFill>
            <a:srgbClr val="0078D4"/>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esponsible AI </a:t>
            </a:r>
          </a:p>
        </p:txBody>
      </p:sp>
      <p:sp>
        <p:nvSpPr>
          <p:cNvPr id="8" name="Rectangle 7">
            <a:extLst>
              <a:ext uri="{FF2B5EF4-FFF2-40B4-BE49-F238E27FC236}">
                <a16:creationId xmlns:a16="http://schemas.microsoft.com/office/drawing/2014/main" id="{6F48B64F-B3E1-9C54-F400-C4FB89DBE48D}"/>
              </a:ext>
            </a:extLst>
          </p:cNvPr>
          <p:cNvSpPr/>
          <p:nvPr/>
        </p:nvSpPr>
        <p:spPr bwMode="auto">
          <a:xfrm>
            <a:off x="3442993" y="1251828"/>
            <a:ext cx="1554480" cy="332508"/>
          </a:xfrm>
          <a:prstGeom prst="rect">
            <a:avLst/>
          </a:prstGeom>
          <a:solidFill>
            <a:srgbClr val="0078D4"/>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Use Case Prioritization, LOB leadership </a:t>
            </a:r>
          </a:p>
        </p:txBody>
      </p:sp>
      <p:sp>
        <p:nvSpPr>
          <p:cNvPr id="9" name="Rectangle 8">
            <a:extLst>
              <a:ext uri="{FF2B5EF4-FFF2-40B4-BE49-F238E27FC236}">
                <a16:creationId xmlns:a16="http://schemas.microsoft.com/office/drawing/2014/main" id="{259ABCAD-EF62-069A-BD0D-AEDCF66D93CE}"/>
              </a:ext>
            </a:extLst>
          </p:cNvPr>
          <p:cNvSpPr/>
          <p:nvPr/>
        </p:nvSpPr>
        <p:spPr bwMode="auto">
          <a:xfrm>
            <a:off x="5172312" y="1258605"/>
            <a:ext cx="1554480" cy="332508"/>
          </a:xfrm>
          <a:prstGeom prst="rect">
            <a:avLst/>
          </a:prstGeom>
          <a:solidFill>
            <a:srgbClr val="0078D4"/>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Culture &amp; Change Management</a:t>
            </a:r>
          </a:p>
        </p:txBody>
      </p:sp>
      <p:sp>
        <p:nvSpPr>
          <p:cNvPr id="10" name="Rectangle 9">
            <a:extLst>
              <a:ext uri="{FF2B5EF4-FFF2-40B4-BE49-F238E27FC236}">
                <a16:creationId xmlns:a16="http://schemas.microsoft.com/office/drawing/2014/main" id="{453C5122-CFC0-4441-BCC0-15ABB2E45879}"/>
              </a:ext>
            </a:extLst>
          </p:cNvPr>
          <p:cNvSpPr/>
          <p:nvPr/>
        </p:nvSpPr>
        <p:spPr bwMode="auto">
          <a:xfrm>
            <a:off x="10360546" y="1247414"/>
            <a:ext cx="1554480" cy="332508"/>
          </a:xfrm>
          <a:prstGeom prst="rect">
            <a:avLst/>
          </a:prstGeom>
          <a:solidFill>
            <a:srgbClr val="0078D4"/>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Security / Data Privacy</a:t>
            </a:r>
          </a:p>
        </p:txBody>
      </p:sp>
      <p:sp>
        <p:nvSpPr>
          <p:cNvPr id="11" name="Rectangle 10">
            <a:extLst>
              <a:ext uri="{FF2B5EF4-FFF2-40B4-BE49-F238E27FC236}">
                <a16:creationId xmlns:a16="http://schemas.microsoft.com/office/drawing/2014/main" id="{9BB35162-11AA-5689-D18A-D055DB361A55}"/>
              </a:ext>
            </a:extLst>
          </p:cNvPr>
          <p:cNvSpPr/>
          <p:nvPr/>
        </p:nvSpPr>
        <p:spPr>
          <a:xfrm>
            <a:off x="199042" y="1214865"/>
            <a:ext cx="1315691" cy="399810"/>
          </a:xfrm>
          <a:prstGeom prst="rect">
            <a:avLst/>
          </a:prstGeom>
          <a:solidFill>
            <a:srgbClr val="0078D7">
              <a:lumMod val="50000"/>
            </a:srgbClr>
          </a:solidFill>
          <a:ln w="10795" cap="flat" cmpd="sng" algn="ctr">
            <a:noFill/>
            <a:prstDash val="soli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I Governance Council</a:t>
            </a:r>
            <a:endParaRPr kumimoji="0" lang="en-AE" sz="12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grpSp>
        <p:nvGrpSpPr>
          <p:cNvPr id="13" name="Group 12">
            <a:extLst>
              <a:ext uri="{FF2B5EF4-FFF2-40B4-BE49-F238E27FC236}">
                <a16:creationId xmlns:a16="http://schemas.microsoft.com/office/drawing/2014/main" id="{830843B7-FC35-EC12-C476-7DB417819E8B}"/>
              </a:ext>
            </a:extLst>
          </p:cNvPr>
          <p:cNvGrpSpPr/>
          <p:nvPr/>
        </p:nvGrpSpPr>
        <p:grpSpPr>
          <a:xfrm>
            <a:off x="1725408" y="1913420"/>
            <a:ext cx="9519330" cy="4145187"/>
            <a:chOff x="2473672" y="1445074"/>
            <a:chExt cx="9519330" cy="4145187"/>
          </a:xfrm>
        </p:grpSpPr>
        <p:sp>
          <p:nvSpPr>
            <p:cNvPr id="14" name="Rectangle 13">
              <a:extLst>
                <a:ext uri="{FF2B5EF4-FFF2-40B4-BE49-F238E27FC236}">
                  <a16:creationId xmlns:a16="http://schemas.microsoft.com/office/drawing/2014/main" id="{647716DC-A280-F0F1-C688-E8D4A53A6932}"/>
                </a:ext>
              </a:extLst>
            </p:cNvPr>
            <p:cNvSpPr/>
            <p:nvPr/>
          </p:nvSpPr>
          <p:spPr bwMode="auto">
            <a:xfrm>
              <a:off x="2473672" y="1447255"/>
              <a:ext cx="6730979" cy="391588"/>
            </a:xfrm>
            <a:prstGeom prst="rect">
              <a:avLst/>
            </a:prstGeom>
            <a:solidFill>
              <a:srgbClr val="003C6C"/>
            </a:solidFill>
            <a:ln w="6350" cap="flat" cmpd="sng" algn="ctr">
              <a:solidFill>
                <a:schemeClr val="accent6">
                  <a:lumMod val="50000"/>
                </a:scheme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Innovation Hub</a:t>
              </a:r>
            </a:p>
          </p:txBody>
        </p:sp>
        <p:sp>
          <p:nvSpPr>
            <p:cNvPr id="15" name="Rectangle 14">
              <a:extLst>
                <a:ext uri="{FF2B5EF4-FFF2-40B4-BE49-F238E27FC236}">
                  <a16:creationId xmlns:a16="http://schemas.microsoft.com/office/drawing/2014/main" id="{1413CBCB-A8CF-5EDA-04F9-CACCE7BB6055}"/>
                </a:ext>
              </a:extLst>
            </p:cNvPr>
            <p:cNvSpPr/>
            <p:nvPr/>
          </p:nvSpPr>
          <p:spPr>
            <a:xfrm>
              <a:off x="2477889" y="1838843"/>
              <a:ext cx="6730978" cy="3751418"/>
            </a:xfrm>
            <a:prstGeom prst="rect">
              <a:avLst/>
            </a:prstGeom>
            <a:gradFill>
              <a:gsLst>
                <a:gs pos="19000">
                  <a:srgbClr val="89CBFF"/>
                </a:gs>
                <a:gs pos="72000">
                  <a:schemeClr val="accent2">
                    <a:lumMod val="20000"/>
                    <a:lumOff val="80000"/>
                  </a:schemeClr>
                </a:gs>
                <a:gs pos="100000">
                  <a:schemeClr val="tx1">
                    <a:lumMod val="95000"/>
                  </a:schemeClr>
                </a:gs>
              </a:gsLst>
              <a:lin ang="0" scaled="1"/>
            </a:gradFill>
            <a:ln w="6350">
              <a:solidFill>
                <a:srgbClr val="353535"/>
              </a:solid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a typeface="+mn-ea"/>
                <a:cs typeface="Segoe UI Light" panose="020B0502040204020203" pitchFamily="34" charset="0"/>
              </a:endParaRPr>
            </a:p>
          </p:txBody>
        </p:sp>
        <p:sp>
          <p:nvSpPr>
            <p:cNvPr id="16" name="Rectangle 15">
              <a:extLst>
                <a:ext uri="{FF2B5EF4-FFF2-40B4-BE49-F238E27FC236}">
                  <a16:creationId xmlns:a16="http://schemas.microsoft.com/office/drawing/2014/main" id="{1938D1E7-72E7-16E8-669A-445B40B5F5DD}"/>
                </a:ext>
              </a:extLst>
            </p:cNvPr>
            <p:cNvSpPr/>
            <p:nvPr/>
          </p:nvSpPr>
          <p:spPr>
            <a:xfrm>
              <a:off x="7674035" y="4766381"/>
              <a:ext cx="1411426" cy="506209"/>
            </a:xfrm>
            <a:prstGeom prst="rect">
              <a:avLst/>
            </a:prstGeom>
            <a:solidFill>
              <a:srgbClr val="0078D4"/>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Refer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rchitecture. Design / Development Loops</a:t>
              </a:r>
            </a:p>
          </p:txBody>
        </p:sp>
        <p:sp>
          <p:nvSpPr>
            <p:cNvPr id="17" name="Rectangle 16">
              <a:extLst>
                <a:ext uri="{FF2B5EF4-FFF2-40B4-BE49-F238E27FC236}">
                  <a16:creationId xmlns:a16="http://schemas.microsoft.com/office/drawing/2014/main" id="{66EDD297-0A8F-C2B6-6303-7A629B45F1ED}"/>
                </a:ext>
              </a:extLst>
            </p:cNvPr>
            <p:cNvSpPr/>
            <p:nvPr/>
          </p:nvSpPr>
          <p:spPr>
            <a:xfrm>
              <a:off x="7753292" y="2775144"/>
              <a:ext cx="1258922" cy="502470"/>
            </a:xfrm>
            <a:prstGeom prst="rect">
              <a:avLst/>
            </a:prstGeom>
            <a:solidFill>
              <a:srgbClr val="0078D4"/>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MVP Deployment</a:t>
              </a:r>
            </a:p>
          </p:txBody>
        </p:sp>
        <p:sp>
          <p:nvSpPr>
            <p:cNvPr id="18" name="Rectangle 45">
              <a:extLst>
                <a:ext uri="{FF2B5EF4-FFF2-40B4-BE49-F238E27FC236}">
                  <a16:creationId xmlns:a16="http://schemas.microsoft.com/office/drawing/2014/main" id="{8D8669A4-3C8A-D3BB-FDAF-65D9F5863459}"/>
                </a:ext>
              </a:extLst>
            </p:cNvPr>
            <p:cNvSpPr/>
            <p:nvPr>
              <p:custDataLst>
                <p:tags r:id="rId1"/>
              </p:custDataLst>
            </p:nvPr>
          </p:nvSpPr>
          <p:spPr bwMode="gray">
            <a:xfrm>
              <a:off x="3555630" y="2569669"/>
              <a:ext cx="5538174" cy="2070357"/>
            </a:xfrm>
            <a:custGeom>
              <a:avLst/>
              <a:gdLst/>
              <a:ahLst/>
              <a:cxnLst/>
              <a:rect l="l" t="t" r="r" b="b"/>
              <a:pathLst>
                <a:path w="8820062" h="1656184">
                  <a:moveTo>
                    <a:pt x="1251" y="1648036"/>
                  </a:moveTo>
                  <a:cubicBezTo>
                    <a:pt x="2900" y="1650426"/>
                    <a:pt x="5015" y="1651974"/>
                    <a:pt x="7420" y="1652682"/>
                  </a:cubicBezTo>
                  <a:cubicBezTo>
                    <a:pt x="5201" y="1653618"/>
                    <a:pt x="3221" y="1654901"/>
                    <a:pt x="1258" y="1656184"/>
                  </a:cubicBezTo>
                  <a:close/>
                  <a:moveTo>
                    <a:pt x="50113" y="28510"/>
                  </a:moveTo>
                  <a:cubicBezTo>
                    <a:pt x="595913" y="341389"/>
                    <a:pt x="2121759" y="576468"/>
                    <a:pt x="3991885" y="623088"/>
                  </a:cubicBezTo>
                  <a:lnTo>
                    <a:pt x="8820062" y="623088"/>
                  </a:lnTo>
                  <a:lnTo>
                    <a:pt x="8820062" y="1033097"/>
                  </a:lnTo>
                  <a:lnTo>
                    <a:pt x="4004334" y="1033097"/>
                  </a:lnTo>
                  <a:cubicBezTo>
                    <a:pt x="2131970" y="1079772"/>
                    <a:pt x="594176" y="1315358"/>
                    <a:pt x="49449" y="1628800"/>
                  </a:cubicBezTo>
                  <a:cubicBezTo>
                    <a:pt x="103735" y="1535765"/>
                    <a:pt x="143438" y="1212520"/>
                    <a:pt x="143438" y="828092"/>
                  </a:cubicBezTo>
                  <a:cubicBezTo>
                    <a:pt x="143438" y="445212"/>
                    <a:pt x="104055" y="123024"/>
                    <a:pt x="50113" y="28510"/>
                  </a:cubicBezTo>
                  <a:close/>
                  <a:moveTo>
                    <a:pt x="0" y="0"/>
                  </a:moveTo>
                  <a:lnTo>
                    <a:pt x="6622" y="3768"/>
                  </a:lnTo>
                  <a:cubicBezTo>
                    <a:pt x="4094" y="4831"/>
                    <a:pt x="1783" y="6648"/>
                    <a:pt x="7" y="9402"/>
                  </a:cubicBezTo>
                  <a:cubicBezTo>
                    <a:pt x="5" y="6268"/>
                    <a:pt x="3" y="3134"/>
                    <a:pt x="0" y="0"/>
                  </a:cubicBezTo>
                  <a:close/>
                </a:path>
              </a:pathLst>
            </a:custGeom>
            <a:solidFill>
              <a:schemeClr val="bg2"/>
            </a:solidFill>
            <a:ln w="12700">
              <a:solidFill>
                <a:srgbClr val="FFFFFF"/>
              </a:solidFill>
              <a:miter lim="800000"/>
              <a:headEnd/>
              <a:tailEnd/>
            </a:ln>
            <a:effectLst/>
          </p:spPr>
          <p:txBody>
            <a:bodyPr vert="horz" wrap="square" lIns="0" tIns="0" rIns="0" bIns="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19" name="Oval 105">
              <a:extLst>
                <a:ext uri="{FF2B5EF4-FFF2-40B4-BE49-F238E27FC236}">
                  <a16:creationId xmlns:a16="http://schemas.microsoft.com/office/drawing/2014/main" id="{9FEB6BE5-0D64-0BCF-E844-711827A3AA11}"/>
                </a:ext>
              </a:extLst>
            </p:cNvPr>
            <p:cNvSpPr/>
            <p:nvPr>
              <p:custDataLst>
                <p:tags r:id="rId2"/>
              </p:custDataLst>
            </p:nvPr>
          </p:nvSpPr>
          <p:spPr bwMode="gray">
            <a:xfrm>
              <a:off x="3477196" y="2569669"/>
              <a:ext cx="162384" cy="2070357"/>
            </a:xfrm>
            <a:prstGeom prst="ellipse">
              <a:avLst/>
            </a:prstGeom>
            <a:solidFill>
              <a:schemeClr val="bg2"/>
            </a:solidFill>
            <a:ln w="19050">
              <a:solidFill>
                <a:srgbClr val="FFFFFF"/>
              </a:solidFill>
              <a:miter lim="800000"/>
              <a:headEnd/>
              <a:tailEnd/>
            </a:ln>
            <a:effectLst/>
          </p:spPr>
          <p:txBody>
            <a:bodyPr vert="horz" wrap="square" lIns="0" tIns="0" rIns="0" bIns="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pic>
          <p:nvPicPr>
            <p:cNvPr id="20" name="Picture 104" descr="210px-Blank_globe_svg.png">
              <a:extLst>
                <a:ext uri="{FF2B5EF4-FFF2-40B4-BE49-F238E27FC236}">
                  <a16:creationId xmlns:a16="http://schemas.microsoft.com/office/drawing/2014/main" id="{EF3DE8C3-0181-C3BA-2C7B-91BAC950C889}"/>
                </a:ext>
              </a:extLst>
            </p:cNvPr>
            <p:cNvPicPr>
              <a:picLocks/>
            </p:cNvPicPr>
            <p:nvPr>
              <p:custDataLst>
                <p:tags r:id="rId3"/>
              </p:custDataLst>
            </p:nvPr>
          </p:nvPicPr>
          <p:blipFill>
            <a:blip r:embed="rId50" cstate="print">
              <a:extLst>
                <a:ext uri="{BEBA8EAE-BF5A-486C-A8C5-ECC9F3942E4B}">
                  <a14:imgProps xmlns:a14="http://schemas.microsoft.com/office/drawing/2010/main">
                    <a14:imgLayer r:embed="rId51">
                      <a14:imgEffect>
                        <a14:brightnessContrast contrast="20000"/>
                      </a14:imgEffect>
                    </a14:imgLayer>
                  </a14:imgProps>
                </a:ext>
              </a:extLst>
            </a:blip>
            <a:stretch>
              <a:fillRect/>
            </a:stretch>
          </p:blipFill>
          <p:spPr bwMode="gray">
            <a:xfrm>
              <a:off x="2475587" y="3333940"/>
              <a:ext cx="713390" cy="713566"/>
            </a:xfrm>
            <a:prstGeom prst="rect">
              <a:avLst/>
            </a:prstGeom>
            <a:noFill/>
            <a:ln>
              <a:noFill/>
            </a:ln>
          </p:spPr>
        </p:pic>
        <p:sp>
          <p:nvSpPr>
            <p:cNvPr id="21" name="Arc 100">
              <a:extLst>
                <a:ext uri="{FF2B5EF4-FFF2-40B4-BE49-F238E27FC236}">
                  <a16:creationId xmlns:a16="http://schemas.microsoft.com/office/drawing/2014/main" id="{DF1E9603-E33B-E7A9-275C-548E8803C75E}"/>
                </a:ext>
              </a:extLst>
            </p:cNvPr>
            <p:cNvSpPr/>
            <p:nvPr>
              <p:custDataLst>
                <p:tags r:id="rId4"/>
              </p:custDataLst>
            </p:nvPr>
          </p:nvSpPr>
          <p:spPr bwMode="gray">
            <a:xfrm>
              <a:off x="2710277" y="3001112"/>
              <a:ext cx="161326" cy="1379223"/>
            </a:xfrm>
            <a:prstGeom prst="arc">
              <a:avLst>
                <a:gd name="adj1" fmla="val 15486599"/>
                <a:gd name="adj2" fmla="val 6106012"/>
              </a:avLst>
            </a:prstGeom>
            <a:noFill/>
            <a:ln w="12700" cap="flat" cmpd="sng" algn="ctr">
              <a:solidFill>
                <a:srgbClr val="FFFFFF">
                  <a:lumMod val="6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53535"/>
                </a:solidFill>
                <a:effectLst/>
                <a:uLnTx/>
                <a:uFillTx/>
                <a:latin typeface="Segoe UI Semilight"/>
                <a:ea typeface="+mn-ea"/>
                <a:cs typeface="Segoe UI Light" panose="020B0502040204020203" pitchFamily="34" charset="0"/>
              </a:endParaRPr>
            </a:p>
          </p:txBody>
        </p:sp>
        <p:sp>
          <p:nvSpPr>
            <p:cNvPr id="22" name="Arc 101">
              <a:extLst>
                <a:ext uri="{FF2B5EF4-FFF2-40B4-BE49-F238E27FC236}">
                  <a16:creationId xmlns:a16="http://schemas.microsoft.com/office/drawing/2014/main" id="{078296B8-5E81-539A-6610-27B1ABD0215C}"/>
                </a:ext>
              </a:extLst>
            </p:cNvPr>
            <p:cNvSpPr/>
            <p:nvPr>
              <p:custDataLst>
                <p:tags r:id="rId5"/>
              </p:custDataLst>
            </p:nvPr>
          </p:nvSpPr>
          <p:spPr bwMode="gray">
            <a:xfrm>
              <a:off x="2802161" y="3079358"/>
              <a:ext cx="161326" cy="1222730"/>
            </a:xfrm>
            <a:prstGeom prst="arc">
              <a:avLst>
                <a:gd name="adj1" fmla="val 15538569"/>
                <a:gd name="adj2" fmla="val 6046188"/>
              </a:avLst>
            </a:prstGeom>
            <a:noFill/>
            <a:ln w="12700" cap="flat" cmpd="sng" algn="ctr">
              <a:solidFill>
                <a:srgbClr val="FFFFFF">
                  <a:lumMod val="6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53535"/>
                </a:solidFill>
                <a:effectLst/>
                <a:uLnTx/>
                <a:uFillTx/>
                <a:latin typeface="Segoe UI Semilight"/>
                <a:ea typeface="+mn-ea"/>
                <a:cs typeface="Segoe UI Light" panose="020B0502040204020203" pitchFamily="34" charset="0"/>
              </a:endParaRPr>
            </a:p>
          </p:txBody>
        </p:sp>
        <p:sp>
          <p:nvSpPr>
            <p:cNvPr id="23" name="Arc 102">
              <a:extLst>
                <a:ext uri="{FF2B5EF4-FFF2-40B4-BE49-F238E27FC236}">
                  <a16:creationId xmlns:a16="http://schemas.microsoft.com/office/drawing/2014/main" id="{EDEC0160-F6ED-FB5D-7F7B-0CD29435CD66}"/>
                </a:ext>
              </a:extLst>
            </p:cNvPr>
            <p:cNvSpPr/>
            <p:nvPr>
              <p:custDataLst>
                <p:tags r:id="rId6"/>
              </p:custDataLst>
            </p:nvPr>
          </p:nvSpPr>
          <p:spPr bwMode="gray">
            <a:xfrm>
              <a:off x="2894043" y="3157723"/>
              <a:ext cx="161326" cy="1066000"/>
            </a:xfrm>
            <a:prstGeom prst="arc">
              <a:avLst>
                <a:gd name="adj1" fmla="val 15519148"/>
                <a:gd name="adj2" fmla="val 6091054"/>
              </a:avLst>
            </a:prstGeom>
            <a:noFill/>
            <a:ln w="12700" cap="flat" cmpd="sng" algn="ctr">
              <a:solidFill>
                <a:srgbClr val="FFFFFF">
                  <a:lumMod val="6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53535"/>
                </a:solidFill>
                <a:effectLst/>
                <a:uLnTx/>
                <a:uFillTx/>
                <a:latin typeface="Segoe UI Semilight"/>
                <a:ea typeface="+mn-ea"/>
                <a:cs typeface="Segoe UI Light" panose="020B0502040204020203" pitchFamily="34" charset="0"/>
              </a:endParaRPr>
            </a:p>
          </p:txBody>
        </p:sp>
        <p:sp>
          <p:nvSpPr>
            <p:cNvPr id="24" name="Arc 103">
              <a:extLst>
                <a:ext uri="{FF2B5EF4-FFF2-40B4-BE49-F238E27FC236}">
                  <a16:creationId xmlns:a16="http://schemas.microsoft.com/office/drawing/2014/main" id="{E580DB23-163A-F4FF-7F85-90441A00AF80}"/>
                </a:ext>
              </a:extLst>
            </p:cNvPr>
            <p:cNvSpPr/>
            <p:nvPr>
              <p:custDataLst>
                <p:tags r:id="rId7"/>
              </p:custDataLst>
            </p:nvPr>
          </p:nvSpPr>
          <p:spPr bwMode="gray">
            <a:xfrm>
              <a:off x="2985925" y="3236206"/>
              <a:ext cx="161326" cy="909034"/>
            </a:xfrm>
            <a:prstGeom prst="arc">
              <a:avLst>
                <a:gd name="adj1" fmla="val 15486599"/>
                <a:gd name="adj2" fmla="val 6160626"/>
              </a:avLst>
            </a:prstGeom>
            <a:noFill/>
            <a:ln w="12700" cap="flat" cmpd="sng" algn="ctr">
              <a:solidFill>
                <a:srgbClr val="FFFFFF">
                  <a:lumMod val="6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53535"/>
                </a:solidFill>
                <a:effectLst/>
                <a:uLnTx/>
                <a:uFillTx/>
                <a:latin typeface="Segoe UI Semilight"/>
                <a:ea typeface="+mn-ea"/>
                <a:cs typeface="Segoe UI Light" panose="020B0502040204020203" pitchFamily="34" charset="0"/>
              </a:endParaRPr>
            </a:p>
          </p:txBody>
        </p:sp>
        <p:sp>
          <p:nvSpPr>
            <p:cNvPr id="25" name="Arc 104">
              <a:extLst>
                <a:ext uri="{FF2B5EF4-FFF2-40B4-BE49-F238E27FC236}">
                  <a16:creationId xmlns:a16="http://schemas.microsoft.com/office/drawing/2014/main" id="{B9F9AFC9-7E47-B903-3E93-C093731AA0AE}"/>
                </a:ext>
              </a:extLst>
            </p:cNvPr>
            <p:cNvSpPr/>
            <p:nvPr>
              <p:custDataLst>
                <p:tags r:id="rId8"/>
              </p:custDataLst>
            </p:nvPr>
          </p:nvSpPr>
          <p:spPr bwMode="gray">
            <a:xfrm>
              <a:off x="3077808" y="3329900"/>
              <a:ext cx="161326" cy="721648"/>
            </a:xfrm>
            <a:prstGeom prst="arc">
              <a:avLst>
                <a:gd name="adj1" fmla="val 14876340"/>
                <a:gd name="adj2" fmla="val 6648984"/>
              </a:avLst>
            </a:prstGeom>
            <a:noFill/>
            <a:ln w="12700" cap="flat" cmpd="sng" algn="ctr">
              <a:solidFill>
                <a:srgbClr val="FFFFFF">
                  <a:lumMod val="6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53535"/>
                </a:solidFill>
                <a:effectLst/>
                <a:uLnTx/>
                <a:uFillTx/>
                <a:latin typeface="Segoe UI Semilight"/>
                <a:ea typeface="+mn-ea"/>
                <a:cs typeface="Segoe UI Light" panose="020B0502040204020203" pitchFamily="34" charset="0"/>
              </a:endParaRPr>
            </a:p>
          </p:txBody>
        </p:sp>
        <p:sp>
          <p:nvSpPr>
            <p:cNvPr id="26" name="Oval 76">
              <a:extLst>
                <a:ext uri="{FF2B5EF4-FFF2-40B4-BE49-F238E27FC236}">
                  <a16:creationId xmlns:a16="http://schemas.microsoft.com/office/drawing/2014/main" id="{4D6CB98D-1F50-491B-D068-EAA452D730F0}"/>
                </a:ext>
              </a:extLst>
            </p:cNvPr>
            <p:cNvSpPr/>
            <p:nvPr>
              <p:custDataLst>
                <p:tags r:id="rId9"/>
              </p:custDataLst>
            </p:nvPr>
          </p:nvSpPr>
          <p:spPr bwMode="gray">
            <a:xfrm>
              <a:off x="2616606" y="2816946"/>
              <a:ext cx="74171" cy="75535"/>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27" name="Oval 77">
              <a:extLst>
                <a:ext uri="{FF2B5EF4-FFF2-40B4-BE49-F238E27FC236}">
                  <a16:creationId xmlns:a16="http://schemas.microsoft.com/office/drawing/2014/main" id="{E27E4DE4-8074-4F9E-D33E-5A188AD8496F}"/>
                </a:ext>
              </a:extLst>
            </p:cNvPr>
            <p:cNvSpPr/>
            <p:nvPr>
              <p:custDataLst>
                <p:tags r:id="rId10"/>
              </p:custDataLst>
            </p:nvPr>
          </p:nvSpPr>
          <p:spPr bwMode="gray">
            <a:xfrm>
              <a:off x="2705378" y="2816946"/>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28" name="Oval 78">
              <a:extLst>
                <a:ext uri="{FF2B5EF4-FFF2-40B4-BE49-F238E27FC236}">
                  <a16:creationId xmlns:a16="http://schemas.microsoft.com/office/drawing/2014/main" id="{8A575F3F-8366-2DDC-3E3C-7066F9DEC6AB}"/>
                </a:ext>
              </a:extLst>
            </p:cNvPr>
            <p:cNvSpPr/>
            <p:nvPr>
              <p:custDataLst>
                <p:tags r:id="rId11"/>
              </p:custDataLst>
            </p:nvPr>
          </p:nvSpPr>
          <p:spPr bwMode="gray">
            <a:xfrm>
              <a:off x="2974387" y="2604527"/>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29" name="Oval 79">
              <a:extLst>
                <a:ext uri="{FF2B5EF4-FFF2-40B4-BE49-F238E27FC236}">
                  <a16:creationId xmlns:a16="http://schemas.microsoft.com/office/drawing/2014/main" id="{FB7C8357-8F4E-6421-A801-9C32D78ABF49}"/>
                </a:ext>
              </a:extLst>
            </p:cNvPr>
            <p:cNvSpPr/>
            <p:nvPr>
              <p:custDataLst>
                <p:tags r:id="rId12"/>
              </p:custDataLst>
            </p:nvPr>
          </p:nvSpPr>
          <p:spPr bwMode="gray">
            <a:xfrm>
              <a:off x="3104250" y="2622351"/>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30" name="Oval 80">
              <a:extLst>
                <a:ext uri="{FF2B5EF4-FFF2-40B4-BE49-F238E27FC236}">
                  <a16:creationId xmlns:a16="http://schemas.microsoft.com/office/drawing/2014/main" id="{6E56DFD8-46CD-BE42-7CD0-0C65C53961C3}"/>
                </a:ext>
              </a:extLst>
            </p:cNvPr>
            <p:cNvSpPr/>
            <p:nvPr>
              <p:custDataLst>
                <p:tags r:id="rId13"/>
              </p:custDataLst>
            </p:nvPr>
          </p:nvSpPr>
          <p:spPr bwMode="gray">
            <a:xfrm>
              <a:off x="3252663" y="2658029"/>
              <a:ext cx="56673" cy="58750"/>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31" name="Oval 81">
              <a:extLst>
                <a:ext uri="{FF2B5EF4-FFF2-40B4-BE49-F238E27FC236}">
                  <a16:creationId xmlns:a16="http://schemas.microsoft.com/office/drawing/2014/main" id="{9FE712D3-64E3-B8C0-EFED-ECBD3B6F3F2B}"/>
                </a:ext>
              </a:extLst>
            </p:cNvPr>
            <p:cNvSpPr/>
            <p:nvPr>
              <p:custDataLst>
                <p:tags r:id="rId14"/>
              </p:custDataLst>
            </p:nvPr>
          </p:nvSpPr>
          <p:spPr bwMode="gray">
            <a:xfrm>
              <a:off x="2798145" y="2861530"/>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32" name="Oval 82">
              <a:extLst>
                <a:ext uri="{FF2B5EF4-FFF2-40B4-BE49-F238E27FC236}">
                  <a16:creationId xmlns:a16="http://schemas.microsoft.com/office/drawing/2014/main" id="{0B3D9A07-825A-5F24-3439-5A44021D57EB}"/>
                </a:ext>
              </a:extLst>
            </p:cNvPr>
            <p:cNvSpPr/>
            <p:nvPr>
              <p:custDataLst>
                <p:tags r:id="rId15"/>
              </p:custDataLst>
            </p:nvPr>
          </p:nvSpPr>
          <p:spPr bwMode="gray">
            <a:xfrm>
              <a:off x="2879432" y="2986404"/>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33" name="Oval 83">
              <a:extLst>
                <a:ext uri="{FF2B5EF4-FFF2-40B4-BE49-F238E27FC236}">
                  <a16:creationId xmlns:a16="http://schemas.microsoft.com/office/drawing/2014/main" id="{8502B78C-50EA-F0AC-57FF-3D9D54E04E01}"/>
                </a:ext>
              </a:extLst>
            </p:cNvPr>
            <p:cNvSpPr/>
            <p:nvPr>
              <p:custDataLst>
                <p:tags r:id="rId16"/>
              </p:custDataLst>
            </p:nvPr>
          </p:nvSpPr>
          <p:spPr bwMode="gray">
            <a:xfrm>
              <a:off x="2992939" y="3204483"/>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34" name="Oval 84">
              <a:extLst>
                <a:ext uri="{FF2B5EF4-FFF2-40B4-BE49-F238E27FC236}">
                  <a16:creationId xmlns:a16="http://schemas.microsoft.com/office/drawing/2014/main" id="{5F2B7639-BE1A-4694-B30F-893228A97094}"/>
                </a:ext>
              </a:extLst>
            </p:cNvPr>
            <p:cNvSpPr/>
            <p:nvPr>
              <p:custDataLst>
                <p:tags r:id="rId17"/>
              </p:custDataLst>
            </p:nvPr>
          </p:nvSpPr>
          <p:spPr bwMode="gray">
            <a:xfrm>
              <a:off x="2992939" y="3441304"/>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35" name="Oval 85">
              <a:extLst>
                <a:ext uri="{FF2B5EF4-FFF2-40B4-BE49-F238E27FC236}">
                  <a16:creationId xmlns:a16="http://schemas.microsoft.com/office/drawing/2014/main" id="{C93723E0-7C14-240D-3933-F03556B0C6CD}"/>
                </a:ext>
              </a:extLst>
            </p:cNvPr>
            <p:cNvSpPr/>
            <p:nvPr>
              <p:custDataLst>
                <p:tags r:id="rId18"/>
              </p:custDataLst>
            </p:nvPr>
          </p:nvSpPr>
          <p:spPr bwMode="gray">
            <a:xfrm>
              <a:off x="2895543" y="3548337"/>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36" name="Oval 86">
              <a:extLst>
                <a:ext uri="{FF2B5EF4-FFF2-40B4-BE49-F238E27FC236}">
                  <a16:creationId xmlns:a16="http://schemas.microsoft.com/office/drawing/2014/main" id="{533DEAFA-D6D7-B0CB-BA36-31A8B7F98B3A}"/>
                </a:ext>
              </a:extLst>
            </p:cNvPr>
            <p:cNvSpPr/>
            <p:nvPr>
              <p:custDataLst>
                <p:tags r:id="rId19"/>
              </p:custDataLst>
            </p:nvPr>
          </p:nvSpPr>
          <p:spPr bwMode="gray">
            <a:xfrm>
              <a:off x="2749447" y="3735648"/>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37" name="Oval 87">
              <a:extLst>
                <a:ext uri="{FF2B5EF4-FFF2-40B4-BE49-F238E27FC236}">
                  <a16:creationId xmlns:a16="http://schemas.microsoft.com/office/drawing/2014/main" id="{450FF635-BF80-E747-C0E1-AC076D0D2641}"/>
                </a:ext>
              </a:extLst>
            </p:cNvPr>
            <p:cNvSpPr/>
            <p:nvPr>
              <p:custDataLst>
                <p:tags r:id="rId20"/>
              </p:custDataLst>
            </p:nvPr>
          </p:nvSpPr>
          <p:spPr bwMode="gray">
            <a:xfrm>
              <a:off x="2853792" y="3798086"/>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38" name="Oval 88">
              <a:extLst>
                <a:ext uri="{FF2B5EF4-FFF2-40B4-BE49-F238E27FC236}">
                  <a16:creationId xmlns:a16="http://schemas.microsoft.com/office/drawing/2014/main" id="{650224CA-1768-C5E4-2E83-D4069F2FD445}"/>
                </a:ext>
              </a:extLst>
            </p:cNvPr>
            <p:cNvSpPr/>
            <p:nvPr>
              <p:custDataLst>
                <p:tags r:id="rId21"/>
              </p:custDataLst>
            </p:nvPr>
          </p:nvSpPr>
          <p:spPr bwMode="gray">
            <a:xfrm>
              <a:off x="3030042" y="3655372"/>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39" name="Oval 89">
              <a:extLst>
                <a:ext uri="{FF2B5EF4-FFF2-40B4-BE49-F238E27FC236}">
                  <a16:creationId xmlns:a16="http://schemas.microsoft.com/office/drawing/2014/main" id="{0979593C-3AAE-5A58-84C3-C2F117F1B9E3}"/>
                </a:ext>
              </a:extLst>
            </p:cNvPr>
            <p:cNvSpPr/>
            <p:nvPr>
              <p:custDataLst>
                <p:tags r:id="rId22"/>
              </p:custDataLst>
            </p:nvPr>
          </p:nvSpPr>
          <p:spPr bwMode="gray">
            <a:xfrm>
              <a:off x="3090336" y="3267371"/>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40" name="Oval 90">
              <a:extLst>
                <a:ext uri="{FF2B5EF4-FFF2-40B4-BE49-F238E27FC236}">
                  <a16:creationId xmlns:a16="http://schemas.microsoft.com/office/drawing/2014/main" id="{545EC0DA-AF84-51EF-FBF9-F71CECEE66F6}"/>
                </a:ext>
              </a:extLst>
            </p:cNvPr>
            <p:cNvSpPr/>
            <p:nvPr>
              <p:custDataLst>
                <p:tags r:id="rId23"/>
              </p:custDataLst>
            </p:nvPr>
          </p:nvSpPr>
          <p:spPr bwMode="gray">
            <a:xfrm>
              <a:off x="3106569" y="3048853"/>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41" name="Oval 91">
              <a:extLst>
                <a:ext uri="{FF2B5EF4-FFF2-40B4-BE49-F238E27FC236}">
                  <a16:creationId xmlns:a16="http://schemas.microsoft.com/office/drawing/2014/main" id="{F3852050-B03A-5F99-CEE6-6090B682CC90}"/>
                </a:ext>
              </a:extLst>
            </p:cNvPr>
            <p:cNvSpPr/>
            <p:nvPr>
              <p:custDataLst>
                <p:tags r:id="rId24"/>
              </p:custDataLst>
            </p:nvPr>
          </p:nvSpPr>
          <p:spPr bwMode="gray">
            <a:xfrm>
              <a:off x="3220199" y="3066694"/>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42" name="Oval 92">
              <a:extLst>
                <a:ext uri="{FF2B5EF4-FFF2-40B4-BE49-F238E27FC236}">
                  <a16:creationId xmlns:a16="http://schemas.microsoft.com/office/drawing/2014/main" id="{F7F8BE77-E4A9-41A4-9182-D2E43BA03E18}"/>
                </a:ext>
              </a:extLst>
            </p:cNvPr>
            <p:cNvSpPr/>
            <p:nvPr>
              <p:custDataLst>
                <p:tags r:id="rId25"/>
              </p:custDataLst>
            </p:nvPr>
          </p:nvSpPr>
          <p:spPr bwMode="gray">
            <a:xfrm>
              <a:off x="3187734" y="3352121"/>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43" name="Oval 93">
              <a:extLst>
                <a:ext uri="{FF2B5EF4-FFF2-40B4-BE49-F238E27FC236}">
                  <a16:creationId xmlns:a16="http://schemas.microsoft.com/office/drawing/2014/main" id="{55E8CBEA-E2CE-74E4-11B2-2742F705D7A0}"/>
                </a:ext>
              </a:extLst>
            </p:cNvPr>
            <p:cNvSpPr/>
            <p:nvPr>
              <p:custDataLst>
                <p:tags r:id="rId26"/>
              </p:custDataLst>
            </p:nvPr>
          </p:nvSpPr>
          <p:spPr bwMode="gray">
            <a:xfrm>
              <a:off x="3285130" y="3423463"/>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44" name="Oval 96">
              <a:extLst>
                <a:ext uri="{FF2B5EF4-FFF2-40B4-BE49-F238E27FC236}">
                  <a16:creationId xmlns:a16="http://schemas.microsoft.com/office/drawing/2014/main" id="{7B41FE35-B57B-DA9E-06E6-CC77FDB0E928}"/>
                </a:ext>
              </a:extLst>
            </p:cNvPr>
            <p:cNvSpPr/>
            <p:nvPr>
              <p:custDataLst>
                <p:tags r:id="rId27"/>
              </p:custDataLst>
            </p:nvPr>
          </p:nvSpPr>
          <p:spPr bwMode="gray">
            <a:xfrm>
              <a:off x="2998107" y="4208399"/>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45" name="Oval 97">
              <a:extLst>
                <a:ext uri="{FF2B5EF4-FFF2-40B4-BE49-F238E27FC236}">
                  <a16:creationId xmlns:a16="http://schemas.microsoft.com/office/drawing/2014/main" id="{08FA70E0-ECB1-3BFD-1EF4-8AE80D96504C}"/>
                </a:ext>
              </a:extLst>
            </p:cNvPr>
            <p:cNvSpPr/>
            <p:nvPr>
              <p:custDataLst>
                <p:tags r:id="rId28"/>
              </p:custDataLst>
            </p:nvPr>
          </p:nvSpPr>
          <p:spPr bwMode="gray">
            <a:xfrm>
              <a:off x="3150621" y="4083511"/>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46" name="Oval 98">
              <a:extLst>
                <a:ext uri="{FF2B5EF4-FFF2-40B4-BE49-F238E27FC236}">
                  <a16:creationId xmlns:a16="http://schemas.microsoft.com/office/drawing/2014/main" id="{CCF257FD-0CEE-7313-2701-FF54AC54EF91}"/>
                </a:ext>
              </a:extLst>
            </p:cNvPr>
            <p:cNvSpPr/>
            <p:nvPr>
              <p:custDataLst>
                <p:tags r:id="rId29"/>
              </p:custDataLst>
            </p:nvPr>
          </p:nvSpPr>
          <p:spPr bwMode="gray">
            <a:xfrm>
              <a:off x="2960473" y="4172722"/>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47" name="Oval 94">
              <a:extLst>
                <a:ext uri="{FF2B5EF4-FFF2-40B4-BE49-F238E27FC236}">
                  <a16:creationId xmlns:a16="http://schemas.microsoft.com/office/drawing/2014/main" id="{38115B5C-660F-518B-E275-8A342CAE944B}"/>
                </a:ext>
              </a:extLst>
            </p:cNvPr>
            <p:cNvSpPr/>
            <p:nvPr>
              <p:custDataLst>
                <p:tags r:id="rId30"/>
              </p:custDataLst>
            </p:nvPr>
          </p:nvSpPr>
          <p:spPr bwMode="gray">
            <a:xfrm>
              <a:off x="3382527" y="3262912"/>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48" name="Oval 95">
              <a:extLst>
                <a:ext uri="{FF2B5EF4-FFF2-40B4-BE49-F238E27FC236}">
                  <a16:creationId xmlns:a16="http://schemas.microsoft.com/office/drawing/2014/main" id="{B1D9E1F5-3A5F-AB8C-2C3E-AC0E2E6B4A42}"/>
                </a:ext>
              </a:extLst>
            </p:cNvPr>
            <p:cNvSpPr/>
            <p:nvPr>
              <p:custDataLst>
                <p:tags r:id="rId31"/>
              </p:custDataLst>
            </p:nvPr>
          </p:nvSpPr>
          <p:spPr bwMode="gray">
            <a:xfrm>
              <a:off x="3530941" y="3329807"/>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49" name="TextBox 110">
              <a:extLst>
                <a:ext uri="{FF2B5EF4-FFF2-40B4-BE49-F238E27FC236}">
                  <a16:creationId xmlns:a16="http://schemas.microsoft.com/office/drawing/2014/main" id="{DC181629-C567-94A1-212A-FCE1EF3A5CC1}"/>
                </a:ext>
              </a:extLst>
            </p:cNvPr>
            <p:cNvSpPr txBox="1"/>
            <p:nvPr>
              <p:custDataLst>
                <p:tags r:id="rId32"/>
              </p:custDataLst>
            </p:nvPr>
          </p:nvSpPr>
          <p:spPr bwMode="gray">
            <a:xfrm>
              <a:off x="2671816" y="2484117"/>
              <a:ext cx="312137" cy="127121"/>
            </a:xfrm>
            <a:prstGeom prst="rect">
              <a:avLst/>
            </a:prstGeom>
            <a:noFill/>
          </p:spPr>
          <p:txBody>
            <a:bodyPr wrap="non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353535"/>
                  </a:solidFill>
                  <a:effectLst/>
                  <a:uLnTx/>
                  <a:uFillTx/>
                  <a:latin typeface="Segoe UI Semilight"/>
                  <a:ea typeface="+mn-ea"/>
                  <a:cs typeface="Segoe UI Light" panose="020B0502040204020203" pitchFamily="34" charset="0"/>
                </a:rPr>
                <a:t>Ideas</a:t>
              </a:r>
            </a:p>
          </p:txBody>
        </p:sp>
        <p:sp>
          <p:nvSpPr>
            <p:cNvPr id="50" name="Oval 117">
              <a:extLst>
                <a:ext uri="{FF2B5EF4-FFF2-40B4-BE49-F238E27FC236}">
                  <a16:creationId xmlns:a16="http://schemas.microsoft.com/office/drawing/2014/main" id="{24D67DDF-B2AA-CBE7-997A-85B1C9843DC0}"/>
                </a:ext>
              </a:extLst>
            </p:cNvPr>
            <p:cNvSpPr/>
            <p:nvPr>
              <p:custDataLst>
                <p:tags r:id="rId33"/>
              </p:custDataLst>
            </p:nvPr>
          </p:nvSpPr>
          <p:spPr bwMode="gray">
            <a:xfrm>
              <a:off x="3654228" y="3205846"/>
              <a:ext cx="60132" cy="45719"/>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51" name="Oval 118">
              <a:extLst>
                <a:ext uri="{FF2B5EF4-FFF2-40B4-BE49-F238E27FC236}">
                  <a16:creationId xmlns:a16="http://schemas.microsoft.com/office/drawing/2014/main" id="{CF335118-8206-200E-3F12-C16C5FBAD52B}"/>
                </a:ext>
              </a:extLst>
            </p:cNvPr>
            <p:cNvSpPr/>
            <p:nvPr>
              <p:custDataLst>
                <p:tags r:id="rId34"/>
              </p:custDataLst>
            </p:nvPr>
          </p:nvSpPr>
          <p:spPr bwMode="gray">
            <a:xfrm>
              <a:off x="3670072" y="3405624"/>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cxnSp>
          <p:nvCxnSpPr>
            <p:cNvPr id="52" name="Straight Arrow Connector 140">
              <a:extLst>
                <a:ext uri="{FF2B5EF4-FFF2-40B4-BE49-F238E27FC236}">
                  <a16:creationId xmlns:a16="http://schemas.microsoft.com/office/drawing/2014/main" id="{B5604F7B-928E-8B50-602B-7D4A4E016724}"/>
                </a:ext>
              </a:extLst>
            </p:cNvPr>
            <p:cNvCxnSpPr>
              <a:cxnSpLocks/>
            </p:cNvCxnSpPr>
            <p:nvPr>
              <p:custDataLst>
                <p:tags r:id="rId35"/>
              </p:custDataLst>
            </p:nvPr>
          </p:nvCxnSpPr>
          <p:spPr bwMode="gray">
            <a:xfrm>
              <a:off x="3670072" y="3703921"/>
              <a:ext cx="5181503" cy="31727"/>
            </a:xfrm>
            <a:prstGeom prst="straightConnector1">
              <a:avLst/>
            </a:prstGeom>
            <a:noFill/>
            <a:ln w="28575" cap="rnd">
              <a:solidFill>
                <a:schemeClr val="bg1">
                  <a:lumMod val="50000"/>
                  <a:lumOff val="50000"/>
                </a:schemeClr>
              </a:solidFill>
              <a:prstDash val="solid"/>
              <a:miter lim="800000"/>
              <a:headEnd type="none" w="med" len="med"/>
              <a:tailEnd type="arrow" w="med" len="sm"/>
            </a:ln>
            <a:effectLst/>
          </p:spPr>
        </p:cxnSp>
        <p:sp>
          <p:nvSpPr>
            <p:cNvPr id="53" name="Oval 78">
              <a:extLst>
                <a:ext uri="{FF2B5EF4-FFF2-40B4-BE49-F238E27FC236}">
                  <a16:creationId xmlns:a16="http://schemas.microsoft.com/office/drawing/2014/main" id="{FDD201A9-250D-D119-27A0-23CA3902DAAE}"/>
                </a:ext>
              </a:extLst>
            </p:cNvPr>
            <p:cNvSpPr>
              <a:spLocks noChangeAspect="1"/>
            </p:cNvSpPr>
            <p:nvPr>
              <p:custDataLst>
                <p:tags r:id="rId36"/>
              </p:custDataLst>
            </p:nvPr>
          </p:nvSpPr>
          <p:spPr bwMode="gray">
            <a:xfrm>
              <a:off x="7913211" y="3462524"/>
              <a:ext cx="183293" cy="182880"/>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54" name="Oval 78">
              <a:extLst>
                <a:ext uri="{FF2B5EF4-FFF2-40B4-BE49-F238E27FC236}">
                  <a16:creationId xmlns:a16="http://schemas.microsoft.com/office/drawing/2014/main" id="{734EE16B-880B-5E13-5049-24589FA40883}"/>
                </a:ext>
              </a:extLst>
            </p:cNvPr>
            <p:cNvSpPr>
              <a:spLocks noChangeAspect="1"/>
            </p:cNvSpPr>
            <p:nvPr>
              <p:custDataLst>
                <p:tags r:id="rId37"/>
              </p:custDataLst>
            </p:nvPr>
          </p:nvSpPr>
          <p:spPr bwMode="gray">
            <a:xfrm>
              <a:off x="8256561" y="3462524"/>
              <a:ext cx="183293" cy="182880"/>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55" name="Oval 78">
              <a:extLst>
                <a:ext uri="{FF2B5EF4-FFF2-40B4-BE49-F238E27FC236}">
                  <a16:creationId xmlns:a16="http://schemas.microsoft.com/office/drawing/2014/main" id="{1340A688-AF44-C556-A24E-DCB07F255E0E}"/>
                </a:ext>
              </a:extLst>
            </p:cNvPr>
            <p:cNvSpPr>
              <a:spLocks noChangeAspect="1"/>
            </p:cNvSpPr>
            <p:nvPr>
              <p:custDataLst>
                <p:tags r:id="rId38"/>
              </p:custDataLst>
            </p:nvPr>
          </p:nvSpPr>
          <p:spPr bwMode="gray">
            <a:xfrm>
              <a:off x="8599911" y="3462524"/>
              <a:ext cx="183293" cy="182880"/>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56" name="TextBox 143">
              <a:extLst>
                <a:ext uri="{FF2B5EF4-FFF2-40B4-BE49-F238E27FC236}">
                  <a16:creationId xmlns:a16="http://schemas.microsoft.com/office/drawing/2014/main" id="{D7DF6A95-C600-DECD-D9D3-8E8C3D35F1DB}"/>
                </a:ext>
              </a:extLst>
            </p:cNvPr>
            <p:cNvSpPr txBox="1"/>
            <p:nvPr>
              <p:custDataLst>
                <p:tags r:id="rId39"/>
              </p:custDataLst>
            </p:nvPr>
          </p:nvSpPr>
          <p:spPr bwMode="gray">
            <a:xfrm>
              <a:off x="11147525" y="3552644"/>
              <a:ext cx="640466" cy="186002"/>
            </a:xfrm>
            <a:prstGeom prst="rect">
              <a:avLst/>
            </a:prstGeom>
            <a:noFill/>
          </p:spPr>
          <p:txBody>
            <a:bodyPr wrap="square" lIns="0" r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Segoe UI Semilight"/>
                  <a:ea typeface="+mn-ea"/>
                  <a:cs typeface="Segoe UI Light" panose="020B0502040204020203" pitchFamily="34" charset="0"/>
                </a:rPr>
                <a:t>Solutions</a:t>
              </a:r>
            </a:p>
          </p:txBody>
        </p:sp>
        <p:sp>
          <p:nvSpPr>
            <p:cNvPr id="57" name="Rectangle 56">
              <a:extLst>
                <a:ext uri="{FF2B5EF4-FFF2-40B4-BE49-F238E27FC236}">
                  <a16:creationId xmlns:a16="http://schemas.microsoft.com/office/drawing/2014/main" id="{BDBDD56D-1DE9-9D4E-2232-075AC4C26263}"/>
                </a:ext>
              </a:extLst>
            </p:cNvPr>
            <p:cNvSpPr/>
            <p:nvPr/>
          </p:nvSpPr>
          <p:spPr>
            <a:xfrm>
              <a:off x="9271480" y="1447256"/>
              <a:ext cx="2721522" cy="4137816"/>
            </a:xfrm>
            <a:prstGeom prst="rect">
              <a:avLst/>
            </a:prstGeom>
            <a:gradFill>
              <a:gsLst>
                <a:gs pos="2000">
                  <a:schemeClr val="tx1">
                    <a:lumMod val="95000"/>
                  </a:schemeClr>
                </a:gs>
                <a:gs pos="36000">
                  <a:schemeClr val="accent2">
                    <a:lumMod val="20000"/>
                    <a:lumOff val="80000"/>
                  </a:schemeClr>
                </a:gs>
                <a:gs pos="100000">
                  <a:srgbClr val="89CBFF"/>
                </a:gs>
              </a:gsLst>
              <a:lin ang="0" scaled="1"/>
            </a:gradFill>
            <a:ln w="6350">
              <a:solidFill>
                <a:srgbClr val="353535"/>
              </a:solid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8" name="Rectangle 45">
              <a:extLst>
                <a:ext uri="{FF2B5EF4-FFF2-40B4-BE49-F238E27FC236}">
                  <a16:creationId xmlns:a16="http://schemas.microsoft.com/office/drawing/2014/main" id="{83A8EB87-BF29-21B4-18EA-0CD4441F296D}"/>
                </a:ext>
              </a:extLst>
            </p:cNvPr>
            <p:cNvSpPr/>
            <p:nvPr>
              <p:custDataLst>
                <p:tags r:id="rId40"/>
              </p:custDataLst>
            </p:nvPr>
          </p:nvSpPr>
          <p:spPr bwMode="gray">
            <a:xfrm rot="10800000">
              <a:off x="9317699" y="2562485"/>
              <a:ext cx="1855045" cy="2084388"/>
            </a:xfrm>
            <a:custGeom>
              <a:avLst/>
              <a:gdLst/>
              <a:ahLst/>
              <a:cxnLst/>
              <a:rect l="l" t="t" r="r" b="b"/>
              <a:pathLst>
                <a:path w="8820062" h="1656184">
                  <a:moveTo>
                    <a:pt x="1251" y="1648036"/>
                  </a:moveTo>
                  <a:cubicBezTo>
                    <a:pt x="2900" y="1650426"/>
                    <a:pt x="5015" y="1651974"/>
                    <a:pt x="7420" y="1652682"/>
                  </a:cubicBezTo>
                  <a:cubicBezTo>
                    <a:pt x="5201" y="1653618"/>
                    <a:pt x="3221" y="1654901"/>
                    <a:pt x="1258" y="1656184"/>
                  </a:cubicBezTo>
                  <a:close/>
                  <a:moveTo>
                    <a:pt x="50113" y="28510"/>
                  </a:moveTo>
                  <a:cubicBezTo>
                    <a:pt x="595913" y="341389"/>
                    <a:pt x="2121759" y="576468"/>
                    <a:pt x="3991885" y="623088"/>
                  </a:cubicBezTo>
                  <a:lnTo>
                    <a:pt x="8820062" y="623088"/>
                  </a:lnTo>
                  <a:lnTo>
                    <a:pt x="8820062" y="1033097"/>
                  </a:lnTo>
                  <a:lnTo>
                    <a:pt x="4004334" y="1033097"/>
                  </a:lnTo>
                  <a:cubicBezTo>
                    <a:pt x="2131970" y="1079772"/>
                    <a:pt x="594176" y="1315358"/>
                    <a:pt x="49449" y="1628800"/>
                  </a:cubicBezTo>
                  <a:cubicBezTo>
                    <a:pt x="103735" y="1535765"/>
                    <a:pt x="143438" y="1212520"/>
                    <a:pt x="143438" y="828092"/>
                  </a:cubicBezTo>
                  <a:cubicBezTo>
                    <a:pt x="143438" y="445212"/>
                    <a:pt x="104055" y="123024"/>
                    <a:pt x="50113" y="28510"/>
                  </a:cubicBezTo>
                  <a:close/>
                  <a:moveTo>
                    <a:pt x="0" y="0"/>
                  </a:moveTo>
                  <a:lnTo>
                    <a:pt x="6622" y="3768"/>
                  </a:lnTo>
                  <a:cubicBezTo>
                    <a:pt x="4094" y="4831"/>
                    <a:pt x="1783" y="6648"/>
                    <a:pt x="7" y="9402"/>
                  </a:cubicBezTo>
                  <a:cubicBezTo>
                    <a:pt x="5" y="6268"/>
                    <a:pt x="3" y="3134"/>
                    <a:pt x="0" y="0"/>
                  </a:cubicBezTo>
                  <a:close/>
                </a:path>
              </a:pathLst>
            </a:custGeom>
            <a:solidFill>
              <a:schemeClr val="bg2"/>
            </a:solidFill>
            <a:ln w="12700">
              <a:solidFill>
                <a:srgbClr val="7F7F7F"/>
              </a:solidFill>
              <a:miter lim="800000"/>
              <a:headEnd/>
              <a:tailEnd/>
            </a:ln>
            <a:effectLst/>
          </p:spPr>
          <p:txBody>
            <a:bodyPr vert="horz" wrap="square" lIns="0" tIns="0" rIns="0" bIns="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20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59" name="Oval 105">
              <a:extLst>
                <a:ext uri="{FF2B5EF4-FFF2-40B4-BE49-F238E27FC236}">
                  <a16:creationId xmlns:a16="http://schemas.microsoft.com/office/drawing/2014/main" id="{57B543EE-0EE6-F364-D172-4FEBEF5A91C8}"/>
                </a:ext>
              </a:extLst>
            </p:cNvPr>
            <p:cNvSpPr/>
            <p:nvPr>
              <p:custDataLst>
                <p:tags r:id="rId41"/>
              </p:custDataLst>
            </p:nvPr>
          </p:nvSpPr>
          <p:spPr bwMode="gray">
            <a:xfrm>
              <a:off x="11083519" y="2562484"/>
              <a:ext cx="185872" cy="2097623"/>
            </a:xfrm>
            <a:prstGeom prst="ellipse">
              <a:avLst/>
            </a:prstGeom>
            <a:solidFill>
              <a:schemeClr val="bg2"/>
            </a:solidFill>
            <a:ln w="12700">
              <a:solidFill>
                <a:srgbClr val="FFFFFF"/>
              </a:solidFill>
              <a:miter lim="800000"/>
              <a:headEnd/>
              <a:tailEnd/>
            </a:ln>
            <a:effectLst/>
          </p:spPr>
          <p:txBody>
            <a:bodyPr vert="horz" wrap="square" lIns="0" tIns="0" rIns="0" bIns="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60" name="Oval 78">
              <a:extLst>
                <a:ext uri="{FF2B5EF4-FFF2-40B4-BE49-F238E27FC236}">
                  <a16:creationId xmlns:a16="http://schemas.microsoft.com/office/drawing/2014/main" id="{855FBB62-3164-EB6C-2612-DEAA84FFCD4B}"/>
                </a:ext>
              </a:extLst>
            </p:cNvPr>
            <p:cNvSpPr/>
            <p:nvPr>
              <p:custDataLst>
                <p:tags r:id="rId42"/>
              </p:custDataLst>
            </p:nvPr>
          </p:nvSpPr>
          <p:spPr bwMode="gray">
            <a:xfrm rot="12089743">
              <a:off x="11443410" y="2877295"/>
              <a:ext cx="343079" cy="347472"/>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61" name="Oval 78">
              <a:extLst>
                <a:ext uri="{FF2B5EF4-FFF2-40B4-BE49-F238E27FC236}">
                  <a16:creationId xmlns:a16="http://schemas.microsoft.com/office/drawing/2014/main" id="{896F5AAF-4907-8CA1-E900-52F46C20CE3B}"/>
                </a:ext>
              </a:extLst>
            </p:cNvPr>
            <p:cNvSpPr/>
            <p:nvPr>
              <p:custDataLst>
                <p:tags r:id="rId43"/>
              </p:custDataLst>
            </p:nvPr>
          </p:nvSpPr>
          <p:spPr bwMode="gray">
            <a:xfrm rot="12089743">
              <a:off x="11443410" y="3473386"/>
              <a:ext cx="343079" cy="347472"/>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62" name="Oval 78">
              <a:extLst>
                <a:ext uri="{FF2B5EF4-FFF2-40B4-BE49-F238E27FC236}">
                  <a16:creationId xmlns:a16="http://schemas.microsoft.com/office/drawing/2014/main" id="{C0AF6F74-3E80-8E80-26E9-DC419E2597C5}"/>
                </a:ext>
              </a:extLst>
            </p:cNvPr>
            <p:cNvSpPr/>
            <p:nvPr>
              <p:custDataLst>
                <p:tags r:id="rId44"/>
              </p:custDataLst>
            </p:nvPr>
          </p:nvSpPr>
          <p:spPr bwMode="gray">
            <a:xfrm rot="12089743">
              <a:off x="11443410" y="4069476"/>
              <a:ext cx="343079" cy="347472"/>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63" name="Freeform 134">
              <a:extLst>
                <a:ext uri="{FF2B5EF4-FFF2-40B4-BE49-F238E27FC236}">
                  <a16:creationId xmlns:a16="http://schemas.microsoft.com/office/drawing/2014/main" id="{DF77ABC8-24D0-07DC-F87F-F646704D05EC}"/>
                </a:ext>
              </a:extLst>
            </p:cNvPr>
            <p:cNvSpPr/>
            <p:nvPr>
              <p:custDataLst>
                <p:tags r:id="rId45"/>
              </p:custDataLst>
            </p:nvPr>
          </p:nvSpPr>
          <p:spPr bwMode="gray">
            <a:xfrm rot="10800000">
              <a:off x="10087541" y="3703922"/>
              <a:ext cx="890040" cy="157345"/>
            </a:xfrm>
            <a:custGeom>
              <a:avLst/>
              <a:gdLst>
                <a:gd name="connsiteX0" fmla="*/ 0 w 1805940"/>
                <a:gd name="connsiteY0" fmla="*/ 0 h 137160"/>
                <a:gd name="connsiteX1" fmla="*/ 1805940 w 1805940"/>
                <a:gd name="connsiteY1" fmla="*/ 137160 h 137160"/>
                <a:gd name="connsiteX0" fmla="*/ 0 w 1805940"/>
                <a:gd name="connsiteY0" fmla="*/ 0 h 137160"/>
                <a:gd name="connsiteX1" fmla="*/ 678180 w 1805940"/>
                <a:gd name="connsiteY1" fmla="*/ 53340 h 137160"/>
                <a:gd name="connsiteX2" fmla="*/ 1805940 w 1805940"/>
                <a:gd name="connsiteY2" fmla="*/ 137160 h 137160"/>
                <a:gd name="connsiteX0" fmla="*/ 0 w 1805940"/>
                <a:gd name="connsiteY0" fmla="*/ 0 h 137160"/>
                <a:gd name="connsiteX1" fmla="*/ 678180 w 1805940"/>
                <a:gd name="connsiteY1" fmla="*/ 53340 h 137160"/>
                <a:gd name="connsiteX2" fmla="*/ 1805940 w 1805940"/>
                <a:gd name="connsiteY2" fmla="*/ 137160 h 137160"/>
                <a:gd name="connsiteX0" fmla="*/ 0 w 1805940"/>
                <a:gd name="connsiteY0" fmla="*/ 0 h 137160"/>
                <a:gd name="connsiteX1" fmla="*/ 853440 w 1805940"/>
                <a:gd name="connsiteY1" fmla="*/ 99060 h 137160"/>
                <a:gd name="connsiteX2" fmla="*/ 1805940 w 1805940"/>
                <a:gd name="connsiteY2" fmla="*/ 137160 h 137160"/>
                <a:gd name="connsiteX0" fmla="*/ 0 w 1805940"/>
                <a:gd name="connsiteY0" fmla="*/ 0 h 137160"/>
                <a:gd name="connsiteX1" fmla="*/ 853440 w 1805940"/>
                <a:gd name="connsiteY1" fmla="*/ 99060 h 137160"/>
                <a:gd name="connsiteX2" fmla="*/ 1805940 w 1805940"/>
                <a:gd name="connsiteY2" fmla="*/ 137160 h 137160"/>
                <a:gd name="connsiteX0" fmla="*/ 0 w 1805940"/>
                <a:gd name="connsiteY0" fmla="*/ 0 h 137160"/>
                <a:gd name="connsiteX1" fmla="*/ 853440 w 1805940"/>
                <a:gd name="connsiteY1" fmla="*/ 99060 h 137160"/>
                <a:gd name="connsiteX2" fmla="*/ 1805940 w 1805940"/>
                <a:gd name="connsiteY2" fmla="*/ 137160 h 137160"/>
                <a:gd name="connsiteX0" fmla="*/ 0 w 1798320"/>
                <a:gd name="connsiteY0" fmla="*/ 0 h 114300"/>
                <a:gd name="connsiteX1" fmla="*/ 853440 w 1798320"/>
                <a:gd name="connsiteY1" fmla="*/ 99060 h 114300"/>
                <a:gd name="connsiteX2" fmla="*/ 1798320 w 1798320"/>
                <a:gd name="connsiteY2" fmla="*/ 114300 h 114300"/>
                <a:gd name="connsiteX0" fmla="*/ 0 w 1798320"/>
                <a:gd name="connsiteY0" fmla="*/ 0 h 114300"/>
                <a:gd name="connsiteX1" fmla="*/ 853440 w 1798320"/>
                <a:gd name="connsiteY1" fmla="*/ 99060 h 114300"/>
                <a:gd name="connsiteX2" fmla="*/ 1798320 w 1798320"/>
                <a:gd name="connsiteY2" fmla="*/ 114300 h 114300"/>
                <a:gd name="connsiteX0" fmla="*/ 0 w 1849120"/>
                <a:gd name="connsiteY0" fmla="*/ 0 h 158750"/>
                <a:gd name="connsiteX1" fmla="*/ 853440 w 1849120"/>
                <a:gd name="connsiteY1" fmla="*/ 99060 h 158750"/>
                <a:gd name="connsiteX2" fmla="*/ 1849120 w 1849120"/>
                <a:gd name="connsiteY2" fmla="*/ 158750 h 158750"/>
                <a:gd name="connsiteX0" fmla="*/ 0 w 1849120"/>
                <a:gd name="connsiteY0" fmla="*/ 0 h 158824"/>
                <a:gd name="connsiteX1" fmla="*/ 853440 w 1849120"/>
                <a:gd name="connsiteY1" fmla="*/ 99060 h 158824"/>
                <a:gd name="connsiteX2" fmla="*/ 1849120 w 1849120"/>
                <a:gd name="connsiteY2" fmla="*/ 158750 h 158824"/>
                <a:gd name="connsiteX0" fmla="*/ 0 w 1849120"/>
                <a:gd name="connsiteY0" fmla="*/ 0 h 158808"/>
                <a:gd name="connsiteX1" fmla="*/ 335915 w 1849120"/>
                <a:gd name="connsiteY1" fmla="*/ 60960 h 158808"/>
                <a:gd name="connsiteX2" fmla="*/ 853440 w 1849120"/>
                <a:gd name="connsiteY2" fmla="*/ 99060 h 158808"/>
                <a:gd name="connsiteX3" fmla="*/ 1849120 w 1849120"/>
                <a:gd name="connsiteY3" fmla="*/ 158750 h 158808"/>
                <a:gd name="connsiteX0" fmla="*/ 0 w 1849120"/>
                <a:gd name="connsiteY0" fmla="*/ 0 h 158750"/>
                <a:gd name="connsiteX1" fmla="*/ 335915 w 1849120"/>
                <a:gd name="connsiteY1" fmla="*/ 60960 h 158750"/>
                <a:gd name="connsiteX2" fmla="*/ 1849120 w 1849120"/>
                <a:gd name="connsiteY2" fmla="*/ 158750 h 158750"/>
                <a:gd name="connsiteX0" fmla="*/ 0 w 1849120"/>
                <a:gd name="connsiteY0" fmla="*/ 0 h 158750"/>
                <a:gd name="connsiteX1" fmla="*/ 1849120 w 1849120"/>
                <a:gd name="connsiteY1" fmla="*/ 158750 h 158750"/>
                <a:gd name="connsiteX0" fmla="*/ 0 w 1849120"/>
                <a:gd name="connsiteY0" fmla="*/ 0 h 158750"/>
                <a:gd name="connsiteX1" fmla="*/ 1849120 w 1849120"/>
                <a:gd name="connsiteY1" fmla="*/ 158750 h 158750"/>
                <a:gd name="connsiteX0" fmla="*/ 0 w 1849120"/>
                <a:gd name="connsiteY0" fmla="*/ 0 h 158750"/>
                <a:gd name="connsiteX1" fmla="*/ 1849120 w 1849120"/>
                <a:gd name="connsiteY1" fmla="*/ 158750 h 158750"/>
                <a:gd name="connsiteX0" fmla="*/ 0 w 1849120"/>
                <a:gd name="connsiteY0" fmla="*/ 0 h 158771"/>
                <a:gd name="connsiteX1" fmla="*/ 1849120 w 1849120"/>
                <a:gd name="connsiteY1" fmla="*/ 158750 h 158771"/>
                <a:gd name="connsiteX0" fmla="*/ 0 w 1849120"/>
                <a:gd name="connsiteY0" fmla="*/ 0 h 158782"/>
                <a:gd name="connsiteX1" fmla="*/ 1849120 w 1849120"/>
                <a:gd name="connsiteY1" fmla="*/ 158750 h 158782"/>
              </a:gdLst>
              <a:ahLst/>
              <a:cxnLst>
                <a:cxn ang="0">
                  <a:pos x="connsiteX0" y="connsiteY0"/>
                </a:cxn>
                <a:cxn ang="0">
                  <a:pos x="connsiteX1" y="connsiteY1"/>
                </a:cxn>
              </a:cxnLst>
              <a:rect l="l" t="t" r="r" b="b"/>
              <a:pathLst>
                <a:path w="1849120" h="158782">
                  <a:moveTo>
                    <a:pt x="0" y="0"/>
                  </a:moveTo>
                  <a:cubicBezTo>
                    <a:pt x="536998" y="135467"/>
                    <a:pt x="1181947" y="159808"/>
                    <a:pt x="1849120" y="158750"/>
                  </a:cubicBezTo>
                </a:path>
              </a:pathLst>
            </a:custGeom>
            <a:noFill/>
            <a:ln w="12700" cap="rnd">
              <a:solidFill>
                <a:srgbClr val="7F7F7F"/>
              </a:solidFill>
              <a:prstDash val="sysDash"/>
              <a:miter lim="800000"/>
              <a:headEnd type="triangle" w="lg" len="med"/>
              <a:tailEnd type="triangle"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53535"/>
                </a:solidFill>
                <a:effectLst/>
                <a:uLnTx/>
                <a:uFillTx/>
                <a:latin typeface="Segoe UI Semilight"/>
                <a:ea typeface="+mn-ea"/>
                <a:cs typeface="Segoe UI Light" panose="020B0502040204020203" pitchFamily="34" charset="0"/>
              </a:endParaRPr>
            </a:p>
          </p:txBody>
        </p:sp>
        <p:sp>
          <p:nvSpPr>
            <p:cNvPr id="64" name="Freeform 135">
              <a:extLst>
                <a:ext uri="{FF2B5EF4-FFF2-40B4-BE49-F238E27FC236}">
                  <a16:creationId xmlns:a16="http://schemas.microsoft.com/office/drawing/2014/main" id="{2B446008-1052-4249-7808-BEF852873313}"/>
                </a:ext>
              </a:extLst>
            </p:cNvPr>
            <p:cNvSpPr/>
            <p:nvPr>
              <p:custDataLst>
                <p:tags r:id="rId46"/>
              </p:custDataLst>
            </p:nvPr>
          </p:nvSpPr>
          <p:spPr bwMode="gray">
            <a:xfrm rot="10800000" flipV="1">
              <a:off x="10087541" y="3377519"/>
              <a:ext cx="890040" cy="157345"/>
            </a:xfrm>
            <a:custGeom>
              <a:avLst/>
              <a:gdLst>
                <a:gd name="connsiteX0" fmla="*/ 0 w 1805940"/>
                <a:gd name="connsiteY0" fmla="*/ 0 h 137160"/>
                <a:gd name="connsiteX1" fmla="*/ 1805940 w 1805940"/>
                <a:gd name="connsiteY1" fmla="*/ 137160 h 137160"/>
                <a:gd name="connsiteX0" fmla="*/ 0 w 1805940"/>
                <a:gd name="connsiteY0" fmla="*/ 0 h 137160"/>
                <a:gd name="connsiteX1" fmla="*/ 678180 w 1805940"/>
                <a:gd name="connsiteY1" fmla="*/ 53340 h 137160"/>
                <a:gd name="connsiteX2" fmla="*/ 1805940 w 1805940"/>
                <a:gd name="connsiteY2" fmla="*/ 137160 h 137160"/>
                <a:gd name="connsiteX0" fmla="*/ 0 w 1805940"/>
                <a:gd name="connsiteY0" fmla="*/ 0 h 137160"/>
                <a:gd name="connsiteX1" fmla="*/ 678180 w 1805940"/>
                <a:gd name="connsiteY1" fmla="*/ 53340 h 137160"/>
                <a:gd name="connsiteX2" fmla="*/ 1805940 w 1805940"/>
                <a:gd name="connsiteY2" fmla="*/ 137160 h 137160"/>
                <a:gd name="connsiteX0" fmla="*/ 0 w 1805940"/>
                <a:gd name="connsiteY0" fmla="*/ 0 h 137160"/>
                <a:gd name="connsiteX1" fmla="*/ 853440 w 1805940"/>
                <a:gd name="connsiteY1" fmla="*/ 99060 h 137160"/>
                <a:gd name="connsiteX2" fmla="*/ 1805940 w 1805940"/>
                <a:gd name="connsiteY2" fmla="*/ 137160 h 137160"/>
                <a:gd name="connsiteX0" fmla="*/ 0 w 1805940"/>
                <a:gd name="connsiteY0" fmla="*/ 0 h 137160"/>
                <a:gd name="connsiteX1" fmla="*/ 853440 w 1805940"/>
                <a:gd name="connsiteY1" fmla="*/ 99060 h 137160"/>
                <a:gd name="connsiteX2" fmla="*/ 1805940 w 1805940"/>
                <a:gd name="connsiteY2" fmla="*/ 137160 h 137160"/>
                <a:gd name="connsiteX0" fmla="*/ 0 w 1805940"/>
                <a:gd name="connsiteY0" fmla="*/ 0 h 137160"/>
                <a:gd name="connsiteX1" fmla="*/ 853440 w 1805940"/>
                <a:gd name="connsiteY1" fmla="*/ 99060 h 137160"/>
                <a:gd name="connsiteX2" fmla="*/ 1805940 w 1805940"/>
                <a:gd name="connsiteY2" fmla="*/ 137160 h 137160"/>
                <a:gd name="connsiteX0" fmla="*/ 0 w 1798320"/>
                <a:gd name="connsiteY0" fmla="*/ 0 h 114300"/>
                <a:gd name="connsiteX1" fmla="*/ 853440 w 1798320"/>
                <a:gd name="connsiteY1" fmla="*/ 99060 h 114300"/>
                <a:gd name="connsiteX2" fmla="*/ 1798320 w 1798320"/>
                <a:gd name="connsiteY2" fmla="*/ 114300 h 114300"/>
                <a:gd name="connsiteX0" fmla="*/ 0 w 1798320"/>
                <a:gd name="connsiteY0" fmla="*/ 0 h 114300"/>
                <a:gd name="connsiteX1" fmla="*/ 853440 w 1798320"/>
                <a:gd name="connsiteY1" fmla="*/ 99060 h 114300"/>
                <a:gd name="connsiteX2" fmla="*/ 1798320 w 1798320"/>
                <a:gd name="connsiteY2" fmla="*/ 114300 h 114300"/>
                <a:gd name="connsiteX0" fmla="*/ 0 w 1849120"/>
                <a:gd name="connsiteY0" fmla="*/ 0 h 158750"/>
                <a:gd name="connsiteX1" fmla="*/ 853440 w 1849120"/>
                <a:gd name="connsiteY1" fmla="*/ 99060 h 158750"/>
                <a:gd name="connsiteX2" fmla="*/ 1849120 w 1849120"/>
                <a:gd name="connsiteY2" fmla="*/ 158750 h 158750"/>
                <a:gd name="connsiteX0" fmla="*/ 0 w 1849120"/>
                <a:gd name="connsiteY0" fmla="*/ 0 h 158824"/>
                <a:gd name="connsiteX1" fmla="*/ 853440 w 1849120"/>
                <a:gd name="connsiteY1" fmla="*/ 99060 h 158824"/>
                <a:gd name="connsiteX2" fmla="*/ 1849120 w 1849120"/>
                <a:gd name="connsiteY2" fmla="*/ 158750 h 158824"/>
                <a:gd name="connsiteX0" fmla="*/ 0 w 1849120"/>
                <a:gd name="connsiteY0" fmla="*/ 0 h 158808"/>
                <a:gd name="connsiteX1" fmla="*/ 335915 w 1849120"/>
                <a:gd name="connsiteY1" fmla="*/ 60960 h 158808"/>
                <a:gd name="connsiteX2" fmla="*/ 853440 w 1849120"/>
                <a:gd name="connsiteY2" fmla="*/ 99060 h 158808"/>
                <a:gd name="connsiteX3" fmla="*/ 1849120 w 1849120"/>
                <a:gd name="connsiteY3" fmla="*/ 158750 h 158808"/>
                <a:gd name="connsiteX0" fmla="*/ 0 w 1849120"/>
                <a:gd name="connsiteY0" fmla="*/ 0 h 158750"/>
                <a:gd name="connsiteX1" fmla="*/ 335915 w 1849120"/>
                <a:gd name="connsiteY1" fmla="*/ 60960 h 158750"/>
                <a:gd name="connsiteX2" fmla="*/ 1849120 w 1849120"/>
                <a:gd name="connsiteY2" fmla="*/ 158750 h 158750"/>
                <a:gd name="connsiteX0" fmla="*/ 0 w 1849120"/>
                <a:gd name="connsiteY0" fmla="*/ 0 h 158750"/>
                <a:gd name="connsiteX1" fmla="*/ 1849120 w 1849120"/>
                <a:gd name="connsiteY1" fmla="*/ 158750 h 158750"/>
                <a:gd name="connsiteX0" fmla="*/ 0 w 1849120"/>
                <a:gd name="connsiteY0" fmla="*/ 0 h 158750"/>
                <a:gd name="connsiteX1" fmla="*/ 1849120 w 1849120"/>
                <a:gd name="connsiteY1" fmla="*/ 158750 h 158750"/>
                <a:gd name="connsiteX0" fmla="*/ 0 w 1849120"/>
                <a:gd name="connsiteY0" fmla="*/ 0 h 158750"/>
                <a:gd name="connsiteX1" fmla="*/ 1849120 w 1849120"/>
                <a:gd name="connsiteY1" fmla="*/ 158750 h 158750"/>
                <a:gd name="connsiteX0" fmla="*/ 0 w 1849120"/>
                <a:gd name="connsiteY0" fmla="*/ 0 h 158771"/>
                <a:gd name="connsiteX1" fmla="*/ 1849120 w 1849120"/>
                <a:gd name="connsiteY1" fmla="*/ 158750 h 158771"/>
                <a:gd name="connsiteX0" fmla="*/ 0 w 1849120"/>
                <a:gd name="connsiteY0" fmla="*/ 0 h 158782"/>
                <a:gd name="connsiteX1" fmla="*/ 1849120 w 1849120"/>
                <a:gd name="connsiteY1" fmla="*/ 158750 h 158782"/>
              </a:gdLst>
              <a:ahLst/>
              <a:cxnLst>
                <a:cxn ang="0">
                  <a:pos x="connsiteX0" y="connsiteY0"/>
                </a:cxn>
                <a:cxn ang="0">
                  <a:pos x="connsiteX1" y="connsiteY1"/>
                </a:cxn>
              </a:cxnLst>
              <a:rect l="l" t="t" r="r" b="b"/>
              <a:pathLst>
                <a:path w="1849120" h="158782">
                  <a:moveTo>
                    <a:pt x="0" y="0"/>
                  </a:moveTo>
                  <a:cubicBezTo>
                    <a:pt x="536998" y="135467"/>
                    <a:pt x="1181947" y="159808"/>
                    <a:pt x="1849120" y="158750"/>
                  </a:cubicBezTo>
                </a:path>
              </a:pathLst>
            </a:custGeom>
            <a:noFill/>
            <a:ln w="12700" cap="rnd">
              <a:solidFill>
                <a:srgbClr val="7F7F7F"/>
              </a:solidFill>
              <a:prstDash val="sysDash"/>
              <a:miter lim="800000"/>
              <a:headEnd type="triangle" w="lg" len="med"/>
              <a:tailEnd type="triangle"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353535"/>
                </a:solidFill>
                <a:effectLst/>
                <a:uLnTx/>
                <a:uFillTx/>
                <a:latin typeface="Segoe UI Semilight"/>
                <a:ea typeface="+mn-ea"/>
                <a:cs typeface="Segoe UI Light" panose="020B0502040204020203" pitchFamily="34" charset="0"/>
              </a:endParaRPr>
            </a:p>
          </p:txBody>
        </p:sp>
        <p:cxnSp>
          <p:nvCxnSpPr>
            <p:cNvPr id="65" name="Straight Arrow Connector 137">
              <a:extLst>
                <a:ext uri="{FF2B5EF4-FFF2-40B4-BE49-F238E27FC236}">
                  <a16:creationId xmlns:a16="http://schemas.microsoft.com/office/drawing/2014/main" id="{3E072E31-9D8F-9CFF-7B8C-82ED236151C1}"/>
                </a:ext>
              </a:extLst>
            </p:cNvPr>
            <p:cNvCxnSpPr/>
            <p:nvPr>
              <p:custDataLst>
                <p:tags r:id="rId47"/>
              </p:custDataLst>
            </p:nvPr>
          </p:nvCxnSpPr>
          <p:spPr bwMode="gray">
            <a:xfrm rot="10800000">
              <a:off x="10087541" y="3619393"/>
              <a:ext cx="890040" cy="0"/>
            </a:xfrm>
            <a:prstGeom prst="straightConnector1">
              <a:avLst/>
            </a:prstGeom>
            <a:noFill/>
            <a:ln w="12700" cap="rnd">
              <a:solidFill>
                <a:srgbClr val="7F7F7F"/>
              </a:solidFill>
              <a:prstDash val="sysDash"/>
              <a:miter lim="800000"/>
              <a:headEnd type="triangle" w="lg" len="med"/>
              <a:tailEnd type="triangle" w="med" len="sm"/>
            </a:ln>
            <a:effectLst/>
          </p:spPr>
        </p:cxnSp>
        <p:sp>
          <p:nvSpPr>
            <p:cNvPr id="66" name="Rectangle 65">
              <a:extLst>
                <a:ext uri="{FF2B5EF4-FFF2-40B4-BE49-F238E27FC236}">
                  <a16:creationId xmlns:a16="http://schemas.microsoft.com/office/drawing/2014/main" id="{65050688-B998-BD10-5774-2B0198FE759F}"/>
                </a:ext>
              </a:extLst>
            </p:cNvPr>
            <p:cNvSpPr/>
            <p:nvPr/>
          </p:nvSpPr>
          <p:spPr>
            <a:xfrm>
              <a:off x="9318809" y="2775144"/>
              <a:ext cx="1158965" cy="502470"/>
            </a:xfrm>
            <a:prstGeom prst="rect">
              <a:avLst/>
            </a:prstGeom>
            <a:solidFill>
              <a:srgbClr val="0078D4"/>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gile Scale of Solutions</a:t>
              </a:r>
            </a:p>
          </p:txBody>
        </p:sp>
        <p:sp>
          <p:nvSpPr>
            <p:cNvPr id="67" name="Rectangle 66">
              <a:extLst>
                <a:ext uri="{FF2B5EF4-FFF2-40B4-BE49-F238E27FC236}">
                  <a16:creationId xmlns:a16="http://schemas.microsoft.com/office/drawing/2014/main" id="{D2C68D38-55EC-ED2C-2971-F5455A479987}"/>
                </a:ext>
              </a:extLst>
            </p:cNvPr>
            <p:cNvSpPr/>
            <p:nvPr/>
          </p:nvSpPr>
          <p:spPr>
            <a:xfrm>
              <a:off x="10781948" y="4766380"/>
              <a:ext cx="1095701" cy="500939"/>
            </a:xfrm>
            <a:prstGeom prst="rect">
              <a:avLst/>
            </a:prstGeom>
            <a:solidFill>
              <a:srgbClr val="0078D4"/>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ntinuous  Value</a:t>
              </a:r>
            </a:p>
          </p:txBody>
        </p:sp>
        <p:sp>
          <p:nvSpPr>
            <p:cNvPr id="69" name="Rectangle 68">
              <a:extLst>
                <a:ext uri="{FF2B5EF4-FFF2-40B4-BE49-F238E27FC236}">
                  <a16:creationId xmlns:a16="http://schemas.microsoft.com/office/drawing/2014/main" id="{2CA06B32-18F7-EEA4-617E-9E36CB14CE09}"/>
                </a:ext>
              </a:extLst>
            </p:cNvPr>
            <p:cNvSpPr/>
            <p:nvPr/>
          </p:nvSpPr>
          <p:spPr>
            <a:xfrm>
              <a:off x="3661199" y="4769994"/>
              <a:ext cx="2549563" cy="506209"/>
            </a:xfrm>
            <a:prstGeom prst="rect">
              <a:avLst/>
            </a:prstGeom>
            <a:solidFill>
              <a:srgbClr val="0078D4"/>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I Experimentation:  Feasibility, Business Value, Viability in Production</a:t>
              </a:r>
            </a:p>
          </p:txBody>
        </p:sp>
        <p:cxnSp>
          <p:nvCxnSpPr>
            <p:cNvPr id="70" name="Straight Connector 69">
              <a:extLst>
                <a:ext uri="{FF2B5EF4-FFF2-40B4-BE49-F238E27FC236}">
                  <a16:creationId xmlns:a16="http://schemas.microsoft.com/office/drawing/2014/main" id="{458F85D7-C1B9-BA99-F2E5-572FC74D4E5E}"/>
                </a:ext>
              </a:extLst>
            </p:cNvPr>
            <p:cNvCxnSpPr>
              <a:cxnSpLocks/>
            </p:cNvCxnSpPr>
            <p:nvPr/>
          </p:nvCxnSpPr>
          <p:spPr>
            <a:xfrm>
              <a:off x="4732986" y="3228705"/>
              <a:ext cx="0" cy="789997"/>
            </a:xfrm>
            <a:prstGeom prst="line">
              <a:avLst/>
            </a:prstGeom>
            <a:noFill/>
            <a:ln w="22225" cap="flat" cmpd="sng" algn="ctr">
              <a:solidFill>
                <a:schemeClr val="tx1">
                  <a:lumMod val="75000"/>
                </a:schemeClr>
              </a:solidFill>
              <a:prstDash val="lgDash"/>
              <a:headEnd type="none"/>
              <a:tailEnd type="none"/>
            </a:ln>
            <a:effectLst/>
          </p:spPr>
        </p:cxnSp>
        <p:cxnSp>
          <p:nvCxnSpPr>
            <p:cNvPr id="71" name="Straight Connector 70">
              <a:extLst>
                <a:ext uri="{FF2B5EF4-FFF2-40B4-BE49-F238E27FC236}">
                  <a16:creationId xmlns:a16="http://schemas.microsoft.com/office/drawing/2014/main" id="{357A723C-0450-FFB9-372B-838845A7EDCA}"/>
                </a:ext>
              </a:extLst>
            </p:cNvPr>
            <p:cNvCxnSpPr>
              <a:cxnSpLocks/>
            </p:cNvCxnSpPr>
            <p:nvPr/>
          </p:nvCxnSpPr>
          <p:spPr>
            <a:xfrm>
              <a:off x="6210994" y="3375009"/>
              <a:ext cx="0" cy="444567"/>
            </a:xfrm>
            <a:prstGeom prst="line">
              <a:avLst/>
            </a:prstGeom>
            <a:noFill/>
            <a:ln w="22225" cap="flat" cmpd="sng" algn="ctr">
              <a:solidFill>
                <a:schemeClr val="tx1">
                  <a:lumMod val="75000"/>
                </a:schemeClr>
              </a:solidFill>
              <a:prstDash val="lgDash"/>
              <a:headEnd type="none"/>
              <a:tailEnd type="none"/>
            </a:ln>
            <a:effectLst/>
          </p:spPr>
        </p:cxnSp>
        <p:sp>
          <p:nvSpPr>
            <p:cNvPr id="72" name="Rectangle 71">
              <a:extLst>
                <a:ext uri="{FF2B5EF4-FFF2-40B4-BE49-F238E27FC236}">
                  <a16:creationId xmlns:a16="http://schemas.microsoft.com/office/drawing/2014/main" id="{4E106348-7B65-23A3-1E56-CC2E0D99D0AF}"/>
                </a:ext>
              </a:extLst>
            </p:cNvPr>
            <p:cNvSpPr/>
            <p:nvPr/>
          </p:nvSpPr>
          <p:spPr>
            <a:xfrm>
              <a:off x="6334168" y="4766381"/>
              <a:ext cx="1258923" cy="506209"/>
            </a:xfrm>
            <a:prstGeom prst="rect">
              <a:avLst/>
            </a:prstGeom>
            <a:solidFill>
              <a:srgbClr val="0078D4"/>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Use Case prioritization</a:t>
              </a:r>
            </a:p>
          </p:txBody>
        </p:sp>
        <p:cxnSp>
          <p:nvCxnSpPr>
            <p:cNvPr id="73" name="Straight Connector 72">
              <a:extLst>
                <a:ext uri="{FF2B5EF4-FFF2-40B4-BE49-F238E27FC236}">
                  <a16:creationId xmlns:a16="http://schemas.microsoft.com/office/drawing/2014/main" id="{45843271-501C-BEF8-FEE8-A1D2C91D2FEF}"/>
                </a:ext>
              </a:extLst>
            </p:cNvPr>
            <p:cNvCxnSpPr>
              <a:cxnSpLocks/>
            </p:cNvCxnSpPr>
            <p:nvPr/>
          </p:nvCxnSpPr>
          <p:spPr>
            <a:xfrm>
              <a:off x="7674034" y="3372804"/>
              <a:ext cx="1027" cy="467246"/>
            </a:xfrm>
            <a:prstGeom prst="line">
              <a:avLst/>
            </a:prstGeom>
            <a:noFill/>
            <a:ln w="22225" cap="flat" cmpd="sng" algn="ctr">
              <a:solidFill>
                <a:schemeClr val="tx1">
                  <a:lumMod val="75000"/>
                </a:schemeClr>
              </a:solidFill>
              <a:prstDash val="lgDash"/>
              <a:headEnd type="none"/>
              <a:tailEnd type="none"/>
            </a:ln>
            <a:effectLst/>
          </p:spPr>
        </p:cxnSp>
        <p:sp>
          <p:nvSpPr>
            <p:cNvPr id="74" name="Rectangle 73">
              <a:extLst>
                <a:ext uri="{FF2B5EF4-FFF2-40B4-BE49-F238E27FC236}">
                  <a16:creationId xmlns:a16="http://schemas.microsoft.com/office/drawing/2014/main" id="{10985C4D-EAB9-D7BC-8079-E835FB36E9C2}"/>
                </a:ext>
              </a:extLst>
            </p:cNvPr>
            <p:cNvSpPr/>
            <p:nvPr/>
          </p:nvSpPr>
          <p:spPr>
            <a:xfrm>
              <a:off x="2535247" y="4766380"/>
              <a:ext cx="939439" cy="506210"/>
            </a:xfrm>
            <a:prstGeom prst="rect">
              <a:avLst/>
            </a:prstGeom>
            <a:solidFill>
              <a:srgbClr val="0078D4"/>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ata Discovery &amp; Assessments</a:t>
              </a:r>
            </a:p>
          </p:txBody>
        </p:sp>
        <p:sp>
          <p:nvSpPr>
            <p:cNvPr id="75" name="Oval 78">
              <a:extLst>
                <a:ext uri="{FF2B5EF4-FFF2-40B4-BE49-F238E27FC236}">
                  <a16:creationId xmlns:a16="http://schemas.microsoft.com/office/drawing/2014/main" id="{55607719-6EEA-5D7B-3CA4-7DE44BA3ABD6}"/>
                </a:ext>
              </a:extLst>
            </p:cNvPr>
            <p:cNvSpPr/>
            <p:nvPr>
              <p:custDataLst>
                <p:tags r:id="rId48"/>
              </p:custDataLst>
            </p:nvPr>
          </p:nvSpPr>
          <p:spPr bwMode="gray">
            <a:xfrm>
              <a:off x="2974387" y="2614803"/>
              <a:ext cx="81392" cy="83928"/>
            </a:xfrm>
            <a:prstGeom prst="ellipse">
              <a:avLst/>
            </a:prstGeom>
            <a:solidFill>
              <a:srgbClr val="0078D7"/>
            </a:solidFill>
            <a:ln w="12700">
              <a:solidFill>
                <a:srgbClr val="FFFFFF"/>
              </a:solidFill>
              <a:miter lim="800000"/>
              <a:headEnd/>
              <a:tailEnd/>
            </a:ln>
            <a:effectLst/>
          </p:spPr>
          <p:txBody>
            <a:bodyPr vert="horz" wrap="square" lIns="72000" tIns="72000" rIns="72000" bIns="7200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en-GB" sz="1600" b="0" i="0" u="none" strike="noStrike" kern="0" cap="none" spc="0" normalizeH="0" baseline="0" noProof="0">
                <a:ln>
                  <a:noFill/>
                </a:ln>
                <a:solidFill>
                  <a:sysClr val="windowText" lastClr="000000"/>
                </a:solidFill>
                <a:effectLst/>
                <a:uLnTx/>
                <a:uFillTx/>
                <a:latin typeface="Segoe UI Semilight"/>
                <a:ea typeface="+mn-ea"/>
                <a:cs typeface="Segoe UI Light" panose="020B0502040204020203" pitchFamily="34" charset="0"/>
              </a:endParaRPr>
            </a:p>
          </p:txBody>
        </p:sp>
        <p:sp>
          <p:nvSpPr>
            <p:cNvPr id="76" name="Rectangle 75">
              <a:extLst>
                <a:ext uri="{FF2B5EF4-FFF2-40B4-BE49-F238E27FC236}">
                  <a16:creationId xmlns:a16="http://schemas.microsoft.com/office/drawing/2014/main" id="{E9A5C8DC-FC14-AD6D-09AD-129CBB6A775C}"/>
                </a:ext>
              </a:extLst>
            </p:cNvPr>
            <p:cNvSpPr/>
            <p:nvPr/>
          </p:nvSpPr>
          <p:spPr bwMode="auto">
            <a:xfrm>
              <a:off x="4452671" y="2035586"/>
              <a:ext cx="3356794" cy="510023"/>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rPr>
                <a:t>AI/Data Platform Enablement</a:t>
              </a:r>
            </a:p>
          </p:txBody>
        </p:sp>
        <p:pic>
          <p:nvPicPr>
            <p:cNvPr id="77" name="Graphic 76" descr="Repeat with solid fill">
              <a:extLst>
                <a:ext uri="{FF2B5EF4-FFF2-40B4-BE49-F238E27FC236}">
                  <a16:creationId xmlns:a16="http://schemas.microsoft.com/office/drawing/2014/main" id="{6E91EDD2-5A64-8CC9-0974-3086CC47C31A}"/>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a:off x="4551268" y="2111172"/>
              <a:ext cx="365760" cy="365760"/>
            </a:xfrm>
            <a:prstGeom prst="rect">
              <a:avLst/>
            </a:prstGeom>
          </p:spPr>
        </p:pic>
        <p:sp>
          <p:nvSpPr>
            <p:cNvPr id="78" name="Rectangle 77">
              <a:extLst>
                <a:ext uri="{FF2B5EF4-FFF2-40B4-BE49-F238E27FC236}">
                  <a16:creationId xmlns:a16="http://schemas.microsoft.com/office/drawing/2014/main" id="{9C35C681-6802-4E61-49C1-8847321A9636}"/>
                </a:ext>
              </a:extLst>
            </p:cNvPr>
            <p:cNvSpPr/>
            <p:nvPr/>
          </p:nvSpPr>
          <p:spPr>
            <a:xfrm>
              <a:off x="9442313" y="4768250"/>
              <a:ext cx="1095701" cy="499069"/>
            </a:xfrm>
            <a:prstGeom prst="rect">
              <a:avLst/>
            </a:prstGeom>
            <a:solidFill>
              <a:srgbClr val="0078D4"/>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Performance monitor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Feedback loops</a:t>
              </a:r>
            </a:p>
          </p:txBody>
        </p:sp>
        <p:sp>
          <p:nvSpPr>
            <p:cNvPr id="79" name="Rectangle 78">
              <a:extLst>
                <a:ext uri="{FF2B5EF4-FFF2-40B4-BE49-F238E27FC236}">
                  <a16:creationId xmlns:a16="http://schemas.microsoft.com/office/drawing/2014/main" id="{70C8B985-EB1C-6E04-4F64-0E27207CBDFC}"/>
                </a:ext>
              </a:extLst>
            </p:cNvPr>
            <p:cNvSpPr/>
            <p:nvPr/>
          </p:nvSpPr>
          <p:spPr bwMode="auto">
            <a:xfrm>
              <a:off x="9271480" y="1445074"/>
              <a:ext cx="2721522" cy="393769"/>
            </a:xfrm>
            <a:prstGeom prst="rect">
              <a:avLst/>
            </a:prstGeom>
            <a:solidFill>
              <a:srgbClr val="003C6C"/>
            </a:solidFill>
            <a:ln w="6350" cap="flat" cmpd="sng" algn="ctr">
              <a:solidFill>
                <a:srgbClr val="353535"/>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800" b="1"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I Delivery Factory</a:t>
              </a:r>
            </a:p>
          </p:txBody>
        </p:sp>
        <p:cxnSp>
          <p:nvCxnSpPr>
            <p:cNvPr id="80" name="Straight Connector 79">
              <a:extLst>
                <a:ext uri="{FF2B5EF4-FFF2-40B4-BE49-F238E27FC236}">
                  <a16:creationId xmlns:a16="http://schemas.microsoft.com/office/drawing/2014/main" id="{DE3EE5C8-ED6F-AB6A-5F2D-A93425B77CD1}"/>
                </a:ext>
              </a:extLst>
            </p:cNvPr>
            <p:cNvCxnSpPr>
              <a:cxnSpLocks/>
            </p:cNvCxnSpPr>
            <p:nvPr/>
          </p:nvCxnSpPr>
          <p:spPr>
            <a:xfrm>
              <a:off x="7268440" y="3735648"/>
              <a:ext cx="0" cy="644687"/>
            </a:xfrm>
            <a:prstGeom prst="line">
              <a:avLst/>
            </a:prstGeom>
            <a:noFill/>
            <a:ln w="28575" cap="rnd">
              <a:solidFill>
                <a:schemeClr val="bg1">
                  <a:lumMod val="50000"/>
                  <a:lumOff val="50000"/>
                </a:schemeClr>
              </a:solidFill>
              <a:prstDash val="solid"/>
              <a:miter lim="800000"/>
              <a:headEnd type="none" w="med" len="med"/>
              <a:tailEnd type="none" w="med" len="sm"/>
            </a:ln>
            <a:effectLst/>
          </p:spPr>
        </p:cxnSp>
        <p:cxnSp>
          <p:nvCxnSpPr>
            <p:cNvPr id="81" name="Straight Connector 80">
              <a:extLst>
                <a:ext uri="{FF2B5EF4-FFF2-40B4-BE49-F238E27FC236}">
                  <a16:creationId xmlns:a16="http://schemas.microsoft.com/office/drawing/2014/main" id="{DA855FFE-8AE8-5A51-44FA-484E18DCBD10}"/>
                </a:ext>
              </a:extLst>
            </p:cNvPr>
            <p:cNvCxnSpPr>
              <a:cxnSpLocks/>
            </p:cNvCxnSpPr>
            <p:nvPr/>
          </p:nvCxnSpPr>
          <p:spPr>
            <a:xfrm flipV="1">
              <a:off x="9694709" y="3861267"/>
              <a:ext cx="0" cy="508703"/>
            </a:xfrm>
            <a:prstGeom prst="line">
              <a:avLst/>
            </a:prstGeom>
            <a:noFill/>
            <a:ln w="28575" cap="rnd">
              <a:solidFill>
                <a:schemeClr val="bg1">
                  <a:lumMod val="50000"/>
                  <a:lumOff val="50000"/>
                </a:schemeClr>
              </a:solidFill>
              <a:prstDash val="solid"/>
              <a:miter lim="800000"/>
              <a:headEnd type="none" w="med" len="med"/>
              <a:tailEnd type="arrow" w="med" len="sm"/>
            </a:ln>
            <a:effectLst/>
          </p:spPr>
        </p:cxnSp>
        <p:cxnSp>
          <p:nvCxnSpPr>
            <p:cNvPr id="82" name="Straight Connector 81">
              <a:extLst>
                <a:ext uri="{FF2B5EF4-FFF2-40B4-BE49-F238E27FC236}">
                  <a16:creationId xmlns:a16="http://schemas.microsoft.com/office/drawing/2014/main" id="{B8AED976-5D13-A383-0996-4A004BD69EEE}"/>
                </a:ext>
              </a:extLst>
            </p:cNvPr>
            <p:cNvCxnSpPr>
              <a:cxnSpLocks/>
            </p:cNvCxnSpPr>
            <p:nvPr/>
          </p:nvCxnSpPr>
          <p:spPr>
            <a:xfrm flipV="1">
              <a:off x="7268440" y="4369970"/>
              <a:ext cx="2426269" cy="10365"/>
            </a:xfrm>
            <a:prstGeom prst="line">
              <a:avLst/>
            </a:prstGeom>
            <a:noFill/>
            <a:ln w="28575" cap="rnd">
              <a:solidFill>
                <a:schemeClr val="bg1">
                  <a:lumMod val="50000"/>
                  <a:lumOff val="50000"/>
                </a:schemeClr>
              </a:solidFill>
              <a:prstDash val="solid"/>
              <a:miter lim="800000"/>
              <a:headEnd type="none" w="med" len="med"/>
              <a:tailEnd type="none" w="med" len="sm"/>
            </a:ln>
            <a:effectLst/>
          </p:spPr>
        </p:cxnSp>
      </p:grpSp>
      <p:sp>
        <p:nvSpPr>
          <p:cNvPr id="85" name="Rectangle 84">
            <a:extLst>
              <a:ext uri="{FF2B5EF4-FFF2-40B4-BE49-F238E27FC236}">
                <a16:creationId xmlns:a16="http://schemas.microsoft.com/office/drawing/2014/main" id="{8E10E016-4CF4-9E3E-1001-047D8C2F18DE}"/>
              </a:ext>
            </a:extLst>
          </p:cNvPr>
          <p:cNvSpPr/>
          <p:nvPr/>
        </p:nvSpPr>
        <p:spPr bwMode="auto">
          <a:xfrm>
            <a:off x="6901907" y="1258605"/>
            <a:ext cx="1554480" cy="332508"/>
          </a:xfrm>
          <a:prstGeom prst="rect">
            <a:avLst/>
          </a:prstGeom>
          <a:solidFill>
            <a:srgbClr val="0078D4"/>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800" b="1" i="0" u="none" strike="noStrike" kern="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Data Strategy / AI Strategy</a:t>
            </a:r>
          </a:p>
        </p:txBody>
      </p:sp>
    </p:spTree>
    <p:extLst>
      <p:ext uri="{BB962C8B-B14F-4D97-AF65-F5344CB8AC3E}">
        <p14:creationId xmlns:p14="http://schemas.microsoft.com/office/powerpoint/2010/main" val="81877495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Agentic AI Dark">
  <a:themeElements>
    <a:clrScheme name="Custom 8">
      <a:dk1>
        <a:srgbClr val="091F2C"/>
      </a:dk1>
      <a:lt1>
        <a:srgbClr val="FFFFFF"/>
      </a:lt1>
      <a:dk2>
        <a:srgbClr val="091F2C"/>
      </a:dk2>
      <a:lt2>
        <a:srgbClr val="FFFFFF"/>
      </a:lt2>
      <a:accent1>
        <a:srgbClr val="C5B4E3"/>
      </a:accent1>
      <a:accent2>
        <a:srgbClr val="8DE971"/>
      </a:accent2>
      <a:accent3>
        <a:srgbClr val="0078D4"/>
      </a:accent3>
      <a:accent4>
        <a:srgbClr val="D7D2CB"/>
      </a:accent4>
      <a:accent5>
        <a:srgbClr val="C03BC4"/>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4_16-9 Event-template.potx" id="{7CF624CF-D8C9-4094-B243-6C2C7FAB033B}" vid="{236D7F30-5601-4FA9-AD00-829EA96E5996}"/>
    </a:ext>
  </a:extLst>
</a:theme>
</file>

<file path=ppt/theme/theme2.xml><?xml version="1.0" encoding="utf-8"?>
<a:theme xmlns:a="http://schemas.openxmlformats.org/drawingml/2006/main" name="1_Microsoft Build 16:9 Template Dark">
  <a:themeElements>
    <a:clrScheme name="Custom 91">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4EC8E"/>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lumMod val="90000"/>
            </a:schemeClr>
          </a:solidFill>
          <a:prstDash val="dash"/>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Build_2023_16-9 Event-template.potx" id="{D98A8582-D9E9-4D2A-A4F4-342A0FDF4A6D}" vid="{F8883483-E3B9-4652-861E-5160AAC80937}"/>
    </a:ext>
  </a:extLst>
</a:theme>
</file>

<file path=ppt/theme/theme3.xml><?xml version="1.0" encoding="utf-8"?>
<a:theme xmlns:a="http://schemas.openxmlformats.org/drawingml/2006/main" name="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2A446F"/>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bg1">
              <a:lumMod val="75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Microsoft_Brand_Template_May2023  -  Read-Only" id="{354821AE-6191-4F47-84CC-51318889153F}" vid="{EBB4C349-3EE2-41B8-A048-F0998BF1AC84}"/>
    </a:ext>
  </a:extLst>
</a:theme>
</file>

<file path=ppt/theme/theme4.xml><?xml version="1.0" encoding="utf-8"?>
<a:theme xmlns:a="http://schemas.openxmlformats.org/drawingml/2006/main" name="3_Build 2019 Black">
  <a:themeElements>
    <a:clrScheme name="Azure 2022">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3</TotalTime>
  <Words>636</Words>
  <Application>Microsoft Office PowerPoint</Application>
  <PresentationFormat>Widescreen</PresentationFormat>
  <Paragraphs>163</Paragraphs>
  <Slides>7</Slides>
  <Notes>2</Notes>
  <HiddenSlides>2</HiddenSlides>
  <MMClips>0</MMClips>
  <ScaleCrop>false</ScaleCrop>
  <HeadingPairs>
    <vt:vector size="4" baseType="variant">
      <vt:variant>
        <vt:lpstr>Theme</vt:lpstr>
      </vt:variant>
      <vt:variant>
        <vt:i4>4</vt:i4>
      </vt:variant>
      <vt:variant>
        <vt:lpstr>Slide Titles</vt:lpstr>
      </vt:variant>
      <vt:variant>
        <vt:i4>7</vt:i4>
      </vt:variant>
    </vt:vector>
  </HeadingPairs>
  <TitlesOfParts>
    <vt:vector size="11" baseType="lpstr">
      <vt:lpstr>Agentic AI Dark</vt:lpstr>
      <vt:lpstr>1_Microsoft Build 16:9 Template Dark</vt:lpstr>
      <vt:lpstr>LIGHT MODE</vt:lpstr>
      <vt:lpstr>3_Build 2019 Black</vt:lpstr>
      <vt:lpstr>Establishing a Strategic AI Program</vt:lpstr>
      <vt:lpstr>PowerPoint Presentation</vt:lpstr>
      <vt:lpstr>Key drivers to Industrialize AI</vt:lpstr>
      <vt:lpstr>PowerPoint Presentation</vt:lpstr>
      <vt:lpstr>PowerPoint Presentation</vt:lpstr>
      <vt:lpstr>PowerPoint Presentation</vt:lpstr>
      <vt:lpstr>Microsoft AI Value Accelerator – Making it re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tablishing a Strategic AI Program</dc:title>
  <dc:creator>Ken St. Cyr</dc:creator>
  <cp:lastModifiedBy>Kerri Keller</cp:lastModifiedBy>
  <cp:revision>3</cp:revision>
  <dcterms:created xsi:type="dcterms:W3CDTF">2025-04-15T20:31:20Z</dcterms:created>
  <dcterms:modified xsi:type="dcterms:W3CDTF">2025-04-15T21:56:06Z</dcterms:modified>
</cp:coreProperties>
</file>